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63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Default Extension="emf" ContentType="image/x-emf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Default Extension="xls" ContentType="application/vnd.ms-exce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6" r:id="rId2"/>
    <p:sldId id="257" r:id="rId3"/>
    <p:sldId id="259" r:id="rId4"/>
    <p:sldId id="258" r:id="rId5"/>
    <p:sldId id="271" r:id="rId6"/>
    <p:sldId id="264" r:id="rId7"/>
    <p:sldId id="269" r:id="rId8"/>
    <p:sldId id="263" r:id="rId9"/>
    <p:sldId id="270" r:id="rId1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-1632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4B82AE-0591-4365-ABE3-1E9587004F9D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697D28-F4F2-463A-A43C-CBB259EF9B73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7"/>
          <p:cNvSpPr txBox="1">
            <a:spLocks noGrp="1" noChangeArrowheads="1"/>
          </p:cNvSpPr>
          <p:nvPr/>
        </p:nvSpPr>
        <p:spPr bwMode="auto">
          <a:xfrm>
            <a:off x="3883852" y="8684899"/>
            <a:ext cx="2972547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36" tIns="45368" rIns="90736" bIns="45368" anchor="b"/>
          <a:lstStyle/>
          <a:p>
            <a:pPr algn="r">
              <a:spcBef>
                <a:spcPct val="20000"/>
              </a:spcBef>
            </a:pPr>
            <a:fld id="{8440B1FD-88A0-4657-BE2C-2438BE66C753}" type="slidenum">
              <a:rPr lang="ru-RU" sz="1200"/>
              <a:pPr algn="r">
                <a:spcBef>
                  <a:spcPct val="20000"/>
                </a:spcBef>
              </a:pPr>
              <a:t>2</a:t>
            </a:fld>
            <a:endParaRPr lang="ru-RU" sz="1200"/>
          </a:p>
        </p:txBody>
      </p:sp>
      <p:sp>
        <p:nvSpPr>
          <p:cNvPr id="91139" name="Rectangle 7"/>
          <p:cNvSpPr txBox="1">
            <a:spLocks noGrp="1" noChangeArrowheads="1"/>
          </p:cNvSpPr>
          <p:nvPr/>
        </p:nvSpPr>
        <p:spPr bwMode="auto">
          <a:xfrm>
            <a:off x="3883852" y="8684899"/>
            <a:ext cx="2972547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36" tIns="45368" rIns="90736" bIns="45368" anchor="b"/>
          <a:lstStyle/>
          <a:p>
            <a:pPr algn="r">
              <a:spcBef>
                <a:spcPct val="20000"/>
              </a:spcBef>
            </a:pPr>
            <a:fld id="{581333AA-A8B4-4528-A09F-7D339C53033D}" type="slidenum">
              <a:rPr lang="ru-RU" sz="1200"/>
              <a:pPr algn="r">
                <a:spcBef>
                  <a:spcPct val="20000"/>
                </a:spcBef>
              </a:pPr>
              <a:t>2</a:t>
            </a:fld>
            <a:endParaRPr lang="ru-RU" sz="1200"/>
          </a:p>
        </p:txBody>
      </p:sp>
      <p:sp>
        <p:nvSpPr>
          <p:cNvPr id="911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114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 txBox="1">
            <a:spLocks noGrp="1" noChangeArrowheads="1"/>
          </p:cNvSpPr>
          <p:nvPr/>
        </p:nvSpPr>
        <p:spPr bwMode="auto">
          <a:xfrm>
            <a:off x="3883643" y="8684899"/>
            <a:ext cx="2972724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36" tIns="45368" rIns="90736" bIns="45368" anchor="b"/>
          <a:lstStyle/>
          <a:p>
            <a:pPr algn="r"/>
            <a:fld id="{C065AA27-E648-4B17-A4A3-81338239C1FE}" type="slidenum">
              <a:rPr lang="ru-RU" sz="1200"/>
              <a:pPr algn="r"/>
              <a:t>3</a:t>
            </a:fld>
            <a:endParaRPr lang="ru-RU" sz="1200"/>
          </a:p>
        </p:txBody>
      </p:sp>
      <p:sp>
        <p:nvSpPr>
          <p:cNvPr id="63491" name="Rectangle 7"/>
          <p:cNvSpPr txBox="1">
            <a:spLocks noGrp="1" noChangeArrowheads="1"/>
          </p:cNvSpPr>
          <p:nvPr/>
        </p:nvSpPr>
        <p:spPr bwMode="auto">
          <a:xfrm>
            <a:off x="3883643" y="8684899"/>
            <a:ext cx="2972724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36" tIns="45368" rIns="90736" bIns="45368" anchor="b"/>
          <a:lstStyle/>
          <a:p>
            <a:pPr algn="r"/>
            <a:fld id="{65F6E1AD-1257-4BE6-BA10-AC8C325F8263}" type="slidenum">
              <a:rPr lang="ru-RU" sz="1200"/>
              <a:pPr algn="r"/>
              <a:t>3</a:t>
            </a:fld>
            <a:endParaRPr lang="ru-RU" sz="1200"/>
          </a:p>
        </p:txBody>
      </p:sp>
      <p:sp>
        <p:nvSpPr>
          <p:cNvPr id="634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637" y="4343912"/>
            <a:ext cx="5486727" cy="4115823"/>
          </a:xfrm>
          <a:noFill/>
          <a:ln/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421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42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530B890-FE24-4671-B66C-7C54C6B68D94}" type="slidenum">
              <a:rPr lang="ru-RU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ru-RU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270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71438" y="-279400"/>
            <a:ext cx="8047037" cy="543718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8F2417-41B6-49B6-9593-CAB7A11B5176}" type="slidenum">
              <a:rPr lang="sv-SE"/>
              <a:pPr>
                <a:defRPr/>
              </a:pPr>
              <a:t>‹#›</a:t>
            </a:fld>
            <a:endParaRPr lang="sv-SE"/>
          </a:p>
          <a:p>
            <a:pPr>
              <a:defRPr/>
            </a:pPr>
            <a:endParaRPr lang="sv-S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7B04C-2DFE-476D-9D1B-16504749771E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47B04C-2DFE-476D-9D1B-16504749771E}" type="datetimeFigureOut">
              <a:rPr lang="ru-RU" smtClean="0"/>
              <a:pPr/>
              <a:t>02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5F8A78-A65F-484C-8897-B1C75A461A4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3.png"/><Relationship Id="rId2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5.png"/><Relationship Id="rId18" Type="http://schemas.openxmlformats.org/officeDocument/2006/relationships/image" Target="../media/image3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4.png"/><Relationship Id="rId17" Type="http://schemas.openxmlformats.org/officeDocument/2006/relationships/image" Target="../media/image9.jpeg"/><Relationship Id="rId2" Type="http://schemas.openxmlformats.org/officeDocument/2006/relationships/tags" Target="../tags/tag15.xml"/><Relationship Id="rId16" Type="http://schemas.openxmlformats.org/officeDocument/2006/relationships/image" Target="../media/image8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18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2.png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nergy.gov/" TargetMode="External"/><Relationship Id="rId13" Type="http://schemas.openxmlformats.org/officeDocument/2006/relationships/image" Target="../media/image22.png"/><Relationship Id="rId18" Type="http://schemas.openxmlformats.org/officeDocument/2006/relationships/image" Target="../media/image25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27.jpeg"/><Relationship Id="rId7" Type="http://schemas.openxmlformats.org/officeDocument/2006/relationships/image" Target="../media/image18.png"/><Relationship Id="rId12" Type="http://schemas.openxmlformats.org/officeDocument/2006/relationships/image" Target="../media/image21.png"/><Relationship Id="rId17" Type="http://schemas.openxmlformats.org/officeDocument/2006/relationships/hyperlink" Target="http://www.niiis.nnov.ru/index.phtml" TargetMode="External"/><Relationship Id="rId2" Type="http://schemas.openxmlformats.org/officeDocument/2006/relationships/tags" Target="../tags/tag24.xml"/><Relationship Id="rId16" Type="http://schemas.openxmlformats.org/officeDocument/2006/relationships/image" Target="../media/image24.png"/><Relationship Id="rId20" Type="http://schemas.openxmlformats.org/officeDocument/2006/relationships/hyperlink" Target="http://www.impex-hightech.de/index.php" TargetMode="External"/><Relationship Id="rId1" Type="http://schemas.openxmlformats.org/officeDocument/2006/relationships/tags" Target="../tags/tag23.xml"/><Relationship Id="rId6" Type="http://schemas.openxmlformats.org/officeDocument/2006/relationships/image" Target="../media/image17.png"/><Relationship Id="rId11" Type="http://schemas.openxmlformats.org/officeDocument/2006/relationships/image" Target="../media/image20.jpeg"/><Relationship Id="rId5" Type="http://schemas.openxmlformats.org/officeDocument/2006/relationships/image" Target="../media/image16.png"/><Relationship Id="rId15" Type="http://schemas.openxmlformats.org/officeDocument/2006/relationships/hyperlink" Target="http://vega.su/" TargetMode="External"/><Relationship Id="rId23" Type="http://schemas.openxmlformats.org/officeDocument/2006/relationships/image" Target="../media/image2.png"/><Relationship Id="rId10" Type="http://schemas.openxmlformats.org/officeDocument/2006/relationships/hyperlink" Target="http://www.anl.gov/index.html" TargetMode="External"/><Relationship Id="rId19" Type="http://schemas.openxmlformats.org/officeDocument/2006/relationships/image" Target="../media/image26.png"/><Relationship Id="rId4" Type="http://schemas.openxmlformats.org/officeDocument/2006/relationships/image" Target="../media/image15.png"/><Relationship Id="rId9" Type="http://schemas.openxmlformats.org/officeDocument/2006/relationships/image" Target="../media/image19.png"/><Relationship Id="rId14" Type="http://schemas.openxmlformats.org/officeDocument/2006/relationships/image" Target="../media/image23.png"/><Relationship Id="rId22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5" Type="http://schemas.openxmlformats.org/officeDocument/2006/relationships/image" Target="../media/image2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notesSlide" Target="../notesSlides/notesSlide5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slideLayout" Target="../slideLayouts/slideLayout7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image" Target="../media/image3.png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3" Type="http://schemas.openxmlformats.org/officeDocument/2006/relationships/tags" Target="../tags/tag50.xml"/><Relationship Id="rId21" Type="http://schemas.openxmlformats.org/officeDocument/2006/relationships/notesSlide" Target="../notesSlides/notesSlide6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image" Target="../media/image2.png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0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image" Target="../media/image3.png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oleObject" Target="../embeddings/_____Microsoft_Office_Excel_97-20031.xls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928802"/>
            <a:ext cx="7772400" cy="2584459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chemeClr val="tx1"/>
                </a:solidFill>
              </a:rPr>
              <a:t>Создание производства элементов радиоэлектронной техники на основе линейной и нелинейной наноструктурированной керамики</a:t>
            </a:r>
            <a:endParaRPr lang="ru-RU" dirty="0"/>
          </a:p>
        </p:txBody>
      </p:sp>
      <p:pic>
        <p:nvPicPr>
          <p:cNvPr id="25601" name="Picture 1" descr="D:\RRE\MATERIALS\blanck_rr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32" y="428604"/>
            <a:ext cx="4786346" cy="1217041"/>
          </a:xfrm>
          <a:prstGeom prst="rect">
            <a:avLst/>
          </a:prstGeom>
          <a:noFill/>
        </p:spPr>
      </p:pic>
      <p:pic>
        <p:nvPicPr>
          <p:cNvPr id="26625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1968" y="142852"/>
            <a:ext cx="4572032" cy="182881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Rectangle 228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641378" y="0"/>
            <a:ext cx="8002588" cy="57148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noAutofit/>
          </a:bodyPr>
          <a:lstStyle/>
          <a:p>
            <a:pPr eaLnBrk="1" hangingPunct="1"/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зюме проекта </a:t>
            </a:r>
          </a:p>
        </p:txBody>
      </p:sp>
      <p:sp>
        <p:nvSpPr>
          <p:cNvPr id="19460" name="AutoShape 229"/>
          <p:cNvSpPr>
            <a:spLocks noChangeArrowheads="1"/>
          </p:cNvSpPr>
          <p:nvPr/>
        </p:nvSpPr>
        <p:spPr bwMode="auto">
          <a:xfrm>
            <a:off x="214282" y="928670"/>
            <a:ext cx="1262063" cy="719137"/>
          </a:xfrm>
          <a:prstGeom prst="homePlate">
            <a:avLst>
              <a:gd name="adj" fmla="val 24578"/>
            </a:avLst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spcBef>
                <a:spcPct val="20000"/>
              </a:spcBef>
            </a:pPr>
            <a:r>
              <a:rPr lang="ru-RU" sz="1400" b="1">
                <a:solidFill>
                  <a:schemeClr val="bg1"/>
                </a:solidFill>
              </a:rPr>
              <a:t>Цель</a:t>
            </a:r>
          </a:p>
        </p:txBody>
      </p:sp>
      <p:sp>
        <p:nvSpPr>
          <p:cNvPr id="19461" name="AutoShape 229"/>
          <p:cNvSpPr>
            <a:spLocks noChangeArrowheads="1"/>
          </p:cNvSpPr>
          <p:nvPr/>
        </p:nvSpPr>
        <p:spPr bwMode="auto">
          <a:xfrm>
            <a:off x="161925" y="3357562"/>
            <a:ext cx="1395413" cy="676275"/>
          </a:xfrm>
          <a:prstGeom prst="homePlate">
            <a:avLst>
              <a:gd name="adj" fmla="val 28897"/>
            </a:avLst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spcBef>
                <a:spcPct val="20000"/>
              </a:spcBef>
            </a:pPr>
            <a:r>
              <a:rPr lang="ru-RU" sz="1400" b="1" dirty="0">
                <a:solidFill>
                  <a:schemeClr val="bg1"/>
                </a:solidFill>
              </a:rPr>
              <a:t>Бизнес задачи</a:t>
            </a:r>
          </a:p>
        </p:txBody>
      </p:sp>
      <p:sp>
        <p:nvSpPr>
          <p:cNvPr id="19462" name="Text Box 231"/>
          <p:cNvSpPr txBox="1">
            <a:spLocks noChangeArrowheads="1"/>
          </p:cNvSpPr>
          <p:nvPr/>
        </p:nvSpPr>
        <p:spPr bwMode="auto">
          <a:xfrm>
            <a:off x="1557338" y="3333278"/>
            <a:ext cx="737238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Bef>
                <a:spcPct val="30000"/>
              </a:spcBef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Организация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маркетинга, продаж продукции в России и за рубежом, продвижение бренда на мировом рынке. Вывод на рынок современных компонентов и приборов, созданных на базе нелинейной наноструктурированной сегнетокерамики.</a:t>
            </a:r>
          </a:p>
        </p:txBody>
      </p:sp>
      <p:sp>
        <p:nvSpPr>
          <p:cNvPr id="19463" name="Rectangle 10"/>
          <p:cNvSpPr>
            <a:spLocks noChangeArrowheads="1"/>
          </p:cNvSpPr>
          <p:nvPr/>
        </p:nvSpPr>
        <p:spPr bwMode="auto">
          <a:xfrm>
            <a:off x="1601788" y="1857364"/>
            <a:ext cx="7327930" cy="13849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Bef>
                <a:spcPct val="30000"/>
              </a:spcBef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Масштабирование на территории России высокотехнологичного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автоматизированного производства радиоэлектронных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элементов, включающих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: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вариконды, фазовращатели,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адаптивные антенные согласующие модули, а также перестраиваемые фильтры, линии задержки и генераторы.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Строительство производственного комплекса с необходимой инфраструктурой, отладка линий и запуск производства. 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464" name="AutoShape 229"/>
          <p:cNvSpPr>
            <a:spLocks noChangeArrowheads="1"/>
          </p:cNvSpPr>
          <p:nvPr/>
        </p:nvSpPr>
        <p:spPr bwMode="auto">
          <a:xfrm>
            <a:off x="176191" y="2178046"/>
            <a:ext cx="1395413" cy="679450"/>
          </a:xfrm>
          <a:prstGeom prst="homePlate">
            <a:avLst>
              <a:gd name="adj" fmla="val 28762"/>
            </a:avLst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spcBef>
                <a:spcPct val="20000"/>
              </a:spcBef>
            </a:pPr>
            <a:r>
              <a:rPr lang="ru-RU" sz="1400" b="1" dirty="0">
                <a:solidFill>
                  <a:schemeClr val="bg1"/>
                </a:solidFill>
              </a:rPr>
              <a:t>Задачи производства</a:t>
            </a: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1585942" y="785794"/>
            <a:ext cx="7343776" cy="1046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/>
          <a:lstStyle/>
          <a:p>
            <a:pPr algn="just" eaLnBrk="0" hangingPunct="0">
              <a:spcBef>
                <a:spcPct val="20000"/>
              </a:spcBef>
              <a:buClr>
                <a:srgbClr val="FF6600"/>
              </a:buClr>
              <a:defRPr/>
            </a:pPr>
            <a:r>
              <a:rPr lang="ru-RU" sz="1400" b="1" dirty="0" smtClean="0">
                <a:latin typeface="Arial" charset="0"/>
                <a:cs typeface="Arial" charset="0"/>
              </a:rPr>
              <a:t>Расширение </a:t>
            </a:r>
            <a:r>
              <a:rPr lang="ru-RU" sz="1400" b="1" dirty="0">
                <a:latin typeface="Arial" charset="0"/>
                <a:cs typeface="Arial" charset="0"/>
              </a:rPr>
              <a:t>производства СВЧ компонентов на основе новых керамических материалов, в том числе нового сегнетоэлектрического (в объемной и тонкопленочной форме) материала  для  управляемых СВЧ компонентов и устройств</a:t>
            </a:r>
            <a:endParaRPr lang="en-US" sz="1400" b="1" dirty="0">
              <a:latin typeface="Arial" charset="0"/>
              <a:cs typeface="Arial" charset="0"/>
            </a:endParaRPr>
          </a:p>
        </p:txBody>
      </p:sp>
      <p:sp>
        <p:nvSpPr>
          <p:cNvPr id="19468" name="AutoShape 229"/>
          <p:cNvSpPr>
            <a:spLocks noChangeArrowheads="1"/>
          </p:cNvSpPr>
          <p:nvPr/>
        </p:nvSpPr>
        <p:spPr bwMode="auto">
          <a:xfrm>
            <a:off x="176191" y="4467237"/>
            <a:ext cx="1395413" cy="676275"/>
          </a:xfrm>
          <a:prstGeom prst="homePlate">
            <a:avLst>
              <a:gd name="adj" fmla="val 28897"/>
            </a:avLst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spcBef>
                <a:spcPct val="20000"/>
              </a:spcBef>
            </a:pPr>
            <a:r>
              <a:rPr lang="ru-RU" sz="1400" b="1" dirty="0">
                <a:solidFill>
                  <a:schemeClr val="bg1"/>
                </a:solidFill>
              </a:rPr>
              <a:t>Продукция</a:t>
            </a: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1593880" y="4143380"/>
            <a:ext cx="7335838" cy="12985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/>
          <a:lstStyle/>
          <a:p>
            <a:pPr algn="just" eaLnBrk="0" hangingPunct="0">
              <a:spcBef>
                <a:spcPct val="20000"/>
              </a:spcBef>
              <a:buClr>
                <a:srgbClr val="FF6600"/>
              </a:buClr>
              <a:defRPr/>
            </a:pPr>
            <a:r>
              <a:rPr lang="ru-RU" sz="1400" dirty="0">
                <a:latin typeface="Arial" charset="0"/>
                <a:cs typeface="Arial" charset="0"/>
              </a:rPr>
              <a:t>Новый класс СВЧ компонентов на основе линейной и нелинейной композитных керамик, перестраивыемые компоненты с высоким быстродействием для СВЧ устройств в широком спектре (0.3 – </a:t>
            </a:r>
            <a:r>
              <a:rPr lang="en-US" sz="1400" dirty="0" smtClean="0">
                <a:latin typeface="Arial" charset="0"/>
                <a:cs typeface="Arial" charset="0"/>
              </a:rPr>
              <a:t>8</a:t>
            </a:r>
            <a:r>
              <a:rPr lang="ru-RU" sz="1400" dirty="0" smtClean="0">
                <a:latin typeface="Arial" charset="0"/>
                <a:cs typeface="Arial" charset="0"/>
              </a:rPr>
              <a:t>0 </a:t>
            </a:r>
            <a:r>
              <a:rPr lang="ru-RU" sz="1400" dirty="0">
                <a:latin typeface="Arial" charset="0"/>
                <a:cs typeface="Arial" charset="0"/>
              </a:rPr>
              <a:t>ГГц) </a:t>
            </a:r>
            <a:r>
              <a:rPr lang="ru-RU" sz="1400" dirty="0" smtClean="0">
                <a:latin typeface="Arial" charset="0"/>
                <a:cs typeface="Arial" charset="0"/>
              </a:rPr>
              <a:t>частот</a:t>
            </a:r>
            <a:r>
              <a:rPr lang="ru-RU" sz="14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 </a:t>
            </a:r>
            <a:r>
              <a:rPr lang="ru-RU" sz="1400" dirty="0">
                <a:latin typeface="Arial" charset="0"/>
                <a:cs typeface="Arial" charset="0"/>
              </a:rPr>
              <a:t>для малых, средних и высоких уровней мощности (мВт-кВт) включает</a:t>
            </a:r>
            <a:r>
              <a:rPr lang="en-US" sz="1400" dirty="0">
                <a:latin typeface="Arial" charset="0"/>
                <a:cs typeface="Arial" charset="0"/>
              </a:rPr>
              <a:t>:</a:t>
            </a:r>
            <a:r>
              <a:rPr lang="ru-RU" sz="1400" dirty="0">
                <a:latin typeface="Arial" charset="0"/>
                <a:cs typeface="Arial" charset="0"/>
              </a:rPr>
              <a:t> фазовращатели, фазовые модуляторы, адаптивные согласующие элементы для мобильной телефонии, перестраивыемые фильтры и импульсные генераторы для широкополосных  СВЧ систем</a:t>
            </a:r>
            <a:r>
              <a:rPr lang="en-US" sz="1400" dirty="0">
                <a:latin typeface="Arial" charset="0"/>
                <a:cs typeface="Arial" charset="0"/>
              </a:rPr>
              <a:t>.</a:t>
            </a:r>
          </a:p>
        </p:txBody>
      </p:sp>
      <p:pic>
        <p:nvPicPr>
          <p:cNvPr id="18" name="Picture 1" descr="D:\RRE\MATERIALS\blanck_rr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12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16" imgW="0" imgH="0" progId="">
              <p:embed/>
            </p:oleObj>
          </a:graphicData>
        </a:graphic>
      </p:graphicFrame>
      <p:sp>
        <p:nvSpPr>
          <p:cNvPr id="15" name="AutoShape 22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28794" y="752475"/>
            <a:ext cx="7072362" cy="566738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ru-RU" sz="14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16" name="AutoShape 22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28794" y="1408113"/>
            <a:ext cx="7072362" cy="1377945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ru-RU" sz="14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22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28794" y="2857496"/>
            <a:ext cx="7072362" cy="1285883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ru-RU" sz="14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055" name="Rectangle 228"/>
          <p:cNvSpPr>
            <a:spLocks noGrp="1" noChangeArrowheads="1"/>
          </p:cNvSpPr>
          <p:nvPr>
            <p:ph type="title" idx="4294967295"/>
            <p:custDataLst>
              <p:tags r:id="rId5"/>
            </p:custDataLst>
          </p:nvPr>
        </p:nvSpPr>
        <p:spPr>
          <a:xfrm>
            <a:off x="341342" y="120650"/>
            <a:ext cx="8374062" cy="317500"/>
          </a:xfrm>
        </p:spPr>
        <p:txBody>
          <a:bodyPr>
            <a:noAutofit/>
          </a:bodyPr>
          <a:lstStyle/>
          <a:p>
            <a:pPr eaLnBrk="1" hangingPunct="1"/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едпосылки проекта</a:t>
            </a:r>
          </a:p>
        </p:txBody>
      </p:sp>
      <p:sp>
        <p:nvSpPr>
          <p:cNvPr id="2056" name="AutoShape 22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9388" y="752475"/>
            <a:ext cx="1677968" cy="566738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400" b="1">
                <a:solidFill>
                  <a:schemeClr val="bg1"/>
                </a:solidFill>
              </a:rPr>
              <a:t>Заявители</a:t>
            </a:r>
          </a:p>
        </p:txBody>
      </p:sp>
      <p:sp>
        <p:nvSpPr>
          <p:cNvPr id="2057" name="AutoShape 22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79388" y="1408113"/>
            <a:ext cx="1677968" cy="1377945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400" b="1" dirty="0" smtClean="0">
                <a:solidFill>
                  <a:schemeClr val="bg1"/>
                </a:solidFill>
              </a:rPr>
              <a:t>Интеллектуальная собственность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058" name="AutoShape 22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9388" y="2857496"/>
            <a:ext cx="1677968" cy="1285884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400" b="1">
                <a:solidFill>
                  <a:schemeClr val="bg1"/>
                </a:solidFill>
              </a:rPr>
              <a:t>Рынок  проекта</a:t>
            </a:r>
          </a:p>
        </p:txBody>
      </p:sp>
      <p:sp>
        <p:nvSpPr>
          <p:cNvPr id="2059" name="Text Box 23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979641" y="882650"/>
            <a:ext cx="6664325" cy="306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>
              <a:spcBef>
                <a:spcPct val="30000"/>
              </a:spcBef>
            </a:pPr>
            <a:r>
              <a:rPr lang="ru-RU" sz="1400" dirty="0" smtClean="0"/>
              <a:t>ОАО НПК «Русская Радиоэлектроника»</a:t>
            </a:r>
            <a:endParaRPr lang="ru-RU" sz="1400" dirty="0"/>
          </a:p>
        </p:txBody>
      </p:sp>
      <p:sp>
        <p:nvSpPr>
          <p:cNvPr id="2060" name="Text Box 23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928794" y="1481138"/>
            <a:ext cx="7016780" cy="12341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algn="just">
              <a:spcBef>
                <a:spcPct val="30000"/>
              </a:spcBef>
              <a:buFontTx/>
              <a:buChar char="•"/>
            </a:pPr>
            <a:r>
              <a:rPr lang="ru-RU" sz="1400" dirty="0" smtClean="0"/>
              <a:t>Заявителями были разработаны </a:t>
            </a:r>
            <a:r>
              <a:rPr lang="ru-RU" sz="1400" dirty="0"/>
              <a:t>и запатентованы составы и способы изготовления линейной и сегнетокерамики, в т.ч. тонкопленочной, а также ряд устройств на их </a:t>
            </a:r>
            <a:r>
              <a:rPr lang="ru-RU" sz="1400" dirty="0" smtClean="0"/>
              <a:t>основе (9 патентов РФ, 2 патента США).</a:t>
            </a:r>
            <a:endParaRPr lang="ru-RU" sz="1400" dirty="0"/>
          </a:p>
          <a:p>
            <a:pPr marL="177800" indent="-177800" algn="just">
              <a:spcBef>
                <a:spcPct val="30000"/>
              </a:spcBef>
              <a:buFontTx/>
              <a:buChar char="•"/>
            </a:pPr>
            <a:r>
              <a:rPr lang="ru-RU" sz="1400" dirty="0" smtClean="0"/>
              <a:t>В результате проведенных патентных исследований не выявлено очевидных нарушений прав третьих лиц при использовании технических решений.</a:t>
            </a:r>
            <a:endParaRPr lang="ru-RU" sz="1400" dirty="0"/>
          </a:p>
        </p:txBody>
      </p:sp>
      <p:sp>
        <p:nvSpPr>
          <p:cNvPr id="2061" name="Text Box 23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928794" y="2879721"/>
            <a:ext cx="7016780" cy="12126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 algn="just">
              <a:spcBef>
                <a:spcPct val="10000"/>
              </a:spcBef>
              <a:buFontTx/>
              <a:buChar char="•"/>
            </a:pPr>
            <a:r>
              <a:rPr lang="ru-RU" sz="1400" b="1" dirty="0"/>
              <a:t>Мировой рост спроса на  изделия из микроволновой керамики – </a:t>
            </a:r>
            <a:r>
              <a:rPr lang="ru-RU" sz="1400" dirty="0"/>
              <a:t>среднегодовой рост спроса в ближайшие 5 лет составит</a:t>
            </a:r>
            <a:r>
              <a:rPr lang="en-US" sz="1400" dirty="0"/>
              <a:t> </a:t>
            </a:r>
            <a:r>
              <a:rPr lang="ru-RU" sz="1400" dirty="0"/>
              <a:t>8</a:t>
            </a:r>
            <a:r>
              <a:rPr lang="en-US" sz="1400" dirty="0"/>
              <a:t>% </a:t>
            </a:r>
            <a:r>
              <a:rPr lang="ru-RU" sz="1400" dirty="0"/>
              <a:t>начиная с 20</a:t>
            </a:r>
            <a:r>
              <a:rPr lang="en-US" sz="1400" dirty="0" smtClean="0"/>
              <a:t>1</a:t>
            </a:r>
            <a:r>
              <a:rPr lang="ru-RU" sz="1400" dirty="0" smtClean="0"/>
              <a:t>3 </a:t>
            </a:r>
            <a:r>
              <a:rPr lang="ru-RU" sz="1400" dirty="0"/>
              <a:t>года. Объем рынка в </a:t>
            </a:r>
            <a:r>
              <a:rPr lang="ru-RU" sz="1400" dirty="0" smtClean="0"/>
              <a:t>2013 </a:t>
            </a:r>
            <a:r>
              <a:rPr lang="ru-RU" sz="1400" dirty="0"/>
              <a:t>году составит  </a:t>
            </a:r>
            <a:r>
              <a:rPr lang="en-US" sz="1400" dirty="0"/>
              <a:t>4130</a:t>
            </a:r>
            <a:r>
              <a:rPr lang="ru-RU" sz="1400" dirty="0"/>
              <a:t>  </a:t>
            </a:r>
            <a:r>
              <a:rPr lang="ru-RU" sz="1400" dirty="0" smtClean="0"/>
              <a:t>млн.</a:t>
            </a:r>
            <a:r>
              <a:rPr lang="en-US" sz="1400" dirty="0" smtClean="0"/>
              <a:t> </a:t>
            </a:r>
            <a:r>
              <a:rPr lang="ru-RU" sz="1400" dirty="0" smtClean="0"/>
              <a:t>долларов США.</a:t>
            </a:r>
            <a:endParaRPr lang="ru-RU" sz="1400" b="1" dirty="0"/>
          </a:p>
          <a:p>
            <a:pPr marL="177800" indent="-177800" algn="just">
              <a:spcBef>
                <a:spcPct val="10000"/>
              </a:spcBef>
              <a:buFontTx/>
              <a:buChar char="•"/>
            </a:pPr>
            <a:r>
              <a:rPr lang="ru-RU" sz="1400" b="1" dirty="0"/>
              <a:t>Целевые страны</a:t>
            </a:r>
            <a:r>
              <a:rPr lang="en-US" sz="1400" dirty="0"/>
              <a:t> –</a:t>
            </a:r>
            <a:r>
              <a:rPr lang="ru-RU" sz="1400" dirty="0"/>
              <a:t> Россия, </a:t>
            </a:r>
            <a:r>
              <a:rPr lang="ru-RU" sz="1400" dirty="0" smtClean="0"/>
              <a:t>США, Европа</a:t>
            </a:r>
            <a:endParaRPr lang="ru-RU" sz="1400" b="1" dirty="0"/>
          </a:p>
          <a:p>
            <a:pPr marL="177800" indent="-177800" algn="just">
              <a:spcBef>
                <a:spcPct val="10000"/>
              </a:spcBef>
              <a:buFontTx/>
              <a:buChar char="•"/>
            </a:pPr>
            <a:r>
              <a:rPr lang="ru-RU" sz="1400" b="1" dirty="0" smtClean="0"/>
              <a:t>Ожидаемая выручка к 2018 году </a:t>
            </a:r>
            <a:r>
              <a:rPr lang="ru-RU" sz="1400" dirty="0"/>
              <a:t>–</a:t>
            </a:r>
            <a:r>
              <a:rPr lang="ru-RU" sz="1400" b="1" dirty="0"/>
              <a:t> </a:t>
            </a:r>
            <a:r>
              <a:rPr lang="ru-RU" sz="1400" dirty="0"/>
              <a:t>2</a:t>
            </a:r>
            <a:r>
              <a:rPr lang="ru-RU" sz="1400" dirty="0" smtClean="0"/>
              <a:t>000</a:t>
            </a:r>
            <a:r>
              <a:rPr lang="en-US" sz="1400" dirty="0" smtClean="0"/>
              <a:t> </a:t>
            </a:r>
            <a:r>
              <a:rPr lang="ru-RU" sz="1400" dirty="0"/>
              <a:t>млн. руб.</a:t>
            </a:r>
          </a:p>
        </p:txBody>
      </p:sp>
      <p:sp>
        <p:nvSpPr>
          <p:cNvPr id="2062" name="AutoShape 22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79388" y="4214818"/>
            <a:ext cx="1677968" cy="2428892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400" b="1">
                <a:solidFill>
                  <a:schemeClr val="bg1"/>
                </a:solidFill>
              </a:rPr>
              <a:t>Статус</a:t>
            </a:r>
          </a:p>
        </p:txBody>
      </p:sp>
      <p:sp>
        <p:nvSpPr>
          <p:cNvPr id="21" name="AutoShape 22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928794" y="4214818"/>
            <a:ext cx="7072362" cy="2428892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177800" indent="-177800" algn="just">
              <a:buClr>
                <a:srgbClr val="003366"/>
              </a:buClr>
              <a:buSzPct val="80000"/>
              <a:buFontTx/>
              <a:buChar char="•"/>
            </a:pPr>
            <a:endParaRPr lang="ru-RU" sz="1200" dirty="0" smtClean="0"/>
          </a:p>
          <a:p>
            <a:pPr marL="177800" indent="-177800" algn="just">
              <a:buClr>
                <a:srgbClr val="003366"/>
              </a:buClr>
              <a:buSzPct val="80000"/>
              <a:buFontTx/>
              <a:buChar char="•"/>
            </a:pPr>
            <a:r>
              <a:rPr lang="ru-RU" sz="1300" dirty="0" smtClean="0"/>
              <a:t>Заявителями проекта проведена значительная работа по созданию технологий производства продуктов проекта, осуществлен квалифицированный и обоснованный подбор оборудования и лицензируемых технологий. </a:t>
            </a:r>
          </a:p>
          <a:p>
            <a:pPr marL="177800" indent="-177800" algn="just">
              <a:buClr>
                <a:srgbClr val="003366"/>
              </a:buClr>
              <a:buSzPct val="80000"/>
              <a:buFontTx/>
              <a:buChar char="•"/>
            </a:pPr>
            <a:r>
              <a:rPr lang="ru-RU" sz="1300" dirty="0" smtClean="0"/>
              <a:t>Заявителями решены вопросы с поставками сырья требуемого качества, сформированы списки альтернативных поставщиков с различных региональных рынков. </a:t>
            </a:r>
          </a:p>
          <a:p>
            <a:pPr marL="177800" indent="-177800" algn="just">
              <a:buClr>
                <a:srgbClr val="003366"/>
              </a:buClr>
              <a:buSzPct val="80000"/>
              <a:buFontTx/>
              <a:buChar char="•"/>
            </a:pPr>
            <a:r>
              <a:rPr lang="ru-RU" sz="1300" dirty="0" smtClean="0"/>
              <a:t>Имеющиеся  планы создания производственного предприятия являются реализуемыми и обоснованными.</a:t>
            </a:r>
          </a:p>
          <a:p>
            <a:pPr marL="177800" indent="-177800" algn="just">
              <a:buClr>
                <a:srgbClr val="003366"/>
              </a:buClr>
              <a:buSzPct val="80000"/>
              <a:buFontTx/>
              <a:buChar char="•"/>
            </a:pPr>
            <a:r>
              <a:rPr lang="ru-RU" sz="1300" dirty="0" smtClean="0"/>
              <a:t>Выбор площадки для развития проекта является оптимальным как по технологическим, так и по экономическим параметрам.</a:t>
            </a:r>
          </a:p>
          <a:p>
            <a:pPr marL="177800" indent="-177800" algn="just">
              <a:buClr>
                <a:srgbClr val="003366"/>
              </a:buClr>
              <a:buSzPct val="80000"/>
              <a:buFontTx/>
              <a:buChar char="•"/>
            </a:pPr>
            <a:r>
              <a:rPr lang="ru-RU" sz="1300" dirty="0" smtClean="0"/>
              <a:t>Предлагаемые решения компоновки технологического оборудования, инженерных сетей и технологического обеспечения позволяют достичь заявляемых характеристик будущего производства</a:t>
            </a:r>
            <a:r>
              <a:rPr lang="ru-RU" sz="1200" dirty="0" smtClean="0"/>
              <a:t>.</a:t>
            </a:r>
          </a:p>
          <a:p>
            <a:pPr marL="180975" indent="-180975">
              <a:buFont typeface="Arial" pitchFamily="34" charset="0"/>
              <a:buChar char="•"/>
              <a:defRPr/>
            </a:pPr>
            <a:endParaRPr lang="ru-RU" sz="1400" dirty="0">
              <a:latin typeface="Arial" charset="0"/>
              <a:cs typeface="Arial" charset="0"/>
            </a:endParaRPr>
          </a:p>
        </p:txBody>
      </p:sp>
      <p:pic>
        <p:nvPicPr>
          <p:cNvPr id="18" name="Picture 1" descr="D:\RRE\MATERIALS\blanck_rre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19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 Box 77"/>
          <p:cNvSpPr txBox="1">
            <a:spLocks noChangeArrowheads="1"/>
          </p:cNvSpPr>
          <p:nvPr/>
        </p:nvSpPr>
        <p:spPr bwMode="auto">
          <a:xfrm>
            <a:off x="3240118" y="652484"/>
            <a:ext cx="3195638" cy="1016000"/>
          </a:xfrm>
          <a:prstGeom prst="rect">
            <a:avLst/>
          </a:prstGeom>
          <a:solidFill>
            <a:schemeClr val="bg1"/>
          </a:solidFill>
          <a:ln w="28575" algn="ctr">
            <a:solidFill>
              <a:srgbClr val="993366"/>
            </a:solidFill>
            <a:miter lim="800000"/>
            <a:headEnd/>
            <a:tailEnd/>
          </a:ln>
        </p:spPr>
        <p:txBody>
          <a:bodyPr/>
          <a:lstStyle/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endParaRPr lang="ru-RU"/>
          </a:p>
        </p:txBody>
      </p:sp>
      <p:sp>
        <p:nvSpPr>
          <p:cNvPr id="22532" name="AutoShape 60"/>
          <p:cNvSpPr>
            <a:spLocks noChangeArrowheads="1"/>
          </p:cNvSpPr>
          <p:nvPr/>
        </p:nvSpPr>
        <p:spPr bwMode="auto">
          <a:xfrm>
            <a:off x="6705631" y="4702197"/>
            <a:ext cx="2070100" cy="1395412"/>
          </a:xfrm>
          <a:prstGeom prst="wedgeRectCallout">
            <a:avLst>
              <a:gd name="adj1" fmla="val -86523"/>
              <a:gd name="adj2" fmla="val -106301"/>
            </a:avLst>
          </a:prstGeom>
          <a:noFill/>
          <a:ln w="28575" algn="ctr">
            <a:solidFill>
              <a:srgbClr val="993366"/>
            </a:solidFill>
            <a:miter lim="800000"/>
            <a:headEnd/>
            <a:tailEnd/>
          </a:ln>
        </p:spPr>
        <p:txBody>
          <a:bodyPr/>
          <a:lstStyle/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r>
              <a:rPr lang="ru-RU" sz="1200" u="sng" dirty="0" smtClean="0">
                <a:solidFill>
                  <a:srgbClr val="003366"/>
                </a:solidFill>
              </a:rPr>
              <a:t>Генераторы ультракоротких </a:t>
            </a:r>
            <a:r>
              <a:rPr lang="ru-RU" sz="1200" u="sng" dirty="0">
                <a:solidFill>
                  <a:srgbClr val="003366"/>
                </a:solidFill>
              </a:rPr>
              <a:t>импульсов</a:t>
            </a:r>
          </a:p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endParaRPr lang="ru-RU" dirty="0"/>
          </a:p>
        </p:txBody>
      </p:sp>
      <p:sp>
        <p:nvSpPr>
          <p:cNvPr id="12294" name="AutoShape 61"/>
          <p:cNvSpPr>
            <a:spLocks noChangeArrowheads="1"/>
          </p:cNvSpPr>
          <p:nvPr/>
        </p:nvSpPr>
        <p:spPr bwMode="auto">
          <a:xfrm>
            <a:off x="358806" y="4792684"/>
            <a:ext cx="2520950" cy="1641475"/>
          </a:xfrm>
          <a:prstGeom prst="wedgeRectCallout">
            <a:avLst>
              <a:gd name="adj1" fmla="val 79032"/>
              <a:gd name="adj2" fmla="val -90328"/>
            </a:avLst>
          </a:prstGeom>
          <a:noFill/>
          <a:ln w="28575" algn="ctr">
            <a:solidFill>
              <a:srgbClr val="993366"/>
            </a:solidFill>
            <a:miter lim="800000"/>
            <a:headEnd/>
            <a:tailEnd/>
          </a:ln>
        </p:spPr>
        <p:txBody>
          <a:bodyPr/>
          <a:lstStyle/>
          <a:p>
            <a:pPr marL="82550" indent="-82550" algn="ctr">
              <a:spcBef>
                <a:spcPct val="50000"/>
              </a:spcBef>
              <a:tabLst>
                <a:tab pos="0" algn="l"/>
              </a:tabLst>
              <a:defRPr/>
            </a:pPr>
            <a:endParaRPr lang="ru-RU" dirty="0">
              <a:solidFill>
                <a:schemeClr val="accent2">
                  <a:lumMod val="75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22534" name="AutoShape 59"/>
          <p:cNvSpPr>
            <a:spLocks noChangeArrowheads="1"/>
          </p:cNvSpPr>
          <p:nvPr/>
        </p:nvSpPr>
        <p:spPr bwMode="auto">
          <a:xfrm>
            <a:off x="6659593" y="1011259"/>
            <a:ext cx="2070100" cy="1260475"/>
          </a:xfrm>
          <a:prstGeom prst="wedgeRectCallout">
            <a:avLst>
              <a:gd name="adj1" fmla="val -92380"/>
              <a:gd name="adj2" fmla="val 128773"/>
            </a:avLst>
          </a:prstGeom>
          <a:noFill/>
          <a:ln w="28575" algn="ctr">
            <a:solidFill>
              <a:srgbClr val="993366"/>
            </a:solidFill>
            <a:miter lim="800000"/>
            <a:headEnd/>
            <a:tailEnd/>
          </a:ln>
        </p:spPr>
        <p:txBody>
          <a:bodyPr/>
          <a:lstStyle/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endParaRPr lang="ru-RU"/>
          </a:p>
        </p:txBody>
      </p:sp>
      <p:sp>
        <p:nvSpPr>
          <p:cNvPr id="22535" name="AutoShape 48"/>
          <p:cNvSpPr>
            <a:spLocks noChangeArrowheads="1"/>
          </p:cNvSpPr>
          <p:nvPr/>
        </p:nvSpPr>
        <p:spPr bwMode="auto">
          <a:xfrm>
            <a:off x="358806" y="1071547"/>
            <a:ext cx="2700337" cy="1571636"/>
          </a:xfrm>
          <a:prstGeom prst="wedgeRectCallout">
            <a:avLst>
              <a:gd name="adj1" fmla="val 49175"/>
              <a:gd name="adj2" fmla="val 65079"/>
            </a:avLst>
          </a:prstGeom>
          <a:noFill/>
          <a:ln w="28575" algn="ctr">
            <a:solidFill>
              <a:srgbClr val="993366"/>
            </a:solidFill>
            <a:miter lim="800000"/>
            <a:headEnd/>
            <a:tailEnd/>
          </a:ln>
        </p:spPr>
        <p:txBody>
          <a:bodyPr/>
          <a:lstStyle/>
          <a:p>
            <a:pPr marL="82550" indent="-82550">
              <a:spcBef>
                <a:spcPct val="50000"/>
              </a:spcBef>
              <a:tabLst>
                <a:tab pos="0" algn="l"/>
              </a:tabLst>
            </a:pPr>
            <a:r>
              <a:rPr lang="ru-RU" sz="1200" u="sng" dirty="0" err="1">
                <a:solidFill>
                  <a:srgbClr val="003366"/>
                </a:solidFill>
              </a:rPr>
              <a:t>Фазовращатели</a:t>
            </a:r>
            <a:r>
              <a:rPr lang="ru-RU" sz="1200" u="sng" dirty="0">
                <a:solidFill>
                  <a:srgbClr val="003366"/>
                </a:solidFill>
              </a:rPr>
              <a:t>, линии задержки и фазовые модуляторы</a:t>
            </a:r>
            <a:r>
              <a:rPr lang="en-US" sz="1200" u="sng" dirty="0">
                <a:solidFill>
                  <a:srgbClr val="003366"/>
                </a:solidFill>
              </a:rPr>
              <a:t> BPSK, QPSK</a:t>
            </a:r>
            <a:r>
              <a:rPr lang="ru-RU" u="sng" dirty="0">
                <a:solidFill>
                  <a:srgbClr val="003366"/>
                </a:solidFill>
              </a:rPr>
              <a:t>.</a:t>
            </a:r>
          </a:p>
          <a:p>
            <a:pPr marL="82550" indent="-82550">
              <a:buFont typeface="Arial" pitchFamily="34" charset="0"/>
              <a:buChar char="•"/>
              <a:tabLst>
                <a:tab pos="0" algn="l"/>
              </a:tabLst>
            </a:pPr>
            <a:endParaRPr lang="ru-RU" dirty="0"/>
          </a:p>
        </p:txBody>
      </p:sp>
      <p:sp>
        <p:nvSpPr>
          <p:cNvPr id="22536" name="Oval 31"/>
          <p:cNvSpPr>
            <a:spLocks noChangeArrowheads="1"/>
          </p:cNvSpPr>
          <p:nvPr>
            <p:custDataLst>
              <p:tags r:id="rId1"/>
            </p:custDataLst>
          </p:nvPr>
        </p:nvSpPr>
        <p:spPr bwMode="blackWhite">
          <a:xfrm>
            <a:off x="2698781" y="2392384"/>
            <a:ext cx="1485900" cy="1184275"/>
          </a:xfrm>
          <a:prstGeom prst="ellipse">
            <a:avLst/>
          </a:prstGeom>
          <a:solidFill>
            <a:srgbClr val="333399"/>
          </a:solidFill>
          <a:ln w="25400" algn="ctr">
            <a:solidFill>
              <a:srgbClr val="666699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253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1925" y="95229"/>
            <a:ext cx="9271000" cy="40481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родукция проекта и сферы применения</a:t>
            </a:r>
          </a:p>
        </p:txBody>
      </p:sp>
      <p:sp>
        <p:nvSpPr>
          <p:cNvPr id="22538" name="Oval 57"/>
          <p:cNvSpPr>
            <a:spLocks noChangeArrowheads="1"/>
          </p:cNvSpPr>
          <p:nvPr>
            <p:custDataLst>
              <p:tags r:id="rId2"/>
            </p:custDataLst>
          </p:nvPr>
        </p:nvSpPr>
        <p:spPr bwMode="blackWhite">
          <a:xfrm>
            <a:off x="2700368" y="3667147"/>
            <a:ext cx="1485900" cy="1184275"/>
          </a:xfrm>
          <a:prstGeom prst="ellipse">
            <a:avLst/>
          </a:prstGeom>
          <a:solidFill>
            <a:srgbClr val="333399"/>
          </a:solidFill>
          <a:ln w="25400" algn="ctr">
            <a:solidFill>
              <a:srgbClr val="666699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2539" name="Text Box 53"/>
          <p:cNvSpPr txBox="1">
            <a:spLocks noChangeArrowheads="1"/>
          </p:cNvSpPr>
          <p:nvPr/>
        </p:nvSpPr>
        <p:spPr bwMode="auto">
          <a:xfrm>
            <a:off x="3240118" y="5646759"/>
            <a:ext cx="3151188" cy="854075"/>
          </a:xfrm>
          <a:prstGeom prst="rect">
            <a:avLst/>
          </a:prstGeom>
          <a:noFill/>
          <a:ln w="28575" algn="ctr">
            <a:solidFill>
              <a:srgbClr val="993366"/>
            </a:solidFill>
            <a:miter lim="800000"/>
            <a:headEnd/>
            <a:tailEnd/>
          </a:ln>
        </p:spPr>
        <p:txBody>
          <a:bodyPr/>
          <a:lstStyle/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r>
              <a:rPr lang="ru-RU" sz="1200" u="sng" dirty="0">
                <a:solidFill>
                  <a:srgbClr val="003366"/>
                </a:solidFill>
              </a:rPr>
              <a:t>Вариконды (</a:t>
            </a:r>
            <a:r>
              <a:rPr lang="ru-RU" sz="1200" u="sng" dirty="0" err="1">
                <a:solidFill>
                  <a:srgbClr val="003366"/>
                </a:solidFill>
              </a:rPr>
              <a:t>варакторы</a:t>
            </a:r>
            <a:r>
              <a:rPr lang="ru-RU" sz="1200" u="sng" dirty="0">
                <a:solidFill>
                  <a:srgbClr val="003366"/>
                </a:solidFill>
              </a:rPr>
              <a:t>)</a:t>
            </a:r>
          </a:p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endParaRPr lang="ru-RU" sz="1200" dirty="0"/>
          </a:p>
        </p:txBody>
      </p:sp>
      <p:sp>
        <p:nvSpPr>
          <p:cNvPr id="22540" name="Rectangle 28"/>
          <p:cNvSpPr>
            <a:spLocks noChangeArrowheads="1"/>
          </p:cNvSpPr>
          <p:nvPr/>
        </p:nvSpPr>
        <p:spPr bwMode="auto">
          <a:xfrm>
            <a:off x="6659593" y="1057297"/>
            <a:ext cx="2127249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200" u="sng" dirty="0">
                <a:solidFill>
                  <a:srgbClr val="003366"/>
                </a:solidFill>
              </a:rPr>
              <a:t>Активные адаптивные согласующие  СВЧ модули</a:t>
            </a:r>
            <a:endParaRPr lang="en-US" sz="1200" dirty="0"/>
          </a:p>
        </p:txBody>
      </p:sp>
      <p:sp>
        <p:nvSpPr>
          <p:cNvPr id="22541" name="Rectangle 31"/>
          <p:cNvSpPr>
            <a:spLocks noChangeArrowheads="1"/>
          </p:cNvSpPr>
          <p:nvPr/>
        </p:nvSpPr>
        <p:spPr bwMode="auto">
          <a:xfrm>
            <a:off x="3194081" y="696934"/>
            <a:ext cx="315118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200" u="sng" dirty="0">
                <a:solidFill>
                  <a:schemeClr val="tx2"/>
                </a:solidFill>
              </a:rPr>
              <a:t>Перестраиваемые  фильтры и генераторы</a:t>
            </a:r>
          </a:p>
        </p:txBody>
      </p:sp>
      <p:sp>
        <p:nvSpPr>
          <p:cNvPr id="22542" name="Rectangle 34"/>
          <p:cNvSpPr>
            <a:spLocks noChangeArrowheads="1"/>
          </p:cNvSpPr>
          <p:nvPr/>
        </p:nvSpPr>
        <p:spPr bwMode="auto">
          <a:xfrm>
            <a:off x="404843" y="4818093"/>
            <a:ext cx="24114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2550" indent="-82550" algn="ctr">
              <a:spcBef>
                <a:spcPct val="50000"/>
              </a:spcBef>
              <a:tabLst>
                <a:tab pos="0" algn="l"/>
              </a:tabLst>
            </a:pPr>
            <a:r>
              <a:rPr lang="ru-RU" sz="1200" u="sng" dirty="0">
                <a:solidFill>
                  <a:srgbClr val="003366"/>
                </a:solidFill>
              </a:rPr>
              <a:t>Линейная керамика</a:t>
            </a:r>
            <a:endParaRPr lang="ru-RU" sz="1200" dirty="0"/>
          </a:p>
        </p:txBody>
      </p:sp>
      <p:sp>
        <p:nvSpPr>
          <p:cNvPr id="22543" name="Rectangle 37"/>
          <p:cNvSpPr>
            <a:spLocks noChangeArrowheads="1"/>
          </p:cNvSpPr>
          <p:nvPr/>
        </p:nvSpPr>
        <p:spPr bwMode="auto">
          <a:xfrm>
            <a:off x="403241" y="1674821"/>
            <a:ext cx="233997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dirty="0" smtClean="0">
                <a:cs typeface="Times New Roman" pitchFamily="18" charset="0"/>
              </a:rPr>
              <a:t>Т</a:t>
            </a:r>
            <a:r>
              <a:rPr lang="ru-RU" sz="1200" b="0" dirty="0" smtClean="0">
                <a:cs typeface="Times New Roman" pitchFamily="18" charset="0"/>
              </a:rPr>
              <a:t>елекоммуникационная </a:t>
            </a:r>
            <a:r>
              <a:rPr lang="ru-RU" sz="1200" b="0" dirty="0">
                <a:cs typeface="Times New Roman" pitchFamily="18" charset="0"/>
              </a:rPr>
              <a:t>и </a:t>
            </a:r>
            <a:r>
              <a:rPr lang="ru-RU" sz="1200" b="0" dirty="0" smtClean="0">
                <a:cs typeface="Times New Roman" pitchFamily="18" charset="0"/>
              </a:rPr>
              <a:t>радарная техника </a:t>
            </a:r>
            <a:r>
              <a:rPr lang="ru-RU" sz="1200" b="0" dirty="0">
                <a:cs typeface="Times New Roman" pitchFamily="18" charset="0"/>
              </a:rPr>
              <a:t>малого, среднего и высокого уровней мощности.</a:t>
            </a:r>
          </a:p>
        </p:txBody>
      </p:sp>
      <p:sp>
        <p:nvSpPr>
          <p:cNvPr id="22544" name="Rectangle 39"/>
          <p:cNvSpPr>
            <a:spLocks noChangeArrowheads="1"/>
          </p:cNvSpPr>
          <p:nvPr/>
        </p:nvSpPr>
        <p:spPr bwMode="auto">
          <a:xfrm>
            <a:off x="3284568" y="960441"/>
            <a:ext cx="310515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200" dirty="0" smtClean="0">
                <a:cs typeface="Times New Roman" pitchFamily="18" charset="0"/>
              </a:rPr>
              <a:t>Т</a:t>
            </a:r>
            <a:r>
              <a:rPr lang="ru-RU" sz="1200" b="0" dirty="0" smtClean="0">
                <a:cs typeface="Times New Roman" pitchFamily="18" charset="0"/>
              </a:rPr>
              <a:t>елекоммуникационная </a:t>
            </a:r>
            <a:r>
              <a:rPr lang="ru-RU" sz="1200" b="0" dirty="0">
                <a:cs typeface="Times New Roman" pitchFamily="18" charset="0"/>
              </a:rPr>
              <a:t>и </a:t>
            </a:r>
            <a:r>
              <a:rPr lang="ru-RU" sz="1200" b="0" dirty="0" smtClean="0">
                <a:cs typeface="Times New Roman" pitchFamily="18" charset="0"/>
              </a:rPr>
              <a:t>радарная техника </a:t>
            </a:r>
            <a:r>
              <a:rPr lang="ru-RU" sz="1200" b="0" dirty="0">
                <a:cs typeface="Times New Roman" pitchFamily="18" charset="0"/>
              </a:rPr>
              <a:t>малого, среднего и высокого уровня мощности </a:t>
            </a:r>
            <a:endParaRPr lang="ru-RU" sz="1200" dirty="0"/>
          </a:p>
        </p:txBody>
      </p:sp>
      <p:sp>
        <p:nvSpPr>
          <p:cNvPr id="22545" name="Rectangle 40"/>
          <p:cNvSpPr>
            <a:spLocks noChangeArrowheads="1"/>
          </p:cNvSpPr>
          <p:nvPr/>
        </p:nvSpPr>
        <p:spPr bwMode="auto">
          <a:xfrm>
            <a:off x="6750081" y="1460507"/>
            <a:ext cx="193516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200" b="0" dirty="0"/>
              <a:t>Приемопередающие устройства (мобильная телефония следующего поколения)</a:t>
            </a:r>
          </a:p>
        </p:txBody>
      </p:sp>
      <p:grpSp>
        <p:nvGrpSpPr>
          <p:cNvPr id="2" name="Group 45"/>
          <p:cNvGrpSpPr>
            <a:grpSpLocks/>
          </p:cNvGrpSpPr>
          <p:nvPr/>
        </p:nvGrpSpPr>
        <p:grpSpPr bwMode="auto">
          <a:xfrm>
            <a:off x="2879756" y="1743097"/>
            <a:ext cx="4005262" cy="3783012"/>
            <a:chOff x="2636785" y="1639888"/>
            <a:chExt cx="4005315" cy="3783012"/>
          </a:xfrm>
        </p:grpSpPr>
        <p:sp>
          <p:nvSpPr>
            <p:cNvPr id="22550" name="Oval 20"/>
            <p:cNvSpPr>
              <a:spLocks noChangeArrowheads="1"/>
            </p:cNvSpPr>
            <p:nvPr/>
          </p:nvSpPr>
          <p:spPr bwMode="auto">
            <a:xfrm>
              <a:off x="3041650" y="1989138"/>
              <a:ext cx="2970213" cy="3014662"/>
            </a:xfrm>
            <a:prstGeom prst="ellipse">
              <a:avLst/>
            </a:prstGeom>
            <a:noFill/>
            <a:ln w="28575" algn="ctr">
              <a:solidFill>
                <a:srgbClr val="993366"/>
              </a:solidFill>
              <a:miter lim="800000"/>
              <a:headEnd/>
              <a:tailEnd/>
            </a:ln>
          </p:spPr>
          <p:txBody>
            <a:bodyPr/>
            <a:lstStyle/>
            <a:p>
              <a:pPr indent="-82550" algn="ctr"/>
              <a:endParaRPr lang="en-US" u="sng"/>
            </a:p>
          </p:txBody>
        </p:sp>
        <p:sp>
          <p:nvSpPr>
            <p:cNvPr id="22551" name="Oval 5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blackWhite">
            <a:xfrm>
              <a:off x="5156200" y="3594100"/>
              <a:ext cx="1485900" cy="1184275"/>
            </a:xfrm>
            <a:prstGeom prst="ellipse">
              <a:avLst/>
            </a:prstGeom>
            <a:solidFill>
              <a:srgbClr val="333399"/>
            </a:solidFill>
            <a:ln w="25400" algn="ctr">
              <a:solidFill>
                <a:srgbClr val="666699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22552" name="Oval 5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White">
            <a:xfrm>
              <a:off x="5111750" y="2314575"/>
              <a:ext cx="1485900" cy="1184275"/>
            </a:xfrm>
            <a:prstGeom prst="ellipse">
              <a:avLst/>
            </a:prstGeom>
            <a:solidFill>
              <a:srgbClr val="333399"/>
            </a:solidFill>
            <a:ln w="25400" algn="ctr">
              <a:solidFill>
                <a:srgbClr val="666699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22553" name="Oval 6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blackWhite">
            <a:xfrm>
              <a:off x="3795713" y="4238625"/>
              <a:ext cx="1485900" cy="1184275"/>
            </a:xfrm>
            <a:prstGeom prst="ellipse">
              <a:avLst/>
            </a:prstGeom>
            <a:solidFill>
              <a:srgbClr val="333399"/>
            </a:solidFill>
            <a:ln w="25400" algn="ctr">
              <a:solidFill>
                <a:srgbClr val="666699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22554" name="Oval 6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blackWhite">
            <a:xfrm>
              <a:off x="3784600" y="1639888"/>
              <a:ext cx="1485900" cy="1184275"/>
            </a:xfrm>
            <a:prstGeom prst="ellipse">
              <a:avLst/>
            </a:prstGeom>
            <a:solidFill>
              <a:srgbClr val="333399"/>
            </a:solidFill>
            <a:ln w="25400" algn="ctr">
              <a:solidFill>
                <a:srgbClr val="666699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600">
                <a:solidFill>
                  <a:schemeClr val="bg1"/>
                </a:solidFill>
              </a:endParaRPr>
            </a:p>
          </p:txBody>
        </p:sp>
        <p:pic>
          <p:nvPicPr>
            <p:cNvPr id="22555" name="Рисунок 6" descr="Рисунок1.png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36785" y="2483895"/>
              <a:ext cx="1035115" cy="769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56" name="Picture 16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986935" y="1853825"/>
              <a:ext cx="1114728" cy="7650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57" name="Picture 8" descr="nltl_11el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5472100" y="3744035"/>
              <a:ext cx="933450" cy="763208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22558" name="Picture 2" descr="Resize of PICT0118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5427095" y="2573905"/>
              <a:ext cx="855095" cy="6318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59" name="Picture 57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2681790" y="3744035"/>
              <a:ext cx="966181" cy="7200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60" name="Picture 5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 flipH="1">
              <a:off x="4121950" y="4509120"/>
              <a:ext cx="835706" cy="630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2547" name="Rectangle 43"/>
          <p:cNvSpPr>
            <a:spLocks noChangeArrowheads="1"/>
          </p:cNvSpPr>
          <p:nvPr/>
        </p:nvSpPr>
        <p:spPr bwMode="auto">
          <a:xfrm>
            <a:off x="6794531" y="5103845"/>
            <a:ext cx="20701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200" b="0" dirty="0"/>
              <a:t>СШП локация</a:t>
            </a:r>
            <a:r>
              <a:rPr lang="en-US" sz="1200" b="0" dirty="0"/>
              <a:t>; </a:t>
            </a:r>
            <a:r>
              <a:rPr lang="ru-RU" sz="1200" b="0" dirty="0"/>
              <a:t>биомедицина</a:t>
            </a:r>
            <a:r>
              <a:rPr lang="en-US" sz="1200" b="0" dirty="0"/>
              <a:t>; </a:t>
            </a:r>
            <a:r>
              <a:rPr lang="ru-RU" sz="1200" b="0" dirty="0"/>
              <a:t>системы контроля</a:t>
            </a:r>
            <a:r>
              <a:rPr lang="en-US" sz="1200" b="0" dirty="0"/>
              <a:t> </a:t>
            </a:r>
            <a:r>
              <a:rPr lang="ru-RU" sz="1200" b="0" dirty="0"/>
              <a:t> и </a:t>
            </a:r>
            <a:r>
              <a:rPr lang="ru-RU" sz="1200" b="0" dirty="0" smtClean="0"/>
              <a:t>распознавания</a:t>
            </a:r>
            <a:r>
              <a:rPr lang="en-US" sz="1200" b="0" dirty="0"/>
              <a:t>; </a:t>
            </a:r>
            <a:r>
              <a:rPr lang="ru-RU" sz="1200" b="0" dirty="0"/>
              <a:t>перестраиваемые СВЧ генераторы</a:t>
            </a:r>
            <a:endParaRPr lang="en-US" sz="1200" b="0" dirty="0"/>
          </a:p>
        </p:txBody>
      </p:sp>
      <p:sp>
        <p:nvSpPr>
          <p:cNvPr id="22548" name="Rectangle 44"/>
          <p:cNvSpPr>
            <a:spLocks noChangeArrowheads="1"/>
          </p:cNvSpPr>
          <p:nvPr/>
        </p:nvSpPr>
        <p:spPr bwMode="auto">
          <a:xfrm>
            <a:off x="3357554" y="5928064"/>
            <a:ext cx="307183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ru-RU" sz="1200" b="0" dirty="0"/>
              <a:t>элементы </a:t>
            </a:r>
            <a:r>
              <a:rPr lang="ru-RU" sz="1200" b="0" dirty="0" err="1"/>
              <a:t>фазовращателей</a:t>
            </a:r>
            <a:r>
              <a:rPr lang="ru-RU" sz="1200" b="0" dirty="0"/>
              <a:t>, </a:t>
            </a:r>
            <a:r>
              <a:rPr lang="ru-RU" sz="1200" b="0" dirty="0" smtClean="0"/>
              <a:t>фазовых </a:t>
            </a:r>
            <a:r>
              <a:rPr lang="ru-RU" sz="1200" b="0" dirty="0"/>
              <a:t>модуляторов, </a:t>
            </a:r>
            <a:r>
              <a:rPr lang="ru-RU" sz="1200" b="0" dirty="0" smtClean="0"/>
              <a:t>фильтров</a:t>
            </a:r>
            <a:r>
              <a:rPr lang="ru-RU" sz="1200" b="0" dirty="0"/>
              <a:t>, линий задержки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93743" y="5000636"/>
            <a:ext cx="2295525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ru-RU" sz="1200" dirty="0">
                <a:cs typeface="Arial" charset="0"/>
              </a:rPr>
              <a:t>В радиоприемных и </a:t>
            </a:r>
            <a:r>
              <a:rPr lang="ru-RU" sz="1200" dirty="0" smtClean="0">
                <a:cs typeface="Arial" charset="0"/>
              </a:rPr>
              <a:t>радиопередающих </a:t>
            </a:r>
            <a:r>
              <a:rPr lang="ru-RU" sz="1200" dirty="0">
                <a:cs typeface="Arial" charset="0"/>
              </a:rPr>
              <a:t>системах </a:t>
            </a:r>
            <a:r>
              <a:rPr lang="ru-RU" sz="1200" dirty="0" smtClean="0">
                <a:cs typeface="Arial" charset="0"/>
              </a:rPr>
              <a:t>телекоммуникационной</a:t>
            </a:r>
            <a:r>
              <a:rPr lang="ru-RU" sz="1200" dirty="0">
                <a:cs typeface="Arial" charset="0"/>
              </a:rPr>
              <a:t>, радарной техники, а также в радиорелейных, навига-ционных системах  </a:t>
            </a:r>
            <a:r>
              <a:rPr lang="ru-RU" sz="1200" dirty="0" smtClean="0">
                <a:cs typeface="Arial" charset="0"/>
              </a:rPr>
              <a:t>микроволнового </a:t>
            </a:r>
            <a:r>
              <a:rPr lang="ru-RU" sz="1200" dirty="0">
                <a:cs typeface="Arial" charset="0"/>
              </a:rPr>
              <a:t>диапазона.</a:t>
            </a:r>
            <a:endParaRPr lang="en-US" sz="1200" dirty="0">
              <a:cs typeface="Arial" charset="0"/>
            </a:endParaRPr>
          </a:p>
        </p:txBody>
      </p:sp>
      <p:pic>
        <p:nvPicPr>
          <p:cNvPr id="33" name="Picture 1" descr="D:\RRE\MATERIALS\blanck_rre.pn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34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93956" y="2735458"/>
            <a:ext cx="892016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1400" b="1" i="1" dirty="0" smtClean="0">
              <a:latin typeface="Arial"/>
              <a:cs typeface="Arial"/>
            </a:endParaRPr>
          </a:p>
          <a:p>
            <a:pPr algn="just"/>
            <a:endParaRPr lang="en-US" sz="1400" b="1" i="1" dirty="0" smtClean="0">
              <a:latin typeface="Arial"/>
              <a:cs typeface="Arial"/>
            </a:endParaRPr>
          </a:p>
          <a:p>
            <a:pPr algn="just"/>
            <a:endParaRPr lang="en-US" sz="1400" b="1" i="1" dirty="0">
              <a:latin typeface="Arial"/>
              <a:cs typeface="Arial"/>
            </a:endParaRPr>
          </a:p>
          <a:p>
            <a:pPr algn="just"/>
            <a:endParaRPr lang="en-US" sz="1400" b="1" i="1" dirty="0" smtClean="0">
              <a:latin typeface="Arial"/>
              <a:cs typeface="Arial"/>
            </a:endParaRPr>
          </a:p>
          <a:p>
            <a:pPr algn="just"/>
            <a:endParaRPr lang="en-US" sz="1400" b="1" i="1" dirty="0">
              <a:latin typeface="Arial"/>
              <a:cs typeface="Arial"/>
            </a:endParaRPr>
          </a:p>
          <a:p>
            <a:pPr algn="just"/>
            <a:endParaRPr lang="en-US" sz="1400" b="1" i="1" dirty="0" smtClean="0">
              <a:latin typeface="Arial"/>
              <a:cs typeface="Arial"/>
            </a:endParaRPr>
          </a:p>
          <a:p>
            <a:pPr algn="just"/>
            <a:endParaRPr lang="en-US" sz="1400" b="1" i="1" dirty="0">
              <a:latin typeface="Arial"/>
              <a:cs typeface="Arial"/>
            </a:endParaRPr>
          </a:p>
          <a:p>
            <a:pPr algn="just"/>
            <a:endParaRPr lang="en-US" sz="1400" b="1" i="1" dirty="0" smtClean="0">
              <a:latin typeface="Arial"/>
              <a:cs typeface="Arial"/>
            </a:endParaRPr>
          </a:p>
          <a:p>
            <a:pPr algn="just"/>
            <a:endParaRPr lang="en-US" sz="1400" b="1" i="1" dirty="0" smtClean="0">
              <a:latin typeface="Arial"/>
              <a:cs typeface="Arial"/>
            </a:endParaRPr>
          </a:p>
          <a:p>
            <a:pPr algn="just"/>
            <a:endParaRPr lang="en-US" sz="1400" b="1" i="1" dirty="0">
              <a:latin typeface="Arial"/>
              <a:cs typeface="Arial"/>
            </a:endParaRPr>
          </a:p>
          <a:p>
            <a:pPr algn="just"/>
            <a:endParaRPr lang="en-US" sz="1400" b="1" i="1" dirty="0" smtClean="0">
              <a:latin typeface="Arial"/>
              <a:cs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5888" y="3352800"/>
            <a:ext cx="481518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dirty="0" smtClean="0">
                <a:latin typeface="Arial"/>
                <a:cs typeface="Arial"/>
              </a:rPr>
              <a:t>Антенны, применяемые в современных мобильных смартфонах, не имеют автоматического согласования с выходным усилителем. Волновое сопротивление антенны изменяется под воздействием частей человеческого тела, например, рук. Изменение сопротивления приводит к рассогласованию между антенной и усилителем. В современных сотовых телефонах этот эффект компенсируется путем увеличения мощности выходного сигнала усилителя, в результате чего разряд аккумулятора происходит  в два раза  быстрее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336353" y="5269183"/>
            <a:ext cx="568750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Arial"/>
                <a:cs typeface="Arial"/>
              </a:rPr>
              <a:t>Радары для предупреждения  столкновений и коммуникационные системы.</a:t>
            </a:r>
            <a:endParaRPr lang="en-US" sz="1400" b="1" dirty="0">
              <a:latin typeface="Arial"/>
              <a:cs typeface="Arial"/>
            </a:endParaRPr>
          </a:p>
          <a:p>
            <a:pPr algn="just"/>
            <a:endParaRPr lang="en-US" sz="1400" dirty="0">
              <a:latin typeface="Arial"/>
              <a:cs typeface="Arial"/>
            </a:endParaRPr>
          </a:p>
          <a:p>
            <a:pPr algn="just"/>
            <a:r>
              <a:rPr lang="ru-RU" sz="1400" dirty="0" smtClean="0">
                <a:latin typeface="Arial"/>
                <a:cs typeface="Arial"/>
              </a:rPr>
              <a:t>До сих пор коммерческие решения на рынке основаны только на дорогостоящем и неустойчивом механическом сканировании луча антенны или антенной системы.</a:t>
            </a:r>
            <a:endParaRPr lang="en-US" sz="1400" dirty="0">
              <a:latin typeface="Arial"/>
              <a:cs typeface="Arial"/>
            </a:endParaRPr>
          </a:p>
        </p:txBody>
      </p:sp>
      <p:pic>
        <p:nvPicPr>
          <p:cNvPr id="7" name="Picture 2" descr="D:\0_uid02173\Marketing\Grafiken\img_driver_assistance_systems_en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5566" y="5281375"/>
            <a:ext cx="2994830" cy="1137188"/>
          </a:xfrm>
          <a:prstGeom prst="rect">
            <a:avLst/>
          </a:prstGeom>
          <a:noFill/>
        </p:spPr>
      </p:pic>
      <p:grpSp>
        <p:nvGrpSpPr>
          <p:cNvPr id="2" name="Группа 24"/>
          <p:cNvGrpSpPr/>
          <p:nvPr/>
        </p:nvGrpSpPr>
        <p:grpSpPr>
          <a:xfrm>
            <a:off x="128412" y="1245454"/>
            <a:ext cx="4802657" cy="1995936"/>
            <a:chOff x="151931" y="3100319"/>
            <a:chExt cx="4802657" cy="1995936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084" y="3606111"/>
              <a:ext cx="1479224" cy="1429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Left Arrow 90"/>
            <p:cNvSpPr/>
            <p:nvPr/>
          </p:nvSpPr>
          <p:spPr>
            <a:xfrm flipH="1">
              <a:off x="1826227" y="3530528"/>
              <a:ext cx="1526572" cy="1565727"/>
            </a:xfrm>
            <a:prstGeom prst="leftArrow">
              <a:avLst>
                <a:gd name="adj1" fmla="val 73360"/>
                <a:gd name="adj2" fmla="val 21078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92500" lnSpcReduction="10000"/>
            </a:bodyPr>
            <a:lstStyle/>
            <a:p>
              <a:pPr algn="ctr"/>
              <a:r>
                <a:rPr lang="ru-RU" sz="1200" i="1" dirty="0" smtClean="0">
                  <a:solidFill>
                    <a:srgbClr val="000000"/>
                  </a:solidFill>
                  <a:latin typeface="Arial"/>
                  <a:cs typeface="Arial"/>
                </a:rPr>
                <a:t>Антенна не согласована с усилителем. Усилитель увеличивает мощность сигнала</a:t>
              </a:r>
              <a:endParaRPr lang="en-GB" sz="1200" i="1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51931" y="3100319"/>
              <a:ext cx="29466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i="1" dirty="0" smtClean="0">
                  <a:latin typeface="Arial"/>
                  <a:cs typeface="Arial"/>
                </a:rPr>
                <a:t>Взяв телефон в руки, мы создаем помехи для передачи сигнала</a:t>
              </a:r>
              <a:endParaRPr lang="ru-RU" sz="1200" i="1" dirty="0">
                <a:latin typeface="Arial"/>
                <a:cs typeface="Arial"/>
              </a:endParaRPr>
            </a:p>
          </p:txBody>
        </p:sp>
        <p:grpSp>
          <p:nvGrpSpPr>
            <p:cNvPr id="3" name="Группа 33"/>
            <p:cNvGrpSpPr/>
            <p:nvPr/>
          </p:nvGrpSpPr>
          <p:grpSpPr>
            <a:xfrm>
              <a:off x="3439613" y="3606111"/>
              <a:ext cx="1514975" cy="1378527"/>
              <a:chOff x="6558154" y="2574888"/>
              <a:chExt cx="2137056" cy="1714703"/>
            </a:xfrm>
          </p:grpSpPr>
          <p:sp>
            <p:nvSpPr>
              <p:cNvPr id="13" name="Прямоугольник 52"/>
              <p:cNvSpPr/>
              <p:nvPr/>
            </p:nvSpPr>
            <p:spPr>
              <a:xfrm>
                <a:off x="6558154" y="3136841"/>
                <a:ext cx="1396844" cy="76566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i="1" dirty="0" smtClean="0">
                    <a:latin typeface="Arial"/>
                    <a:cs typeface="Arial"/>
                  </a:rPr>
                  <a:t>Батарея быстро </a:t>
                </a:r>
                <a:r>
                  <a:rPr lang="ru-RU" sz="1000" b="1" dirty="0" smtClean="0">
                    <a:latin typeface="Arial"/>
                    <a:cs typeface="Arial"/>
                  </a:rPr>
                  <a:t>разряжается</a:t>
                </a:r>
                <a:endParaRPr lang="en-US" sz="1200" b="1" dirty="0">
                  <a:latin typeface="Arial"/>
                  <a:cs typeface="Arial"/>
                </a:endParaRPr>
              </a:p>
            </p:txBody>
          </p:sp>
          <p:pic>
            <p:nvPicPr>
              <p:cNvPr id="14" name="Picture 60" descr="iPhone-4-Battery.jpg"/>
              <p:cNvPicPr>
                <a:picLocks noChangeAspect="1"/>
              </p:cNvPicPr>
              <p:nvPr/>
            </p:nvPicPr>
            <p:blipFill>
              <a:blip r:embed="rId4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6200000">
                <a:off x="7307933" y="2902313"/>
                <a:ext cx="1645666" cy="1128889"/>
              </a:xfrm>
              <a:prstGeom prst="rect">
                <a:avLst/>
              </a:prstGeom>
            </p:spPr>
          </p:pic>
          <p:sp>
            <p:nvSpPr>
              <p:cNvPr id="15" name="Прямоугольник 14"/>
              <p:cNvSpPr/>
              <p:nvPr/>
            </p:nvSpPr>
            <p:spPr>
              <a:xfrm>
                <a:off x="6558162" y="2574888"/>
                <a:ext cx="1925222" cy="171470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  <p:sp>
        <p:nvSpPr>
          <p:cNvPr id="16" name="Прямоугольник 15"/>
          <p:cNvSpPr/>
          <p:nvPr/>
        </p:nvSpPr>
        <p:spPr>
          <a:xfrm>
            <a:off x="2066092" y="865188"/>
            <a:ext cx="50118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1400" b="1" i="1" dirty="0" smtClean="0">
                <a:latin typeface="Arial"/>
                <a:cs typeface="Arial"/>
              </a:rPr>
              <a:t>Сотовые телефоны и портативные компьютеры</a:t>
            </a:r>
            <a:r>
              <a:rPr lang="en-US" sz="1400" dirty="0" smtClean="0">
                <a:latin typeface="Arial"/>
                <a:cs typeface="Arial"/>
              </a:rPr>
              <a:t>: </a:t>
            </a:r>
            <a:endParaRPr lang="en-US" sz="1400" dirty="0"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79136" y="1221070"/>
            <a:ext cx="375691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dirty="0" smtClean="0">
                <a:latin typeface="Arial"/>
                <a:cs typeface="Arial"/>
              </a:rPr>
              <a:t>Современные сотовые телефоны - это многофункциональные устройства, которые поддерживают несколько диапазонов частот, обеспечивающих </a:t>
            </a:r>
            <a:r>
              <a:rPr lang="ru-RU" sz="1200" dirty="0" err="1" smtClean="0">
                <a:latin typeface="Arial"/>
                <a:cs typeface="Arial"/>
              </a:rPr>
              <a:t>Bluetooth</a:t>
            </a:r>
            <a:r>
              <a:rPr lang="ru-RU" sz="1200" dirty="0" smtClean="0">
                <a:latin typeface="Arial"/>
                <a:cs typeface="Arial"/>
              </a:rPr>
              <a:t>, </a:t>
            </a:r>
            <a:r>
              <a:rPr lang="ru-RU" sz="1200" dirty="0" err="1" smtClean="0">
                <a:latin typeface="Arial"/>
                <a:cs typeface="Arial"/>
              </a:rPr>
              <a:t>Wi-Fi</a:t>
            </a:r>
            <a:r>
              <a:rPr lang="ru-RU" sz="1200" dirty="0" smtClean="0">
                <a:latin typeface="Arial"/>
                <a:cs typeface="Arial"/>
              </a:rPr>
              <a:t>, LTE связь. Для всех этих систем необходимы полосовые фильтры или блоки фильтров. Очевидно, что сокращение пространства, занимаемого фильтрами, предоставит возможности для создания новых функций.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979788" y="2937687"/>
            <a:ext cx="551754" cy="2769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filters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25440" y="3229884"/>
            <a:ext cx="3488373" cy="205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Овал 19"/>
          <p:cNvSpPr/>
          <p:nvPr/>
        </p:nvSpPr>
        <p:spPr>
          <a:xfrm>
            <a:off x="6217920" y="3110699"/>
            <a:ext cx="425895" cy="1034581"/>
          </a:xfrm>
          <a:prstGeom prst="ellipse">
            <a:avLst/>
          </a:prstGeom>
          <a:noFill/>
          <a:ln w="31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/>
          <p:cNvSpPr/>
          <p:nvPr/>
        </p:nvSpPr>
        <p:spPr>
          <a:xfrm>
            <a:off x="7105647" y="4146293"/>
            <a:ext cx="425895" cy="1034581"/>
          </a:xfrm>
          <a:prstGeom prst="ellipse">
            <a:avLst/>
          </a:prstGeom>
          <a:noFill/>
          <a:ln w="31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2" name="Прямая соединительная линия 21"/>
          <p:cNvCxnSpPr>
            <a:stCxn id="19" idx="0"/>
          </p:cNvCxnSpPr>
          <p:nvPr/>
        </p:nvCxnSpPr>
        <p:spPr>
          <a:xfrm rot="16200000" flipH="1" flipV="1">
            <a:off x="6661095" y="3212603"/>
            <a:ext cx="491251" cy="52581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>
            <a:stCxn id="19" idx="0"/>
            <a:endCxn id="21" idx="0"/>
          </p:cNvCxnSpPr>
          <p:nvPr/>
        </p:nvCxnSpPr>
        <p:spPr>
          <a:xfrm rot="16200000" flipH="1">
            <a:off x="6785906" y="3613604"/>
            <a:ext cx="916409" cy="14896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1" descr="D:\!\!\blanck_rre_eng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142852"/>
            <a:ext cx="1285884" cy="326967"/>
          </a:xfrm>
          <a:prstGeom prst="rect">
            <a:avLst/>
          </a:prstGeom>
          <a:noFill/>
        </p:spPr>
      </p:pic>
      <p:sp>
        <p:nvSpPr>
          <p:cNvPr id="2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1925" y="95229"/>
            <a:ext cx="9271000" cy="40481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Активные приложения</a:t>
            </a:r>
          </a:p>
        </p:txBody>
      </p:sp>
      <p:pic>
        <p:nvPicPr>
          <p:cNvPr id="26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9" name="Title 12"/>
          <p:cNvSpPr>
            <a:spLocks/>
          </p:cNvSpPr>
          <p:nvPr/>
        </p:nvSpPr>
        <p:spPr bwMode="auto">
          <a:xfrm>
            <a:off x="435004" y="-1"/>
            <a:ext cx="8351838" cy="65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 dirty="0">
                <a:latin typeface="Arial" pitchFamily="34" charset="0"/>
                <a:cs typeface="Arial" pitchFamily="34" charset="0"/>
              </a:rPr>
              <a:t>География потребителей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3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425419" y="1928802"/>
            <a:ext cx="8253441" cy="4357718"/>
            <a:chOff x="942" y="1182"/>
            <a:chExt cx="4449" cy="2532"/>
          </a:xfrm>
        </p:grpSpPr>
        <p:grpSp>
          <p:nvGrpSpPr>
            <p:cNvPr id="4" name="Group 4"/>
            <p:cNvGrpSpPr>
              <a:grpSpLocks/>
            </p:cNvGrpSpPr>
            <p:nvPr/>
          </p:nvGrpSpPr>
          <p:grpSpPr bwMode="auto">
            <a:xfrm>
              <a:off x="1575" y="1182"/>
              <a:ext cx="3668" cy="2382"/>
              <a:chOff x="1575" y="1182"/>
              <a:chExt cx="3668" cy="2382"/>
            </a:xfrm>
          </p:grpSpPr>
          <p:sp>
            <p:nvSpPr>
              <p:cNvPr id="50317" name="Freeform 5"/>
              <p:cNvSpPr>
                <a:spLocks/>
              </p:cNvSpPr>
              <p:nvPr/>
            </p:nvSpPr>
            <p:spPr bwMode="gray">
              <a:xfrm>
                <a:off x="3343" y="3020"/>
                <a:ext cx="97" cy="113"/>
              </a:xfrm>
              <a:custGeom>
                <a:avLst/>
                <a:gdLst>
                  <a:gd name="T0" fmla="*/ 131 w 194"/>
                  <a:gd name="T1" fmla="*/ 20 h 227"/>
                  <a:gd name="T2" fmla="*/ 148 w 194"/>
                  <a:gd name="T3" fmla="*/ 22 h 227"/>
                  <a:gd name="T4" fmla="*/ 156 w 194"/>
                  <a:gd name="T5" fmla="*/ 27 h 227"/>
                  <a:gd name="T6" fmla="*/ 165 w 194"/>
                  <a:gd name="T7" fmla="*/ 33 h 227"/>
                  <a:gd name="T8" fmla="*/ 183 w 194"/>
                  <a:gd name="T9" fmla="*/ 41 h 227"/>
                  <a:gd name="T10" fmla="*/ 190 w 194"/>
                  <a:gd name="T11" fmla="*/ 56 h 227"/>
                  <a:gd name="T12" fmla="*/ 185 w 194"/>
                  <a:gd name="T13" fmla="*/ 64 h 227"/>
                  <a:gd name="T14" fmla="*/ 186 w 194"/>
                  <a:gd name="T15" fmla="*/ 93 h 227"/>
                  <a:gd name="T16" fmla="*/ 194 w 194"/>
                  <a:gd name="T17" fmla="*/ 104 h 227"/>
                  <a:gd name="T18" fmla="*/ 190 w 194"/>
                  <a:gd name="T19" fmla="*/ 110 h 227"/>
                  <a:gd name="T20" fmla="*/ 185 w 194"/>
                  <a:gd name="T21" fmla="*/ 118 h 227"/>
                  <a:gd name="T22" fmla="*/ 183 w 194"/>
                  <a:gd name="T23" fmla="*/ 125 h 227"/>
                  <a:gd name="T24" fmla="*/ 188 w 194"/>
                  <a:gd name="T25" fmla="*/ 133 h 227"/>
                  <a:gd name="T26" fmla="*/ 185 w 194"/>
                  <a:gd name="T27" fmla="*/ 141 h 227"/>
                  <a:gd name="T28" fmla="*/ 186 w 194"/>
                  <a:gd name="T29" fmla="*/ 166 h 227"/>
                  <a:gd name="T30" fmla="*/ 185 w 194"/>
                  <a:gd name="T31" fmla="*/ 179 h 227"/>
                  <a:gd name="T32" fmla="*/ 183 w 194"/>
                  <a:gd name="T33" fmla="*/ 181 h 227"/>
                  <a:gd name="T34" fmla="*/ 190 w 194"/>
                  <a:gd name="T35" fmla="*/ 183 h 227"/>
                  <a:gd name="T36" fmla="*/ 186 w 194"/>
                  <a:gd name="T37" fmla="*/ 193 h 227"/>
                  <a:gd name="T38" fmla="*/ 179 w 194"/>
                  <a:gd name="T39" fmla="*/ 204 h 227"/>
                  <a:gd name="T40" fmla="*/ 158 w 194"/>
                  <a:gd name="T41" fmla="*/ 225 h 227"/>
                  <a:gd name="T42" fmla="*/ 146 w 194"/>
                  <a:gd name="T43" fmla="*/ 223 h 227"/>
                  <a:gd name="T44" fmla="*/ 137 w 194"/>
                  <a:gd name="T45" fmla="*/ 219 h 227"/>
                  <a:gd name="T46" fmla="*/ 121 w 194"/>
                  <a:gd name="T47" fmla="*/ 221 h 227"/>
                  <a:gd name="T48" fmla="*/ 112 w 194"/>
                  <a:gd name="T49" fmla="*/ 219 h 227"/>
                  <a:gd name="T50" fmla="*/ 108 w 194"/>
                  <a:gd name="T51" fmla="*/ 218 h 227"/>
                  <a:gd name="T52" fmla="*/ 98 w 194"/>
                  <a:gd name="T53" fmla="*/ 210 h 227"/>
                  <a:gd name="T54" fmla="*/ 87 w 194"/>
                  <a:gd name="T55" fmla="*/ 208 h 227"/>
                  <a:gd name="T56" fmla="*/ 79 w 194"/>
                  <a:gd name="T57" fmla="*/ 204 h 227"/>
                  <a:gd name="T58" fmla="*/ 77 w 194"/>
                  <a:gd name="T59" fmla="*/ 193 h 227"/>
                  <a:gd name="T60" fmla="*/ 79 w 194"/>
                  <a:gd name="T61" fmla="*/ 183 h 227"/>
                  <a:gd name="T62" fmla="*/ 73 w 194"/>
                  <a:gd name="T63" fmla="*/ 177 h 227"/>
                  <a:gd name="T64" fmla="*/ 69 w 194"/>
                  <a:gd name="T65" fmla="*/ 171 h 227"/>
                  <a:gd name="T66" fmla="*/ 62 w 194"/>
                  <a:gd name="T67" fmla="*/ 160 h 227"/>
                  <a:gd name="T68" fmla="*/ 50 w 194"/>
                  <a:gd name="T69" fmla="*/ 146 h 227"/>
                  <a:gd name="T70" fmla="*/ 44 w 194"/>
                  <a:gd name="T71" fmla="*/ 139 h 227"/>
                  <a:gd name="T72" fmla="*/ 37 w 194"/>
                  <a:gd name="T73" fmla="*/ 143 h 227"/>
                  <a:gd name="T74" fmla="*/ 33 w 194"/>
                  <a:gd name="T75" fmla="*/ 135 h 227"/>
                  <a:gd name="T76" fmla="*/ 23 w 194"/>
                  <a:gd name="T77" fmla="*/ 127 h 227"/>
                  <a:gd name="T78" fmla="*/ 16 w 194"/>
                  <a:gd name="T79" fmla="*/ 114 h 227"/>
                  <a:gd name="T80" fmla="*/ 14 w 194"/>
                  <a:gd name="T81" fmla="*/ 104 h 227"/>
                  <a:gd name="T82" fmla="*/ 4 w 194"/>
                  <a:gd name="T83" fmla="*/ 96 h 227"/>
                  <a:gd name="T84" fmla="*/ 0 w 194"/>
                  <a:gd name="T85" fmla="*/ 83 h 227"/>
                  <a:gd name="T86" fmla="*/ 23 w 194"/>
                  <a:gd name="T87" fmla="*/ 85 h 227"/>
                  <a:gd name="T88" fmla="*/ 48 w 194"/>
                  <a:gd name="T89" fmla="*/ 83 h 227"/>
                  <a:gd name="T90" fmla="*/ 75 w 194"/>
                  <a:gd name="T91" fmla="*/ 73 h 227"/>
                  <a:gd name="T92" fmla="*/ 79 w 194"/>
                  <a:gd name="T93" fmla="*/ 50 h 227"/>
                  <a:gd name="T94" fmla="*/ 85 w 194"/>
                  <a:gd name="T95" fmla="*/ 43 h 227"/>
                  <a:gd name="T96" fmla="*/ 89 w 194"/>
                  <a:gd name="T97" fmla="*/ 37 h 227"/>
                  <a:gd name="T98" fmla="*/ 94 w 194"/>
                  <a:gd name="T99" fmla="*/ 33 h 227"/>
                  <a:gd name="T100" fmla="*/ 96 w 194"/>
                  <a:gd name="T101" fmla="*/ 23 h 227"/>
                  <a:gd name="T102" fmla="*/ 102 w 194"/>
                  <a:gd name="T103" fmla="*/ 20 h 227"/>
                  <a:gd name="T104" fmla="*/ 112 w 194"/>
                  <a:gd name="T105" fmla="*/ 14 h 227"/>
                  <a:gd name="T106" fmla="*/ 135 w 194"/>
                  <a:gd name="T107" fmla="*/ 0 h 22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94"/>
                  <a:gd name="T163" fmla="*/ 0 h 227"/>
                  <a:gd name="T164" fmla="*/ 194 w 194"/>
                  <a:gd name="T165" fmla="*/ 227 h 22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94" h="227">
                    <a:moveTo>
                      <a:pt x="135" y="0"/>
                    </a:moveTo>
                    <a:lnTo>
                      <a:pt x="131" y="20"/>
                    </a:lnTo>
                    <a:lnTo>
                      <a:pt x="142" y="20"/>
                    </a:lnTo>
                    <a:lnTo>
                      <a:pt x="148" y="22"/>
                    </a:lnTo>
                    <a:lnTo>
                      <a:pt x="152" y="23"/>
                    </a:lnTo>
                    <a:lnTo>
                      <a:pt x="156" y="27"/>
                    </a:lnTo>
                    <a:lnTo>
                      <a:pt x="162" y="29"/>
                    </a:lnTo>
                    <a:lnTo>
                      <a:pt x="165" y="33"/>
                    </a:lnTo>
                    <a:lnTo>
                      <a:pt x="177" y="37"/>
                    </a:lnTo>
                    <a:lnTo>
                      <a:pt x="183" y="41"/>
                    </a:lnTo>
                    <a:lnTo>
                      <a:pt x="186" y="43"/>
                    </a:lnTo>
                    <a:lnTo>
                      <a:pt x="190" y="56"/>
                    </a:lnTo>
                    <a:lnTo>
                      <a:pt x="190" y="58"/>
                    </a:lnTo>
                    <a:lnTo>
                      <a:pt x="185" y="64"/>
                    </a:lnTo>
                    <a:lnTo>
                      <a:pt x="185" y="85"/>
                    </a:lnTo>
                    <a:lnTo>
                      <a:pt x="186" y="93"/>
                    </a:lnTo>
                    <a:lnTo>
                      <a:pt x="188" y="98"/>
                    </a:lnTo>
                    <a:lnTo>
                      <a:pt x="194" y="104"/>
                    </a:lnTo>
                    <a:lnTo>
                      <a:pt x="194" y="106"/>
                    </a:lnTo>
                    <a:lnTo>
                      <a:pt x="190" y="110"/>
                    </a:lnTo>
                    <a:lnTo>
                      <a:pt x="188" y="114"/>
                    </a:lnTo>
                    <a:lnTo>
                      <a:pt x="185" y="118"/>
                    </a:lnTo>
                    <a:lnTo>
                      <a:pt x="183" y="121"/>
                    </a:lnTo>
                    <a:lnTo>
                      <a:pt x="183" y="125"/>
                    </a:lnTo>
                    <a:lnTo>
                      <a:pt x="186" y="129"/>
                    </a:lnTo>
                    <a:lnTo>
                      <a:pt x="188" y="133"/>
                    </a:lnTo>
                    <a:lnTo>
                      <a:pt x="188" y="135"/>
                    </a:lnTo>
                    <a:lnTo>
                      <a:pt x="185" y="141"/>
                    </a:lnTo>
                    <a:lnTo>
                      <a:pt x="185" y="160"/>
                    </a:lnTo>
                    <a:lnTo>
                      <a:pt x="186" y="166"/>
                    </a:lnTo>
                    <a:lnTo>
                      <a:pt x="186" y="171"/>
                    </a:lnTo>
                    <a:lnTo>
                      <a:pt x="185" y="179"/>
                    </a:lnTo>
                    <a:lnTo>
                      <a:pt x="183" y="179"/>
                    </a:lnTo>
                    <a:lnTo>
                      <a:pt x="183" y="181"/>
                    </a:lnTo>
                    <a:lnTo>
                      <a:pt x="186" y="183"/>
                    </a:lnTo>
                    <a:lnTo>
                      <a:pt x="190" y="183"/>
                    </a:lnTo>
                    <a:lnTo>
                      <a:pt x="190" y="187"/>
                    </a:lnTo>
                    <a:lnTo>
                      <a:pt x="186" y="193"/>
                    </a:lnTo>
                    <a:lnTo>
                      <a:pt x="181" y="200"/>
                    </a:lnTo>
                    <a:lnTo>
                      <a:pt x="179" y="204"/>
                    </a:lnTo>
                    <a:lnTo>
                      <a:pt x="160" y="227"/>
                    </a:lnTo>
                    <a:lnTo>
                      <a:pt x="158" y="225"/>
                    </a:lnTo>
                    <a:lnTo>
                      <a:pt x="154" y="223"/>
                    </a:lnTo>
                    <a:lnTo>
                      <a:pt x="146" y="223"/>
                    </a:lnTo>
                    <a:lnTo>
                      <a:pt x="140" y="221"/>
                    </a:lnTo>
                    <a:lnTo>
                      <a:pt x="137" y="219"/>
                    </a:lnTo>
                    <a:lnTo>
                      <a:pt x="127" y="219"/>
                    </a:lnTo>
                    <a:lnTo>
                      <a:pt x="121" y="221"/>
                    </a:lnTo>
                    <a:lnTo>
                      <a:pt x="115" y="221"/>
                    </a:lnTo>
                    <a:lnTo>
                      <a:pt x="112" y="219"/>
                    </a:lnTo>
                    <a:lnTo>
                      <a:pt x="110" y="218"/>
                    </a:lnTo>
                    <a:lnTo>
                      <a:pt x="108" y="218"/>
                    </a:lnTo>
                    <a:lnTo>
                      <a:pt x="102" y="216"/>
                    </a:lnTo>
                    <a:lnTo>
                      <a:pt x="98" y="210"/>
                    </a:lnTo>
                    <a:lnTo>
                      <a:pt x="92" y="210"/>
                    </a:lnTo>
                    <a:lnTo>
                      <a:pt x="87" y="208"/>
                    </a:lnTo>
                    <a:lnTo>
                      <a:pt x="83" y="204"/>
                    </a:lnTo>
                    <a:lnTo>
                      <a:pt x="79" y="204"/>
                    </a:lnTo>
                    <a:lnTo>
                      <a:pt x="79" y="200"/>
                    </a:lnTo>
                    <a:lnTo>
                      <a:pt x="77" y="193"/>
                    </a:lnTo>
                    <a:lnTo>
                      <a:pt x="77" y="187"/>
                    </a:lnTo>
                    <a:lnTo>
                      <a:pt x="79" y="183"/>
                    </a:lnTo>
                    <a:lnTo>
                      <a:pt x="79" y="179"/>
                    </a:lnTo>
                    <a:lnTo>
                      <a:pt x="73" y="177"/>
                    </a:lnTo>
                    <a:lnTo>
                      <a:pt x="69" y="175"/>
                    </a:lnTo>
                    <a:lnTo>
                      <a:pt x="69" y="171"/>
                    </a:lnTo>
                    <a:lnTo>
                      <a:pt x="64" y="166"/>
                    </a:lnTo>
                    <a:lnTo>
                      <a:pt x="62" y="160"/>
                    </a:lnTo>
                    <a:lnTo>
                      <a:pt x="62" y="152"/>
                    </a:lnTo>
                    <a:lnTo>
                      <a:pt x="50" y="146"/>
                    </a:lnTo>
                    <a:lnTo>
                      <a:pt x="46" y="141"/>
                    </a:lnTo>
                    <a:lnTo>
                      <a:pt x="44" y="139"/>
                    </a:lnTo>
                    <a:lnTo>
                      <a:pt x="43" y="141"/>
                    </a:lnTo>
                    <a:lnTo>
                      <a:pt x="37" y="143"/>
                    </a:lnTo>
                    <a:lnTo>
                      <a:pt x="33" y="139"/>
                    </a:lnTo>
                    <a:lnTo>
                      <a:pt x="33" y="135"/>
                    </a:lnTo>
                    <a:lnTo>
                      <a:pt x="29" y="133"/>
                    </a:lnTo>
                    <a:lnTo>
                      <a:pt x="23" y="127"/>
                    </a:lnTo>
                    <a:lnTo>
                      <a:pt x="18" y="120"/>
                    </a:lnTo>
                    <a:lnTo>
                      <a:pt x="16" y="114"/>
                    </a:lnTo>
                    <a:lnTo>
                      <a:pt x="14" y="110"/>
                    </a:lnTo>
                    <a:lnTo>
                      <a:pt x="14" y="104"/>
                    </a:lnTo>
                    <a:lnTo>
                      <a:pt x="8" y="100"/>
                    </a:lnTo>
                    <a:lnTo>
                      <a:pt x="4" y="96"/>
                    </a:lnTo>
                    <a:lnTo>
                      <a:pt x="2" y="89"/>
                    </a:lnTo>
                    <a:lnTo>
                      <a:pt x="0" y="83"/>
                    </a:lnTo>
                    <a:lnTo>
                      <a:pt x="4" y="85"/>
                    </a:lnTo>
                    <a:lnTo>
                      <a:pt x="23" y="85"/>
                    </a:lnTo>
                    <a:lnTo>
                      <a:pt x="27" y="83"/>
                    </a:lnTo>
                    <a:lnTo>
                      <a:pt x="48" y="83"/>
                    </a:lnTo>
                    <a:lnTo>
                      <a:pt x="71" y="75"/>
                    </a:lnTo>
                    <a:lnTo>
                      <a:pt x="75" y="73"/>
                    </a:lnTo>
                    <a:lnTo>
                      <a:pt x="77" y="64"/>
                    </a:lnTo>
                    <a:lnTo>
                      <a:pt x="79" y="50"/>
                    </a:lnTo>
                    <a:lnTo>
                      <a:pt x="81" y="45"/>
                    </a:lnTo>
                    <a:lnTo>
                      <a:pt x="85" y="43"/>
                    </a:lnTo>
                    <a:lnTo>
                      <a:pt x="85" y="41"/>
                    </a:lnTo>
                    <a:lnTo>
                      <a:pt x="89" y="37"/>
                    </a:lnTo>
                    <a:lnTo>
                      <a:pt x="92" y="35"/>
                    </a:lnTo>
                    <a:lnTo>
                      <a:pt x="94" y="33"/>
                    </a:lnTo>
                    <a:lnTo>
                      <a:pt x="94" y="27"/>
                    </a:lnTo>
                    <a:lnTo>
                      <a:pt x="96" y="23"/>
                    </a:lnTo>
                    <a:lnTo>
                      <a:pt x="98" y="22"/>
                    </a:lnTo>
                    <a:lnTo>
                      <a:pt x="102" y="20"/>
                    </a:lnTo>
                    <a:lnTo>
                      <a:pt x="108" y="16"/>
                    </a:lnTo>
                    <a:lnTo>
                      <a:pt x="112" y="14"/>
                    </a:lnTo>
                    <a:lnTo>
                      <a:pt x="114" y="1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18" name="Freeform 6"/>
              <p:cNvSpPr>
                <a:spLocks/>
              </p:cNvSpPr>
              <p:nvPr/>
            </p:nvSpPr>
            <p:spPr bwMode="gray">
              <a:xfrm>
                <a:off x="3304" y="2911"/>
                <a:ext cx="143" cy="151"/>
              </a:xfrm>
              <a:custGeom>
                <a:avLst/>
                <a:gdLst>
                  <a:gd name="T0" fmla="*/ 67 w 285"/>
                  <a:gd name="T1" fmla="*/ 292 h 302"/>
                  <a:gd name="T2" fmla="*/ 76 w 285"/>
                  <a:gd name="T3" fmla="*/ 300 h 302"/>
                  <a:gd name="T4" fmla="*/ 103 w 285"/>
                  <a:gd name="T5" fmla="*/ 300 h 302"/>
                  <a:gd name="T6" fmla="*/ 151 w 285"/>
                  <a:gd name="T7" fmla="*/ 290 h 302"/>
                  <a:gd name="T8" fmla="*/ 157 w 285"/>
                  <a:gd name="T9" fmla="*/ 262 h 302"/>
                  <a:gd name="T10" fmla="*/ 165 w 285"/>
                  <a:gd name="T11" fmla="*/ 254 h 302"/>
                  <a:gd name="T12" fmla="*/ 170 w 285"/>
                  <a:gd name="T13" fmla="*/ 244 h 302"/>
                  <a:gd name="T14" fmla="*/ 178 w 285"/>
                  <a:gd name="T15" fmla="*/ 237 h 302"/>
                  <a:gd name="T16" fmla="*/ 190 w 285"/>
                  <a:gd name="T17" fmla="*/ 227 h 302"/>
                  <a:gd name="T18" fmla="*/ 205 w 285"/>
                  <a:gd name="T19" fmla="*/ 206 h 302"/>
                  <a:gd name="T20" fmla="*/ 259 w 285"/>
                  <a:gd name="T21" fmla="*/ 181 h 302"/>
                  <a:gd name="T22" fmla="*/ 257 w 285"/>
                  <a:gd name="T23" fmla="*/ 164 h 302"/>
                  <a:gd name="T24" fmla="*/ 259 w 285"/>
                  <a:gd name="T25" fmla="*/ 144 h 302"/>
                  <a:gd name="T26" fmla="*/ 270 w 285"/>
                  <a:gd name="T27" fmla="*/ 127 h 302"/>
                  <a:gd name="T28" fmla="*/ 276 w 285"/>
                  <a:gd name="T29" fmla="*/ 112 h 302"/>
                  <a:gd name="T30" fmla="*/ 272 w 285"/>
                  <a:gd name="T31" fmla="*/ 102 h 302"/>
                  <a:gd name="T32" fmla="*/ 278 w 285"/>
                  <a:gd name="T33" fmla="*/ 79 h 302"/>
                  <a:gd name="T34" fmla="*/ 284 w 285"/>
                  <a:gd name="T35" fmla="*/ 66 h 302"/>
                  <a:gd name="T36" fmla="*/ 280 w 285"/>
                  <a:gd name="T37" fmla="*/ 46 h 302"/>
                  <a:gd name="T38" fmla="*/ 268 w 285"/>
                  <a:gd name="T39" fmla="*/ 33 h 302"/>
                  <a:gd name="T40" fmla="*/ 251 w 285"/>
                  <a:gd name="T41" fmla="*/ 23 h 302"/>
                  <a:gd name="T42" fmla="*/ 247 w 285"/>
                  <a:gd name="T43" fmla="*/ 8 h 302"/>
                  <a:gd name="T44" fmla="*/ 236 w 285"/>
                  <a:gd name="T45" fmla="*/ 10 h 302"/>
                  <a:gd name="T46" fmla="*/ 213 w 285"/>
                  <a:gd name="T47" fmla="*/ 8 h 302"/>
                  <a:gd name="T48" fmla="*/ 163 w 285"/>
                  <a:gd name="T49" fmla="*/ 19 h 302"/>
                  <a:gd name="T50" fmla="*/ 153 w 285"/>
                  <a:gd name="T51" fmla="*/ 31 h 302"/>
                  <a:gd name="T52" fmla="*/ 147 w 285"/>
                  <a:gd name="T53" fmla="*/ 37 h 302"/>
                  <a:gd name="T54" fmla="*/ 151 w 285"/>
                  <a:gd name="T55" fmla="*/ 46 h 302"/>
                  <a:gd name="T56" fmla="*/ 157 w 285"/>
                  <a:gd name="T57" fmla="*/ 66 h 302"/>
                  <a:gd name="T58" fmla="*/ 155 w 285"/>
                  <a:gd name="T59" fmla="*/ 87 h 302"/>
                  <a:gd name="T60" fmla="*/ 176 w 285"/>
                  <a:gd name="T61" fmla="*/ 102 h 302"/>
                  <a:gd name="T62" fmla="*/ 188 w 285"/>
                  <a:gd name="T63" fmla="*/ 114 h 302"/>
                  <a:gd name="T64" fmla="*/ 201 w 285"/>
                  <a:gd name="T65" fmla="*/ 110 h 302"/>
                  <a:gd name="T66" fmla="*/ 193 w 285"/>
                  <a:gd name="T67" fmla="*/ 137 h 302"/>
                  <a:gd name="T68" fmla="*/ 186 w 285"/>
                  <a:gd name="T69" fmla="*/ 141 h 302"/>
                  <a:gd name="T70" fmla="*/ 170 w 285"/>
                  <a:gd name="T71" fmla="*/ 139 h 302"/>
                  <a:gd name="T72" fmla="*/ 170 w 285"/>
                  <a:gd name="T73" fmla="*/ 121 h 302"/>
                  <a:gd name="T74" fmla="*/ 151 w 285"/>
                  <a:gd name="T75" fmla="*/ 114 h 302"/>
                  <a:gd name="T76" fmla="*/ 142 w 285"/>
                  <a:gd name="T77" fmla="*/ 102 h 302"/>
                  <a:gd name="T78" fmla="*/ 130 w 285"/>
                  <a:gd name="T79" fmla="*/ 92 h 302"/>
                  <a:gd name="T80" fmla="*/ 122 w 285"/>
                  <a:gd name="T81" fmla="*/ 102 h 302"/>
                  <a:gd name="T82" fmla="*/ 88 w 285"/>
                  <a:gd name="T83" fmla="*/ 96 h 302"/>
                  <a:gd name="T84" fmla="*/ 86 w 285"/>
                  <a:gd name="T85" fmla="*/ 81 h 302"/>
                  <a:gd name="T86" fmla="*/ 74 w 285"/>
                  <a:gd name="T87" fmla="*/ 89 h 302"/>
                  <a:gd name="T88" fmla="*/ 69 w 285"/>
                  <a:gd name="T89" fmla="*/ 71 h 302"/>
                  <a:gd name="T90" fmla="*/ 55 w 285"/>
                  <a:gd name="T91" fmla="*/ 75 h 302"/>
                  <a:gd name="T92" fmla="*/ 53 w 285"/>
                  <a:gd name="T93" fmla="*/ 106 h 302"/>
                  <a:gd name="T94" fmla="*/ 0 w 285"/>
                  <a:gd name="T95" fmla="*/ 127 h 302"/>
                  <a:gd name="T96" fmla="*/ 5 w 285"/>
                  <a:gd name="T97" fmla="*/ 254 h 302"/>
                  <a:gd name="T98" fmla="*/ 24 w 285"/>
                  <a:gd name="T99" fmla="*/ 283 h 30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85"/>
                  <a:gd name="T151" fmla="*/ 0 h 302"/>
                  <a:gd name="T152" fmla="*/ 285 w 285"/>
                  <a:gd name="T153" fmla="*/ 302 h 30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85" h="302">
                    <a:moveTo>
                      <a:pt x="34" y="296"/>
                    </a:moveTo>
                    <a:lnTo>
                      <a:pt x="61" y="292"/>
                    </a:lnTo>
                    <a:lnTo>
                      <a:pt x="67" y="292"/>
                    </a:lnTo>
                    <a:lnTo>
                      <a:pt x="71" y="296"/>
                    </a:lnTo>
                    <a:lnTo>
                      <a:pt x="74" y="298"/>
                    </a:lnTo>
                    <a:lnTo>
                      <a:pt x="76" y="300"/>
                    </a:lnTo>
                    <a:lnTo>
                      <a:pt x="80" y="302"/>
                    </a:lnTo>
                    <a:lnTo>
                      <a:pt x="99" y="302"/>
                    </a:lnTo>
                    <a:lnTo>
                      <a:pt x="103" y="300"/>
                    </a:lnTo>
                    <a:lnTo>
                      <a:pt x="124" y="300"/>
                    </a:lnTo>
                    <a:lnTo>
                      <a:pt x="147" y="292"/>
                    </a:lnTo>
                    <a:lnTo>
                      <a:pt x="151" y="290"/>
                    </a:lnTo>
                    <a:lnTo>
                      <a:pt x="153" y="281"/>
                    </a:lnTo>
                    <a:lnTo>
                      <a:pt x="155" y="267"/>
                    </a:lnTo>
                    <a:lnTo>
                      <a:pt x="157" y="262"/>
                    </a:lnTo>
                    <a:lnTo>
                      <a:pt x="161" y="260"/>
                    </a:lnTo>
                    <a:lnTo>
                      <a:pt x="161" y="258"/>
                    </a:lnTo>
                    <a:lnTo>
                      <a:pt x="165" y="254"/>
                    </a:lnTo>
                    <a:lnTo>
                      <a:pt x="168" y="252"/>
                    </a:lnTo>
                    <a:lnTo>
                      <a:pt x="170" y="250"/>
                    </a:lnTo>
                    <a:lnTo>
                      <a:pt x="170" y="244"/>
                    </a:lnTo>
                    <a:lnTo>
                      <a:pt x="172" y="240"/>
                    </a:lnTo>
                    <a:lnTo>
                      <a:pt x="174" y="239"/>
                    </a:lnTo>
                    <a:lnTo>
                      <a:pt x="178" y="237"/>
                    </a:lnTo>
                    <a:lnTo>
                      <a:pt x="184" y="233"/>
                    </a:lnTo>
                    <a:lnTo>
                      <a:pt x="188" y="231"/>
                    </a:lnTo>
                    <a:lnTo>
                      <a:pt x="190" y="227"/>
                    </a:lnTo>
                    <a:lnTo>
                      <a:pt x="209" y="219"/>
                    </a:lnTo>
                    <a:lnTo>
                      <a:pt x="209" y="212"/>
                    </a:lnTo>
                    <a:lnTo>
                      <a:pt x="205" y="206"/>
                    </a:lnTo>
                    <a:lnTo>
                      <a:pt x="203" y="204"/>
                    </a:lnTo>
                    <a:lnTo>
                      <a:pt x="261" y="185"/>
                    </a:lnTo>
                    <a:lnTo>
                      <a:pt x="259" y="181"/>
                    </a:lnTo>
                    <a:lnTo>
                      <a:pt x="259" y="175"/>
                    </a:lnTo>
                    <a:lnTo>
                      <a:pt x="257" y="169"/>
                    </a:lnTo>
                    <a:lnTo>
                      <a:pt x="257" y="164"/>
                    </a:lnTo>
                    <a:lnTo>
                      <a:pt x="261" y="158"/>
                    </a:lnTo>
                    <a:lnTo>
                      <a:pt x="261" y="152"/>
                    </a:lnTo>
                    <a:lnTo>
                      <a:pt x="259" y="144"/>
                    </a:lnTo>
                    <a:lnTo>
                      <a:pt x="259" y="137"/>
                    </a:lnTo>
                    <a:lnTo>
                      <a:pt x="262" y="131"/>
                    </a:lnTo>
                    <a:lnTo>
                      <a:pt x="270" y="127"/>
                    </a:lnTo>
                    <a:lnTo>
                      <a:pt x="276" y="123"/>
                    </a:lnTo>
                    <a:lnTo>
                      <a:pt x="278" y="116"/>
                    </a:lnTo>
                    <a:lnTo>
                      <a:pt x="276" y="112"/>
                    </a:lnTo>
                    <a:lnTo>
                      <a:pt x="272" y="112"/>
                    </a:lnTo>
                    <a:lnTo>
                      <a:pt x="270" y="108"/>
                    </a:lnTo>
                    <a:lnTo>
                      <a:pt x="272" y="102"/>
                    </a:lnTo>
                    <a:lnTo>
                      <a:pt x="270" y="96"/>
                    </a:lnTo>
                    <a:lnTo>
                      <a:pt x="270" y="87"/>
                    </a:lnTo>
                    <a:lnTo>
                      <a:pt x="278" y="79"/>
                    </a:lnTo>
                    <a:lnTo>
                      <a:pt x="282" y="73"/>
                    </a:lnTo>
                    <a:lnTo>
                      <a:pt x="285" y="69"/>
                    </a:lnTo>
                    <a:lnTo>
                      <a:pt x="284" y="66"/>
                    </a:lnTo>
                    <a:lnTo>
                      <a:pt x="282" y="58"/>
                    </a:lnTo>
                    <a:lnTo>
                      <a:pt x="282" y="50"/>
                    </a:lnTo>
                    <a:lnTo>
                      <a:pt x="280" y="46"/>
                    </a:lnTo>
                    <a:lnTo>
                      <a:pt x="276" y="43"/>
                    </a:lnTo>
                    <a:lnTo>
                      <a:pt x="272" y="35"/>
                    </a:lnTo>
                    <a:lnTo>
                      <a:pt x="268" y="33"/>
                    </a:lnTo>
                    <a:lnTo>
                      <a:pt x="262" y="33"/>
                    </a:lnTo>
                    <a:lnTo>
                      <a:pt x="255" y="25"/>
                    </a:lnTo>
                    <a:lnTo>
                      <a:pt x="251" y="23"/>
                    </a:lnTo>
                    <a:lnTo>
                      <a:pt x="245" y="18"/>
                    </a:lnTo>
                    <a:lnTo>
                      <a:pt x="245" y="12"/>
                    </a:lnTo>
                    <a:lnTo>
                      <a:pt x="247" y="8"/>
                    </a:lnTo>
                    <a:lnTo>
                      <a:pt x="245" y="8"/>
                    </a:lnTo>
                    <a:lnTo>
                      <a:pt x="234" y="4"/>
                    </a:lnTo>
                    <a:lnTo>
                      <a:pt x="236" y="10"/>
                    </a:lnTo>
                    <a:lnTo>
                      <a:pt x="234" y="14"/>
                    </a:lnTo>
                    <a:lnTo>
                      <a:pt x="218" y="14"/>
                    </a:lnTo>
                    <a:lnTo>
                      <a:pt x="213" y="8"/>
                    </a:lnTo>
                    <a:lnTo>
                      <a:pt x="211" y="0"/>
                    </a:lnTo>
                    <a:lnTo>
                      <a:pt x="170" y="12"/>
                    </a:lnTo>
                    <a:lnTo>
                      <a:pt x="163" y="19"/>
                    </a:lnTo>
                    <a:lnTo>
                      <a:pt x="155" y="23"/>
                    </a:lnTo>
                    <a:lnTo>
                      <a:pt x="155" y="27"/>
                    </a:lnTo>
                    <a:lnTo>
                      <a:pt x="153" y="31"/>
                    </a:lnTo>
                    <a:lnTo>
                      <a:pt x="151" y="33"/>
                    </a:lnTo>
                    <a:lnTo>
                      <a:pt x="149" y="33"/>
                    </a:lnTo>
                    <a:lnTo>
                      <a:pt x="147" y="37"/>
                    </a:lnTo>
                    <a:lnTo>
                      <a:pt x="149" y="41"/>
                    </a:lnTo>
                    <a:lnTo>
                      <a:pt x="149" y="44"/>
                    </a:lnTo>
                    <a:lnTo>
                      <a:pt x="151" y="46"/>
                    </a:lnTo>
                    <a:lnTo>
                      <a:pt x="151" y="54"/>
                    </a:lnTo>
                    <a:lnTo>
                      <a:pt x="153" y="60"/>
                    </a:lnTo>
                    <a:lnTo>
                      <a:pt x="157" y="66"/>
                    </a:lnTo>
                    <a:lnTo>
                      <a:pt x="157" y="69"/>
                    </a:lnTo>
                    <a:lnTo>
                      <a:pt x="155" y="75"/>
                    </a:lnTo>
                    <a:lnTo>
                      <a:pt x="155" y="87"/>
                    </a:lnTo>
                    <a:lnTo>
                      <a:pt x="165" y="96"/>
                    </a:lnTo>
                    <a:lnTo>
                      <a:pt x="170" y="100"/>
                    </a:lnTo>
                    <a:lnTo>
                      <a:pt x="176" y="102"/>
                    </a:lnTo>
                    <a:lnTo>
                      <a:pt x="182" y="108"/>
                    </a:lnTo>
                    <a:lnTo>
                      <a:pt x="186" y="114"/>
                    </a:lnTo>
                    <a:lnTo>
                      <a:pt x="188" y="114"/>
                    </a:lnTo>
                    <a:lnTo>
                      <a:pt x="190" y="112"/>
                    </a:lnTo>
                    <a:lnTo>
                      <a:pt x="195" y="112"/>
                    </a:lnTo>
                    <a:lnTo>
                      <a:pt x="201" y="110"/>
                    </a:lnTo>
                    <a:lnTo>
                      <a:pt x="203" y="110"/>
                    </a:lnTo>
                    <a:lnTo>
                      <a:pt x="203" y="139"/>
                    </a:lnTo>
                    <a:lnTo>
                      <a:pt x="193" y="137"/>
                    </a:lnTo>
                    <a:lnTo>
                      <a:pt x="191" y="137"/>
                    </a:lnTo>
                    <a:lnTo>
                      <a:pt x="190" y="139"/>
                    </a:lnTo>
                    <a:lnTo>
                      <a:pt x="186" y="141"/>
                    </a:lnTo>
                    <a:lnTo>
                      <a:pt x="180" y="142"/>
                    </a:lnTo>
                    <a:lnTo>
                      <a:pt x="174" y="142"/>
                    </a:lnTo>
                    <a:lnTo>
                      <a:pt x="170" y="139"/>
                    </a:lnTo>
                    <a:lnTo>
                      <a:pt x="172" y="133"/>
                    </a:lnTo>
                    <a:lnTo>
                      <a:pt x="172" y="129"/>
                    </a:lnTo>
                    <a:lnTo>
                      <a:pt x="170" y="121"/>
                    </a:lnTo>
                    <a:lnTo>
                      <a:pt x="165" y="119"/>
                    </a:lnTo>
                    <a:lnTo>
                      <a:pt x="157" y="117"/>
                    </a:lnTo>
                    <a:lnTo>
                      <a:pt x="151" y="114"/>
                    </a:lnTo>
                    <a:lnTo>
                      <a:pt x="147" y="108"/>
                    </a:lnTo>
                    <a:lnTo>
                      <a:pt x="143" y="106"/>
                    </a:lnTo>
                    <a:lnTo>
                      <a:pt x="142" y="102"/>
                    </a:lnTo>
                    <a:lnTo>
                      <a:pt x="142" y="94"/>
                    </a:lnTo>
                    <a:lnTo>
                      <a:pt x="138" y="92"/>
                    </a:lnTo>
                    <a:lnTo>
                      <a:pt x="130" y="92"/>
                    </a:lnTo>
                    <a:lnTo>
                      <a:pt x="128" y="94"/>
                    </a:lnTo>
                    <a:lnTo>
                      <a:pt x="124" y="100"/>
                    </a:lnTo>
                    <a:lnTo>
                      <a:pt x="122" y="102"/>
                    </a:lnTo>
                    <a:lnTo>
                      <a:pt x="97" y="102"/>
                    </a:lnTo>
                    <a:lnTo>
                      <a:pt x="90" y="98"/>
                    </a:lnTo>
                    <a:lnTo>
                      <a:pt x="88" y="96"/>
                    </a:lnTo>
                    <a:lnTo>
                      <a:pt x="90" y="94"/>
                    </a:lnTo>
                    <a:lnTo>
                      <a:pt x="90" y="83"/>
                    </a:lnTo>
                    <a:lnTo>
                      <a:pt x="86" y="81"/>
                    </a:lnTo>
                    <a:lnTo>
                      <a:pt x="82" y="83"/>
                    </a:lnTo>
                    <a:lnTo>
                      <a:pt x="78" y="89"/>
                    </a:lnTo>
                    <a:lnTo>
                      <a:pt x="74" y="89"/>
                    </a:lnTo>
                    <a:lnTo>
                      <a:pt x="71" y="85"/>
                    </a:lnTo>
                    <a:lnTo>
                      <a:pt x="71" y="77"/>
                    </a:lnTo>
                    <a:lnTo>
                      <a:pt x="69" y="71"/>
                    </a:lnTo>
                    <a:lnTo>
                      <a:pt x="69" y="69"/>
                    </a:lnTo>
                    <a:lnTo>
                      <a:pt x="53" y="73"/>
                    </a:lnTo>
                    <a:lnTo>
                      <a:pt x="55" y="75"/>
                    </a:lnTo>
                    <a:lnTo>
                      <a:pt x="59" y="91"/>
                    </a:lnTo>
                    <a:lnTo>
                      <a:pt x="55" y="102"/>
                    </a:lnTo>
                    <a:lnTo>
                      <a:pt x="53" y="106"/>
                    </a:lnTo>
                    <a:lnTo>
                      <a:pt x="55" y="110"/>
                    </a:lnTo>
                    <a:lnTo>
                      <a:pt x="55" y="127"/>
                    </a:lnTo>
                    <a:lnTo>
                      <a:pt x="0" y="127"/>
                    </a:lnTo>
                    <a:lnTo>
                      <a:pt x="0" y="240"/>
                    </a:lnTo>
                    <a:lnTo>
                      <a:pt x="1" y="244"/>
                    </a:lnTo>
                    <a:lnTo>
                      <a:pt x="5" y="254"/>
                    </a:lnTo>
                    <a:lnTo>
                      <a:pt x="7" y="262"/>
                    </a:lnTo>
                    <a:lnTo>
                      <a:pt x="19" y="273"/>
                    </a:lnTo>
                    <a:lnTo>
                      <a:pt x="24" y="283"/>
                    </a:lnTo>
                    <a:lnTo>
                      <a:pt x="26" y="292"/>
                    </a:lnTo>
                    <a:lnTo>
                      <a:pt x="34" y="29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19" name="Freeform 7"/>
              <p:cNvSpPr>
                <a:spLocks noEditPoints="1"/>
              </p:cNvSpPr>
              <p:nvPr/>
            </p:nvSpPr>
            <p:spPr bwMode="gray">
              <a:xfrm>
                <a:off x="3177" y="2692"/>
                <a:ext cx="248" cy="290"/>
              </a:xfrm>
              <a:custGeom>
                <a:avLst/>
                <a:gdLst>
                  <a:gd name="T0" fmla="*/ 186 w 497"/>
                  <a:gd name="T1" fmla="*/ 12 h 580"/>
                  <a:gd name="T2" fmla="*/ 229 w 497"/>
                  <a:gd name="T3" fmla="*/ 19 h 580"/>
                  <a:gd name="T4" fmla="*/ 282 w 497"/>
                  <a:gd name="T5" fmla="*/ 29 h 580"/>
                  <a:gd name="T6" fmla="*/ 311 w 497"/>
                  <a:gd name="T7" fmla="*/ 17 h 580"/>
                  <a:gd name="T8" fmla="*/ 328 w 497"/>
                  <a:gd name="T9" fmla="*/ 12 h 580"/>
                  <a:gd name="T10" fmla="*/ 371 w 497"/>
                  <a:gd name="T11" fmla="*/ 4 h 580"/>
                  <a:gd name="T12" fmla="*/ 405 w 497"/>
                  <a:gd name="T13" fmla="*/ 29 h 580"/>
                  <a:gd name="T14" fmla="*/ 432 w 497"/>
                  <a:gd name="T15" fmla="*/ 27 h 580"/>
                  <a:gd name="T16" fmla="*/ 463 w 497"/>
                  <a:gd name="T17" fmla="*/ 46 h 580"/>
                  <a:gd name="T18" fmla="*/ 497 w 497"/>
                  <a:gd name="T19" fmla="*/ 60 h 580"/>
                  <a:gd name="T20" fmla="*/ 488 w 497"/>
                  <a:gd name="T21" fmla="*/ 94 h 580"/>
                  <a:gd name="T22" fmla="*/ 480 w 497"/>
                  <a:gd name="T23" fmla="*/ 135 h 580"/>
                  <a:gd name="T24" fmla="*/ 453 w 497"/>
                  <a:gd name="T25" fmla="*/ 158 h 580"/>
                  <a:gd name="T26" fmla="*/ 440 w 497"/>
                  <a:gd name="T27" fmla="*/ 196 h 580"/>
                  <a:gd name="T28" fmla="*/ 436 w 497"/>
                  <a:gd name="T29" fmla="*/ 210 h 580"/>
                  <a:gd name="T30" fmla="*/ 432 w 497"/>
                  <a:gd name="T31" fmla="*/ 229 h 580"/>
                  <a:gd name="T32" fmla="*/ 422 w 497"/>
                  <a:gd name="T33" fmla="*/ 233 h 580"/>
                  <a:gd name="T34" fmla="*/ 424 w 497"/>
                  <a:gd name="T35" fmla="*/ 269 h 580"/>
                  <a:gd name="T36" fmla="*/ 430 w 497"/>
                  <a:gd name="T37" fmla="*/ 286 h 580"/>
                  <a:gd name="T38" fmla="*/ 426 w 497"/>
                  <a:gd name="T39" fmla="*/ 333 h 580"/>
                  <a:gd name="T40" fmla="*/ 434 w 497"/>
                  <a:gd name="T41" fmla="*/ 384 h 580"/>
                  <a:gd name="T42" fmla="*/ 467 w 497"/>
                  <a:gd name="T43" fmla="*/ 438 h 580"/>
                  <a:gd name="T44" fmla="*/ 407 w 497"/>
                  <a:gd name="T45" fmla="*/ 457 h 580"/>
                  <a:gd name="T46" fmla="*/ 405 w 497"/>
                  <a:gd name="T47" fmla="*/ 471 h 580"/>
                  <a:gd name="T48" fmla="*/ 413 w 497"/>
                  <a:gd name="T49" fmla="*/ 507 h 580"/>
                  <a:gd name="T50" fmla="*/ 438 w 497"/>
                  <a:gd name="T51" fmla="*/ 546 h 580"/>
                  <a:gd name="T52" fmla="*/ 459 w 497"/>
                  <a:gd name="T53" fmla="*/ 548 h 580"/>
                  <a:gd name="T54" fmla="*/ 436 w 497"/>
                  <a:gd name="T55" fmla="*/ 580 h 580"/>
                  <a:gd name="T56" fmla="*/ 421 w 497"/>
                  <a:gd name="T57" fmla="*/ 557 h 580"/>
                  <a:gd name="T58" fmla="*/ 398 w 497"/>
                  <a:gd name="T59" fmla="*/ 532 h 580"/>
                  <a:gd name="T60" fmla="*/ 353 w 497"/>
                  <a:gd name="T61" fmla="*/ 540 h 580"/>
                  <a:gd name="T62" fmla="*/ 338 w 497"/>
                  <a:gd name="T63" fmla="*/ 521 h 580"/>
                  <a:gd name="T64" fmla="*/ 325 w 497"/>
                  <a:gd name="T65" fmla="*/ 507 h 580"/>
                  <a:gd name="T66" fmla="*/ 279 w 497"/>
                  <a:gd name="T67" fmla="*/ 515 h 580"/>
                  <a:gd name="T68" fmla="*/ 265 w 497"/>
                  <a:gd name="T69" fmla="*/ 484 h 580"/>
                  <a:gd name="T70" fmla="*/ 261 w 497"/>
                  <a:gd name="T71" fmla="*/ 457 h 580"/>
                  <a:gd name="T72" fmla="*/ 252 w 497"/>
                  <a:gd name="T73" fmla="*/ 407 h 580"/>
                  <a:gd name="T74" fmla="*/ 227 w 497"/>
                  <a:gd name="T75" fmla="*/ 384 h 580"/>
                  <a:gd name="T76" fmla="*/ 194 w 497"/>
                  <a:gd name="T77" fmla="*/ 394 h 580"/>
                  <a:gd name="T78" fmla="*/ 184 w 497"/>
                  <a:gd name="T79" fmla="*/ 409 h 580"/>
                  <a:gd name="T80" fmla="*/ 150 w 497"/>
                  <a:gd name="T81" fmla="*/ 390 h 580"/>
                  <a:gd name="T82" fmla="*/ 142 w 497"/>
                  <a:gd name="T83" fmla="*/ 352 h 580"/>
                  <a:gd name="T84" fmla="*/ 33 w 497"/>
                  <a:gd name="T85" fmla="*/ 356 h 580"/>
                  <a:gd name="T86" fmla="*/ 23 w 497"/>
                  <a:gd name="T87" fmla="*/ 325 h 580"/>
                  <a:gd name="T88" fmla="*/ 33 w 497"/>
                  <a:gd name="T89" fmla="*/ 306 h 580"/>
                  <a:gd name="T90" fmla="*/ 56 w 497"/>
                  <a:gd name="T91" fmla="*/ 294 h 580"/>
                  <a:gd name="T92" fmla="*/ 77 w 497"/>
                  <a:gd name="T93" fmla="*/ 290 h 580"/>
                  <a:gd name="T94" fmla="*/ 110 w 497"/>
                  <a:gd name="T95" fmla="*/ 300 h 580"/>
                  <a:gd name="T96" fmla="*/ 123 w 497"/>
                  <a:gd name="T97" fmla="*/ 273 h 580"/>
                  <a:gd name="T98" fmla="*/ 123 w 497"/>
                  <a:gd name="T99" fmla="*/ 235 h 580"/>
                  <a:gd name="T100" fmla="*/ 144 w 497"/>
                  <a:gd name="T101" fmla="*/ 183 h 580"/>
                  <a:gd name="T102" fmla="*/ 154 w 497"/>
                  <a:gd name="T103" fmla="*/ 133 h 580"/>
                  <a:gd name="T104" fmla="*/ 160 w 497"/>
                  <a:gd name="T105" fmla="*/ 88 h 580"/>
                  <a:gd name="T106" fmla="*/ 432 w 497"/>
                  <a:gd name="T107" fmla="*/ 248 h 58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97"/>
                  <a:gd name="T163" fmla="*/ 0 h 580"/>
                  <a:gd name="T164" fmla="*/ 497 w 497"/>
                  <a:gd name="T165" fmla="*/ 580 h 58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97" h="580">
                    <a:moveTo>
                      <a:pt x="169" y="56"/>
                    </a:moveTo>
                    <a:lnTo>
                      <a:pt x="171" y="31"/>
                    </a:lnTo>
                    <a:lnTo>
                      <a:pt x="175" y="29"/>
                    </a:lnTo>
                    <a:lnTo>
                      <a:pt x="181" y="25"/>
                    </a:lnTo>
                    <a:lnTo>
                      <a:pt x="184" y="19"/>
                    </a:lnTo>
                    <a:lnTo>
                      <a:pt x="186" y="12"/>
                    </a:lnTo>
                    <a:lnTo>
                      <a:pt x="188" y="6"/>
                    </a:lnTo>
                    <a:lnTo>
                      <a:pt x="194" y="4"/>
                    </a:lnTo>
                    <a:lnTo>
                      <a:pt x="206" y="4"/>
                    </a:lnTo>
                    <a:lnTo>
                      <a:pt x="213" y="6"/>
                    </a:lnTo>
                    <a:lnTo>
                      <a:pt x="219" y="10"/>
                    </a:lnTo>
                    <a:lnTo>
                      <a:pt x="229" y="19"/>
                    </a:lnTo>
                    <a:lnTo>
                      <a:pt x="244" y="23"/>
                    </a:lnTo>
                    <a:lnTo>
                      <a:pt x="261" y="23"/>
                    </a:lnTo>
                    <a:lnTo>
                      <a:pt x="267" y="25"/>
                    </a:lnTo>
                    <a:lnTo>
                      <a:pt x="275" y="27"/>
                    </a:lnTo>
                    <a:lnTo>
                      <a:pt x="280" y="27"/>
                    </a:lnTo>
                    <a:lnTo>
                      <a:pt x="282" y="29"/>
                    </a:lnTo>
                    <a:lnTo>
                      <a:pt x="282" y="17"/>
                    </a:lnTo>
                    <a:lnTo>
                      <a:pt x="288" y="14"/>
                    </a:lnTo>
                    <a:lnTo>
                      <a:pt x="292" y="15"/>
                    </a:lnTo>
                    <a:lnTo>
                      <a:pt x="296" y="19"/>
                    </a:lnTo>
                    <a:lnTo>
                      <a:pt x="303" y="19"/>
                    </a:lnTo>
                    <a:lnTo>
                      <a:pt x="311" y="17"/>
                    </a:lnTo>
                    <a:lnTo>
                      <a:pt x="315" y="17"/>
                    </a:lnTo>
                    <a:lnTo>
                      <a:pt x="317" y="15"/>
                    </a:lnTo>
                    <a:lnTo>
                      <a:pt x="317" y="10"/>
                    </a:lnTo>
                    <a:lnTo>
                      <a:pt x="323" y="8"/>
                    </a:lnTo>
                    <a:lnTo>
                      <a:pt x="327" y="10"/>
                    </a:lnTo>
                    <a:lnTo>
                      <a:pt x="328" y="12"/>
                    </a:lnTo>
                    <a:lnTo>
                      <a:pt x="332" y="10"/>
                    </a:lnTo>
                    <a:lnTo>
                      <a:pt x="336" y="4"/>
                    </a:lnTo>
                    <a:lnTo>
                      <a:pt x="340" y="0"/>
                    </a:lnTo>
                    <a:lnTo>
                      <a:pt x="363" y="0"/>
                    </a:lnTo>
                    <a:lnTo>
                      <a:pt x="369" y="2"/>
                    </a:lnTo>
                    <a:lnTo>
                      <a:pt x="371" y="4"/>
                    </a:lnTo>
                    <a:lnTo>
                      <a:pt x="386" y="4"/>
                    </a:lnTo>
                    <a:lnTo>
                      <a:pt x="394" y="15"/>
                    </a:lnTo>
                    <a:lnTo>
                      <a:pt x="394" y="17"/>
                    </a:lnTo>
                    <a:lnTo>
                      <a:pt x="398" y="23"/>
                    </a:lnTo>
                    <a:lnTo>
                      <a:pt x="399" y="27"/>
                    </a:lnTo>
                    <a:lnTo>
                      <a:pt x="405" y="29"/>
                    </a:lnTo>
                    <a:lnTo>
                      <a:pt x="407" y="27"/>
                    </a:lnTo>
                    <a:lnTo>
                      <a:pt x="411" y="21"/>
                    </a:lnTo>
                    <a:lnTo>
                      <a:pt x="413" y="19"/>
                    </a:lnTo>
                    <a:lnTo>
                      <a:pt x="424" y="27"/>
                    </a:lnTo>
                    <a:lnTo>
                      <a:pt x="430" y="29"/>
                    </a:lnTo>
                    <a:lnTo>
                      <a:pt x="432" y="27"/>
                    </a:lnTo>
                    <a:lnTo>
                      <a:pt x="434" y="23"/>
                    </a:lnTo>
                    <a:lnTo>
                      <a:pt x="440" y="21"/>
                    </a:lnTo>
                    <a:lnTo>
                      <a:pt x="444" y="23"/>
                    </a:lnTo>
                    <a:lnTo>
                      <a:pt x="447" y="27"/>
                    </a:lnTo>
                    <a:lnTo>
                      <a:pt x="459" y="44"/>
                    </a:lnTo>
                    <a:lnTo>
                      <a:pt x="463" y="46"/>
                    </a:lnTo>
                    <a:lnTo>
                      <a:pt x="469" y="50"/>
                    </a:lnTo>
                    <a:lnTo>
                      <a:pt x="474" y="52"/>
                    </a:lnTo>
                    <a:lnTo>
                      <a:pt x="478" y="54"/>
                    </a:lnTo>
                    <a:lnTo>
                      <a:pt x="482" y="54"/>
                    </a:lnTo>
                    <a:lnTo>
                      <a:pt x="484" y="52"/>
                    </a:lnTo>
                    <a:lnTo>
                      <a:pt x="497" y="60"/>
                    </a:lnTo>
                    <a:lnTo>
                      <a:pt x="497" y="71"/>
                    </a:lnTo>
                    <a:lnTo>
                      <a:pt x="494" y="79"/>
                    </a:lnTo>
                    <a:lnTo>
                      <a:pt x="488" y="85"/>
                    </a:lnTo>
                    <a:lnTo>
                      <a:pt x="488" y="88"/>
                    </a:lnTo>
                    <a:lnTo>
                      <a:pt x="492" y="90"/>
                    </a:lnTo>
                    <a:lnTo>
                      <a:pt x="488" y="94"/>
                    </a:lnTo>
                    <a:lnTo>
                      <a:pt x="482" y="112"/>
                    </a:lnTo>
                    <a:lnTo>
                      <a:pt x="488" y="117"/>
                    </a:lnTo>
                    <a:lnTo>
                      <a:pt x="488" y="121"/>
                    </a:lnTo>
                    <a:lnTo>
                      <a:pt x="486" y="127"/>
                    </a:lnTo>
                    <a:lnTo>
                      <a:pt x="478" y="137"/>
                    </a:lnTo>
                    <a:lnTo>
                      <a:pt x="480" y="135"/>
                    </a:lnTo>
                    <a:lnTo>
                      <a:pt x="480" y="131"/>
                    </a:lnTo>
                    <a:lnTo>
                      <a:pt x="484" y="125"/>
                    </a:lnTo>
                    <a:lnTo>
                      <a:pt x="469" y="137"/>
                    </a:lnTo>
                    <a:lnTo>
                      <a:pt x="465" y="140"/>
                    </a:lnTo>
                    <a:lnTo>
                      <a:pt x="465" y="152"/>
                    </a:lnTo>
                    <a:lnTo>
                      <a:pt x="453" y="158"/>
                    </a:lnTo>
                    <a:lnTo>
                      <a:pt x="453" y="160"/>
                    </a:lnTo>
                    <a:lnTo>
                      <a:pt x="449" y="165"/>
                    </a:lnTo>
                    <a:lnTo>
                      <a:pt x="447" y="171"/>
                    </a:lnTo>
                    <a:lnTo>
                      <a:pt x="446" y="179"/>
                    </a:lnTo>
                    <a:lnTo>
                      <a:pt x="444" y="188"/>
                    </a:lnTo>
                    <a:lnTo>
                      <a:pt x="440" y="196"/>
                    </a:lnTo>
                    <a:lnTo>
                      <a:pt x="440" y="194"/>
                    </a:lnTo>
                    <a:lnTo>
                      <a:pt x="434" y="194"/>
                    </a:lnTo>
                    <a:lnTo>
                      <a:pt x="426" y="202"/>
                    </a:lnTo>
                    <a:lnTo>
                      <a:pt x="424" y="211"/>
                    </a:lnTo>
                    <a:lnTo>
                      <a:pt x="434" y="213"/>
                    </a:lnTo>
                    <a:lnTo>
                      <a:pt x="436" y="210"/>
                    </a:lnTo>
                    <a:lnTo>
                      <a:pt x="438" y="208"/>
                    </a:lnTo>
                    <a:lnTo>
                      <a:pt x="436" y="210"/>
                    </a:lnTo>
                    <a:lnTo>
                      <a:pt x="436" y="211"/>
                    </a:lnTo>
                    <a:lnTo>
                      <a:pt x="434" y="213"/>
                    </a:lnTo>
                    <a:lnTo>
                      <a:pt x="430" y="223"/>
                    </a:lnTo>
                    <a:lnTo>
                      <a:pt x="432" y="229"/>
                    </a:lnTo>
                    <a:lnTo>
                      <a:pt x="436" y="231"/>
                    </a:lnTo>
                    <a:lnTo>
                      <a:pt x="434" y="233"/>
                    </a:lnTo>
                    <a:lnTo>
                      <a:pt x="434" y="238"/>
                    </a:lnTo>
                    <a:lnTo>
                      <a:pt x="432" y="244"/>
                    </a:lnTo>
                    <a:lnTo>
                      <a:pt x="424" y="236"/>
                    </a:lnTo>
                    <a:lnTo>
                      <a:pt x="422" y="233"/>
                    </a:lnTo>
                    <a:lnTo>
                      <a:pt x="419" y="242"/>
                    </a:lnTo>
                    <a:lnTo>
                      <a:pt x="415" y="256"/>
                    </a:lnTo>
                    <a:lnTo>
                      <a:pt x="422" y="260"/>
                    </a:lnTo>
                    <a:lnTo>
                      <a:pt x="421" y="261"/>
                    </a:lnTo>
                    <a:lnTo>
                      <a:pt x="421" y="265"/>
                    </a:lnTo>
                    <a:lnTo>
                      <a:pt x="424" y="269"/>
                    </a:lnTo>
                    <a:lnTo>
                      <a:pt x="430" y="273"/>
                    </a:lnTo>
                    <a:lnTo>
                      <a:pt x="434" y="273"/>
                    </a:lnTo>
                    <a:lnTo>
                      <a:pt x="436" y="284"/>
                    </a:lnTo>
                    <a:lnTo>
                      <a:pt x="436" y="288"/>
                    </a:lnTo>
                    <a:lnTo>
                      <a:pt x="432" y="288"/>
                    </a:lnTo>
                    <a:lnTo>
                      <a:pt x="430" y="286"/>
                    </a:lnTo>
                    <a:lnTo>
                      <a:pt x="426" y="298"/>
                    </a:lnTo>
                    <a:lnTo>
                      <a:pt x="422" y="311"/>
                    </a:lnTo>
                    <a:lnTo>
                      <a:pt x="430" y="317"/>
                    </a:lnTo>
                    <a:lnTo>
                      <a:pt x="428" y="321"/>
                    </a:lnTo>
                    <a:lnTo>
                      <a:pt x="426" y="327"/>
                    </a:lnTo>
                    <a:lnTo>
                      <a:pt x="426" y="333"/>
                    </a:lnTo>
                    <a:lnTo>
                      <a:pt x="434" y="342"/>
                    </a:lnTo>
                    <a:lnTo>
                      <a:pt x="432" y="350"/>
                    </a:lnTo>
                    <a:lnTo>
                      <a:pt x="430" y="356"/>
                    </a:lnTo>
                    <a:lnTo>
                      <a:pt x="426" y="359"/>
                    </a:lnTo>
                    <a:lnTo>
                      <a:pt x="428" y="369"/>
                    </a:lnTo>
                    <a:lnTo>
                      <a:pt x="434" y="384"/>
                    </a:lnTo>
                    <a:lnTo>
                      <a:pt x="438" y="394"/>
                    </a:lnTo>
                    <a:lnTo>
                      <a:pt x="461" y="409"/>
                    </a:lnTo>
                    <a:lnTo>
                      <a:pt x="461" y="413"/>
                    </a:lnTo>
                    <a:lnTo>
                      <a:pt x="459" y="417"/>
                    </a:lnTo>
                    <a:lnTo>
                      <a:pt x="461" y="421"/>
                    </a:lnTo>
                    <a:lnTo>
                      <a:pt x="467" y="438"/>
                    </a:lnTo>
                    <a:lnTo>
                      <a:pt x="426" y="450"/>
                    </a:lnTo>
                    <a:lnTo>
                      <a:pt x="411" y="461"/>
                    </a:lnTo>
                    <a:lnTo>
                      <a:pt x="411" y="457"/>
                    </a:lnTo>
                    <a:lnTo>
                      <a:pt x="413" y="456"/>
                    </a:lnTo>
                    <a:lnTo>
                      <a:pt x="415" y="452"/>
                    </a:lnTo>
                    <a:lnTo>
                      <a:pt x="407" y="457"/>
                    </a:lnTo>
                    <a:lnTo>
                      <a:pt x="401" y="459"/>
                    </a:lnTo>
                    <a:lnTo>
                      <a:pt x="396" y="463"/>
                    </a:lnTo>
                    <a:lnTo>
                      <a:pt x="398" y="465"/>
                    </a:lnTo>
                    <a:lnTo>
                      <a:pt x="399" y="469"/>
                    </a:lnTo>
                    <a:lnTo>
                      <a:pt x="399" y="471"/>
                    </a:lnTo>
                    <a:lnTo>
                      <a:pt x="405" y="471"/>
                    </a:lnTo>
                    <a:lnTo>
                      <a:pt x="405" y="482"/>
                    </a:lnTo>
                    <a:lnTo>
                      <a:pt x="407" y="484"/>
                    </a:lnTo>
                    <a:lnTo>
                      <a:pt x="407" y="492"/>
                    </a:lnTo>
                    <a:lnTo>
                      <a:pt x="409" y="498"/>
                    </a:lnTo>
                    <a:lnTo>
                      <a:pt x="413" y="504"/>
                    </a:lnTo>
                    <a:lnTo>
                      <a:pt x="413" y="507"/>
                    </a:lnTo>
                    <a:lnTo>
                      <a:pt x="411" y="513"/>
                    </a:lnTo>
                    <a:lnTo>
                      <a:pt x="411" y="525"/>
                    </a:lnTo>
                    <a:lnTo>
                      <a:pt x="421" y="534"/>
                    </a:lnTo>
                    <a:lnTo>
                      <a:pt x="426" y="538"/>
                    </a:lnTo>
                    <a:lnTo>
                      <a:pt x="432" y="540"/>
                    </a:lnTo>
                    <a:lnTo>
                      <a:pt x="438" y="546"/>
                    </a:lnTo>
                    <a:lnTo>
                      <a:pt x="442" y="552"/>
                    </a:lnTo>
                    <a:lnTo>
                      <a:pt x="444" y="552"/>
                    </a:lnTo>
                    <a:lnTo>
                      <a:pt x="446" y="550"/>
                    </a:lnTo>
                    <a:lnTo>
                      <a:pt x="451" y="550"/>
                    </a:lnTo>
                    <a:lnTo>
                      <a:pt x="457" y="548"/>
                    </a:lnTo>
                    <a:lnTo>
                      <a:pt x="459" y="548"/>
                    </a:lnTo>
                    <a:lnTo>
                      <a:pt x="459" y="577"/>
                    </a:lnTo>
                    <a:lnTo>
                      <a:pt x="449" y="575"/>
                    </a:lnTo>
                    <a:lnTo>
                      <a:pt x="447" y="575"/>
                    </a:lnTo>
                    <a:lnTo>
                      <a:pt x="446" y="577"/>
                    </a:lnTo>
                    <a:lnTo>
                      <a:pt x="442" y="579"/>
                    </a:lnTo>
                    <a:lnTo>
                      <a:pt x="436" y="580"/>
                    </a:lnTo>
                    <a:lnTo>
                      <a:pt x="430" y="580"/>
                    </a:lnTo>
                    <a:lnTo>
                      <a:pt x="426" y="577"/>
                    </a:lnTo>
                    <a:lnTo>
                      <a:pt x="428" y="571"/>
                    </a:lnTo>
                    <a:lnTo>
                      <a:pt x="428" y="567"/>
                    </a:lnTo>
                    <a:lnTo>
                      <a:pt x="426" y="559"/>
                    </a:lnTo>
                    <a:lnTo>
                      <a:pt x="421" y="557"/>
                    </a:lnTo>
                    <a:lnTo>
                      <a:pt x="413" y="555"/>
                    </a:lnTo>
                    <a:lnTo>
                      <a:pt x="407" y="552"/>
                    </a:lnTo>
                    <a:lnTo>
                      <a:pt x="403" y="546"/>
                    </a:lnTo>
                    <a:lnTo>
                      <a:pt x="399" y="544"/>
                    </a:lnTo>
                    <a:lnTo>
                      <a:pt x="398" y="540"/>
                    </a:lnTo>
                    <a:lnTo>
                      <a:pt x="398" y="532"/>
                    </a:lnTo>
                    <a:lnTo>
                      <a:pt x="394" y="530"/>
                    </a:lnTo>
                    <a:lnTo>
                      <a:pt x="386" y="530"/>
                    </a:lnTo>
                    <a:lnTo>
                      <a:pt x="384" y="532"/>
                    </a:lnTo>
                    <a:lnTo>
                      <a:pt x="380" y="538"/>
                    </a:lnTo>
                    <a:lnTo>
                      <a:pt x="378" y="540"/>
                    </a:lnTo>
                    <a:lnTo>
                      <a:pt x="353" y="540"/>
                    </a:lnTo>
                    <a:lnTo>
                      <a:pt x="346" y="536"/>
                    </a:lnTo>
                    <a:lnTo>
                      <a:pt x="344" y="534"/>
                    </a:lnTo>
                    <a:lnTo>
                      <a:pt x="346" y="532"/>
                    </a:lnTo>
                    <a:lnTo>
                      <a:pt x="346" y="521"/>
                    </a:lnTo>
                    <a:lnTo>
                      <a:pt x="342" y="519"/>
                    </a:lnTo>
                    <a:lnTo>
                      <a:pt x="338" y="521"/>
                    </a:lnTo>
                    <a:lnTo>
                      <a:pt x="334" y="527"/>
                    </a:lnTo>
                    <a:lnTo>
                      <a:pt x="330" y="527"/>
                    </a:lnTo>
                    <a:lnTo>
                      <a:pt x="327" y="523"/>
                    </a:lnTo>
                    <a:lnTo>
                      <a:pt x="327" y="515"/>
                    </a:lnTo>
                    <a:lnTo>
                      <a:pt x="325" y="509"/>
                    </a:lnTo>
                    <a:lnTo>
                      <a:pt x="325" y="507"/>
                    </a:lnTo>
                    <a:lnTo>
                      <a:pt x="309" y="511"/>
                    </a:lnTo>
                    <a:lnTo>
                      <a:pt x="294" y="511"/>
                    </a:lnTo>
                    <a:lnTo>
                      <a:pt x="288" y="509"/>
                    </a:lnTo>
                    <a:lnTo>
                      <a:pt x="286" y="509"/>
                    </a:lnTo>
                    <a:lnTo>
                      <a:pt x="282" y="511"/>
                    </a:lnTo>
                    <a:lnTo>
                      <a:pt x="279" y="515"/>
                    </a:lnTo>
                    <a:lnTo>
                      <a:pt x="275" y="515"/>
                    </a:lnTo>
                    <a:lnTo>
                      <a:pt x="271" y="511"/>
                    </a:lnTo>
                    <a:lnTo>
                      <a:pt x="267" y="505"/>
                    </a:lnTo>
                    <a:lnTo>
                      <a:pt x="267" y="494"/>
                    </a:lnTo>
                    <a:lnTo>
                      <a:pt x="265" y="488"/>
                    </a:lnTo>
                    <a:lnTo>
                      <a:pt x="265" y="484"/>
                    </a:lnTo>
                    <a:lnTo>
                      <a:pt x="267" y="481"/>
                    </a:lnTo>
                    <a:lnTo>
                      <a:pt x="269" y="475"/>
                    </a:lnTo>
                    <a:lnTo>
                      <a:pt x="269" y="471"/>
                    </a:lnTo>
                    <a:lnTo>
                      <a:pt x="263" y="465"/>
                    </a:lnTo>
                    <a:lnTo>
                      <a:pt x="261" y="461"/>
                    </a:lnTo>
                    <a:lnTo>
                      <a:pt x="261" y="457"/>
                    </a:lnTo>
                    <a:lnTo>
                      <a:pt x="259" y="450"/>
                    </a:lnTo>
                    <a:lnTo>
                      <a:pt x="257" y="444"/>
                    </a:lnTo>
                    <a:lnTo>
                      <a:pt x="256" y="440"/>
                    </a:lnTo>
                    <a:lnTo>
                      <a:pt x="256" y="421"/>
                    </a:lnTo>
                    <a:lnTo>
                      <a:pt x="250" y="415"/>
                    </a:lnTo>
                    <a:lnTo>
                      <a:pt x="252" y="407"/>
                    </a:lnTo>
                    <a:lnTo>
                      <a:pt x="252" y="402"/>
                    </a:lnTo>
                    <a:lnTo>
                      <a:pt x="244" y="396"/>
                    </a:lnTo>
                    <a:lnTo>
                      <a:pt x="234" y="394"/>
                    </a:lnTo>
                    <a:lnTo>
                      <a:pt x="229" y="396"/>
                    </a:lnTo>
                    <a:lnTo>
                      <a:pt x="229" y="388"/>
                    </a:lnTo>
                    <a:lnTo>
                      <a:pt x="227" y="384"/>
                    </a:lnTo>
                    <a:lnTo>
                      <a:pt x="221" y="386"/>
                    </a:lnTo>
                    <a:lnTo>
                      <a:pt x="213" y="386"/>
                    </a:lnTo>
                    <a:lnTo>
                      <a:pt x="206" y="384"/>
                    </a:lnTo>
                    <a:lnTo>
                      <a:pt x="200" y="384"/>
                    </a:lnTo>
                    <a:lnTo>
                      <a:pt x="198" y="388"/>
                    </a:lnTo>
                    <a:lnTo>
                      <a:pt x="194" y="394"/>
                    </a:lnTo>
                    <a:lnTo>
                      <a:pt x="196" y="402"/>
                    </a:lnTo>
                    <a:lnTo>
                      <a:pt x="198" y="406"/>
                    </a:lnTo>
                    <a:lnTo>
                      <a:pt x="198" y="409"/>
                    </a:lnTo>
                    <a:lnTo>
                      <a:pt x="194" y="411"/>
                    </a:lnTo>
                    <a:lnTo>
                      <a:pt x="188" y="409"/>
                    </a:lnTo>
                    <a:lnTo>
                      <a:pt x="184" y="409"/>
                    </a:lnTo>
                    <a:lnTo>
                      <a:pt x="181" y="413"/>
                    </a:lnTo>
                    <a:lnTo>
                      <a:pt x="175" y="417"/>
                    </a:lnTo>
                    <a:lnTo>
                      <a:pt x="163" y="417"/>
                    </a:lnTo>
                    <a:lnTo>
                      <a:pt x="152" y="406"/>
                    </a:lnTo>
                    <a:lnTo>
                      <a:pt x="152" y="400"/>
                    </a:lnTo>
                    <a:lnTo>
                      <a:pt x="150" y="390"/>
                    </a:lnTo>
                    <a:lnTo>
                      <a:pt x="150" y="384"/>
                    </a:lnTo>
                    <a:lnTo>
                      <a:pt x="146" y="373"/>
                    </a:lnTo>
                    <a:lnTo>
                      <a:pt x="148" y="369"/>
                    </a:lnTo>
                    <a:lnTo>
                      <a:pt x="146" y="365"/>
                    </a:lnTo>
                    <a:lnTo>
                      <a:pt x="144" y="358"/>
                    </a:lnTo>
                    <a:lnTo>
                      <a:pt x="142" y="352"/>
                    </a:lnTo>
                    <a:lnTo>
                      <a:pt x="140" y="348"/>
                    </a:lnTo>
                    <a:lnTo>
                      <a:pt x="73" y="348"/>
                    </a:lnTo>
                    <a:lnTo>
                      <a:pt x="60" y="346"/>
                    </a:lnTo>
                    <a:lnTo>
                      <a:pt x="48" y="346"/>
                    </a:lnTo>
                    <a:lnTo>
                      <a:pt x="39" y="350"/>
                    </a:lnTo>
                    <a:lnTo>
                      <a:pt x="33" y="356"/>
                    </a:lnTo>
                    <a:lnTo>
                      <a:pt x="10" y="367"/>
                    </a:lnTo>
                    <a:lnTo>
                      <a:pt x="6" y="348"/>
                    </a:lnTo>
                    <a:lnTo>
                      <a:pt x="0" y="342"/>
                    </a:lnTo>
                    <a:lnTo>
                      <a:pt x="0" y="338"/>
                    </a:lnTo>
                    <a:lnTo>
                      <a:pt x="2" y="336"/>
                    </a:lnTo>
                    <a:lnTo>
                      <a:pt x="23" y="325"/>
                    </a:lnTo>
                    <a:lnTo>
                      <a:pt x="21" y="325"/>
                    </a:lnTo>
                    <a:lnTo>
                      <a:pt x="21" y="323"/>
                    </a:lnTo>
                    <a:lnTo>
                      <a:pt x="23" y="317"/>
                    </a:lnTo>
                    <a:lnTo>
                      <a:pt x="27" y="311"/>
                    </a:lnTo>
                    <a:lnTo>
                      <a:pt x="31" y="304"/>
                    </a:lnTo>
                    <a:lnTo>
                      <a:pt x="33" y="306"/>
                    </a:lnTo>
                    <a:lnTo>
                      <a:pt x="35" y="306"/>
                    </a:lnTo>
                    <a:lnTo>
                      <a:pt x="42" y="302"/>
                    </a:lnTo>
                    <a:lnTo>
                      <a:pt x="48" y="302"/>
                    </a:lnTo>
                    <a:lnTo>
                      <a:pt x="54" y="304"/>
                    </a:lnTo>
                    <a:lnTo>
                      <a:pt x="58" y="300"/>
                    </a:lnTo>
                    <a:lnTo>
                      <a:pt x="56" y="294"/>
                    </a:lnTo>
                    <a:lnTo>
                      <a:pt x="56" y="292"/>
                    </a:lnTo>
                    <a:lnTo>
                      <a:pt x="60" y="292"/>
                    </a:lnTo>
                    <a:lnTo>
                      <a:pt x="65" y="294"/>
                    </a:lnTo>
                    <a:lnTo>
                      <a:pt x="71" y="294"/>
                    </a:lnTo>
                    <a:lnTo>
                      <a:pt x="75" y="292"/>
                    </a:lnTo>
                    <a:lnTo>
                      <a:pt x="77" y="290"/>
                    </a:lnTo>
                    <a:lnTo>
                      <a:pt x="77" y="308"/>
                    </a:lnTo>
                    <a:lnTo>
                      <a:pt x="92" y="308"/>
                    </a:lnTo>
                    <a:lnTo>
                      <a:pt x="98" y="306"/>
                    </a:lnTo>
                    <a:lnTo>
                      <a:pt x="102" y="306"/>
                    </a:lnTo>
                    <a:lnTo>
                      <a:pt x="106" y="302"/>
                    </a:lnTo>
                    <a:lnTo>
                      <a:pt x="110" y="300"/>
                    </a:lnTo>
                    <a:lnTo>
                      <a:pt x="113" y="300"/>
                    </a:lnTo>
                    <a:lnTo>
                      <a:pt x="115" y="298"/>
                    </a:lnTo>
                    <a:lnTo>
                      <a:pt x="117" y="294"/>
                    </a:lnTo>
                    <a:lnTo>
                      <a:pt x="119" y="286"/>
                    </a:lnTo>
                    <a:lnTo>
                      <a:pt x="119" y="275"/>
                    </a:lnTo>
                    <a:lnTo>
                      <a:pt x="123" y="273"/>
                    </a:lnTo>
                    <a:lnTo>
                      <a:pt x="125" y="269"/>
                    </a:lnTo>
                    <a:lnTo>
                      <a:pt x="127" y="263"/>
                    </a:lnTo>
                    <a:lnTo>
                      <a:pt x="129" y="261"/>
                    </a:lnTo>
                    <a:lnTo>
                      <a:pt x="129" y="248"/>
                    </a:lnTo>
                    <a:lnTo>
                      <a:pt x="125" y="242"/>
                    </a:lnTo>
                    <a:lnTo>
                      <a:pt x="123" y="235"/>
                    </a:lnTo>
                    <a:lnTo>
                      <a:pt x="123" y="227"/>
                    </a:lnTo>
                    <a:lnTo>
                      <a:pt x="131" y="215"/>
                    </a:lnTo>
                    <a:lnTo>
                      <a:pt x="138" y="208"/>
                    </a:lnTo>
                    <a:lnTo>
                      <a:pt x="140" y="200"/>
                    </a:lnTo>
                    <a:lnTo>
                      <a:pt x="142" y="190"/>
                    </a:lnTo>
                    <a:lnTo>
                      <a:pt x="144" y="183"/>
                    </a:lnTo>
                    <a:lnTo>
                      <a:pt x="148" y="175"/>
                    </a:lnTo>
                    <a:lnTo>
                      <a:pt x="154" y="165"/>
                    </a:lnTo>
                    <a:lnTo>
                      <a:pt x="156" y="158"/>
                    </a:lnTo>
                    <a:lnTo>
                      <a:pt x="156" y="146"/>
                    </a:lnTo>
                    <a:lnTo>
                      <a:pt x="154" y="138"/>
                    </a:lnTo>
                    <a:lnTo>
                      <a:pt x="154" y="133"/>
                    </a:lnTo>
                    <a:lnTo>
                      <a:pt x="152" y="127"/>
                    </a:lnTo>
                    <a:lnTo>
                      <a:pt x="154" y="121"/>
                    </a:lnTo>
                    <a:lnTo>
                      <a:pt x="156" y="113"/>
                    </a:lnTo>
                    <a:lnTo>
                      <a:pt x="156" y="102"/>
                    </a:lnTo>
                    <a:lnTo>
                      <a:pt x="158" y="94"/>
                    </a:lnTo>
                    <a:lnTo>
                      <a:pt x="160" y="88"/>
                    </a:lnTo>
                    <a:lnTo>
                      <a:pt x="163" y="87"/>
                    </a:lnTo>
                    <a:lnTo>
                      <a:pt x="167" y="77"/>
                    </a:lnTo>
                    <a:lnTo>
                      <a:pt x="169" y="63"/>
                    </a:lnTo>
                    <a:lnTo>
                      <a:pt x="169" y="56"/>
                    </a:lnTo>
                    <a:close/>
                    <a:moveTo>
                      <a:pt x="434" y="244"/>
                    </a:moveTo>
                    <a:lnTo>
                      <a:pt x="432" y="248"/>
                    </a:lnTo>
                    <a:lnTo>
                      <a:pt x="432" y="250"/>
                    </a:lnTo>
                    <a:lnTo>
                      <a:pt x="430" y="254"/>
                    </a:lnTo>
                    <a:lnTo>
                      <a:pt x="430" y="250"/>
                    </a:lnTo>
                    <a:lnTo>
                      <a:pt x="432" y="246"/>
                    </a:lnTo>
                    <a:lnTo>
                      <a:pt x="434" y="24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0" name="Freeform 8"/>
              <p:cNvSpPr>
                <a:spLocks/>
              </p:cNvSpPr>
              <p:nvPr/>
            </p:nvSpPr>
            <p:spPr bwMode="gray">
              <a:xfrm>
                <a:off x="3259" y="2037"/>
                <a:ext cx="66" cy="75"/>
              </a:xfrm>
              <a:custGeom>
                <a:avLst/>
                <a:gdLst>
                  <a:gd name="T0" fmla="*/ 8 w 133"/>
                  <a:gd name="T1" fmla="*/ 131 h 150"/>
                  <a:gd name="T2" fmla="*/ 23 w 133"/>
                  <a:gd name="T3" fmla="*/ 133 h 150"/>
                  <a:gd name="T4" fmla="*/ 43 w 133"/>
                  <a:gd name="T5" fmla="*/ 135 h 150"/>
                  <a:gd name="T6" fmla="*/ 60 w 133"/>
                  <a:gd name="T7" fmla="*/ 139 h 150"/>
                  <a:gd name="T8" fmla="*/ 75 w 133"/>
                  <a:gd name="T9" fmla="*/ 139 h 150"/>
                  <a:gd name="T10" fmla="*/ 94 w 133"/>
                  <a:gd name="T11" fmla="*/ 131 h 150"/>
                  <a:gd name="T12" fmla="*/ 119 w 133"/>
                  <a:gd name="T13" fmla="*/ 116 h 150"/>
                  <a:gd name="T14" fmla="*/ 127 w 133"/>
                  <a:gd name="T15" fmla="*/ 98 h 150"/>
                  <a:gd name="T16" fmla="*/ 121 w 133"/>
                  <a:gd name="T17" fmla="*/ 89 h 150"/>
                  <a:gd name="T18" fmla="*/ 114 w 133"/>
                  <a:gd name="T19" fmla="*/ 77 h 150"/>
                  <a:gd name="T20" fmla="*/ 117 w 133"/>
                  <a:gd name="T21" fmla="*/ 72 h 150"/>
                  <a:gd name="T22" fmla="*/ 127 w 133"/>
                  <a:gd name="T23" fmla="*/ 62 h 150"/>
                  <a:gd name="T24" fmla="*/ 133 w 133"/>
                  <a:gd name="T25" fmla="*/ 54 h 150"/>
                  <a:gd name="T26" fmla="*/ 125 w 133"/>
                  <a:gd name="T27" fmla="*/ 52 h 150"/>
                  <a:gd name="T28" fmla="*/ 117 w 133"/>
                  <a:gd name="T29" fmla="*/ 45 h 150"/>
                  <a:gd name="T30" fmla="*/ 127 w 133"/>
                  <a:gd name="T31" fmla="*/ 41 h 150"/>
                  <a:gd name="T32" fmla="*/ 117 w 133"/>
                  <a:gd name="T33" fmla="*/ 31 h 150"/>
                  <a:gd name="T34" fmla="*/ 108 w 133"/>
                  <a:gd name="T35" fmla="*/ 31 h 150"/>
                  <a:gd name="T36" fmla="*/ 102 w 133"/>
                  <a:gd name="T37" fmla="*/ 39 h 150"/>
                  <a:gd name="T38" fmla="*/ 89 w 133"/>
                  <a:gd name="T39" fmla="*/ 29 h 150"/>
                  <a:gd name="T40" fmla="*/ 85 w 133"/>
                  <a:gd name="T41" fmla="*/ 20 h 150"/>
                  <a:gd name="T42" fmla="*/ 75 w 133"/>
                  <a:gd name="T43" fmla="*/ 4 h 150"/>
                  <a:gd name="T44" fmla="*/ 60 w 133"/>
                  <a:gd name="T45" fmla="*/ 0 h 150"/>
                  <a:gd name="T46" fmla="*/ 46 w 133"/>
                  <a:gd name="T47" fmla="*/ 4 h 150"/>
                  <a:gd name="T48" fmla="*/ 31 w 133"/>
                  <a:gd name="T49" fmla="*/ 16 h 150"/>
                  <a:gd name="T50" fmla="*/ 25 w 133"/>
                  <a:gd name="T51" fmla="*/ 24 h 150"/>
                  <a:gd name="T52" fmla="*/ 31 w 133"/>
                  <a:gd name="T53" fmla="*/ 35 h 150"/>
                  <a:gd name="T54" fmla="*/ 27 w 133"/>
                  <a:gd name="T55" fmla="*/ 43 h 150"/>
                  <a:gd name="T56" fmla="*/ 25 w 133"/>
                  <a:gd name="T57" fmla="*/ 49 h 150"/>
                  <a:gd name="T58" fmla="*/ 27 w 133"/>
                  <a:gd name="T59" fmla="*/ 56 h 150"/>
                  <a:gd name="T60" fmla="*/ 33 w 133"/>
                  <a:gd name="T61" fmla="*/ 64 h 150"/>
                  <a:gd name="T62" fmla="*/ 25 w 133"/>
                  <a:gd name="T63" fmla="*/ 68 h 150"/>
                  <a:gd name="T64" fmla="*/ 25 w 133"/>
                  <a:gd name="T65" fmla="*/ 73 h 150"/>
                  <a:gd name="T66" fmla="*/ 35 w 133"/>
                  <a:gd name="T67" fmla="*/ 81 h 150"/>
                  <a:gd name="T68" fmla="*/ 27 w 133"/>
                  <a:gd name="T69" fmla="*/ 85 h 150"/>
                  <a:gd name="T70" fmla="*/ 21 w 133"/>
                  <a:gd name="T71" fmla="*/ 91 h 150"/>
                  <a:gd name="T72" fmla="*/ 18 w 133"/>
                  <a:gd name="T73" fmla="*/ 97 h 150"/>
                  <a:gd name="T74" fmla="*/ 10 w 133"/>
                  <a:gd name="T75" fmla="*/ 98 h 150"/>
                  <a:gd name="T76" fmla="*/ 4 w 133"/>
                  <a:gd name="T77" fmla="*/ 108 h 150"/>
                  <a:gd name="T78" fmla="*/ 4 w 133"/>
                  <a:gd name="T79" fmla="*/ 125 h 150"/>
                  <a:gd name="T80" fmla="*/ 2 w 133"/>
                  <a:gd name="T81" fmla="*/ 127 h 15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33"/>
                  <a:gd name="T124" fmla="*/ 0 h 150"/>
                  <a:gd name="T125" fmla="*/ 133 w 133"/>
                  <a:gd name="T126" fmla="*/ 150 h 15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33" h="150">
                    <a:moveTo>
                      <a:pt x="0" y="129"/>
                    </a:moveTo>
                    <a:lnTo>
                      <a:pt x="8" y="131"/>
                    </a:lnTo>
                    <a:lnTo>
                      <a:pt x="21" y="139"/>
                    </a:lnTo>
                    <a:lnTo>
                      <a:pt x="23" y="133"/>
                    </a:lnTo>
                    <a:lnTo>
                      <a:pt x="39" y="123"/>
                    </a:lnTo>
                    <a:lnTo>
                      <a:pt x="43" y="135"/>
                    </a:lnTo>
                    <a:lnTo>
                      <a:pt x="48" y="127"/>
                    </a:lnTo>
                    <a:lnTo>
                      <a:pt x="60" y="139"/>
                    </a:lnTo>
                    <a:lnTo>
                      <a:pt x="62" y="150"/>
                    </a:lnTo>
                    <a:lnTo>
                      <a:pt x="75" y="139"/>
                    </a:lnTo>
                    <a:lnTo>
                      <a:pt x="87" y="141"/>
                    </a:lnTo>
                    <a:lnTo>
                      <a:pt x="94" y="131"/>
                    </a:lnTo>
                    <a:lnTo>
                      <a:pt x="121" y="122"/>
                    </a:lnTo>
                    <a:lnTo>
                      <a:pt x="119" y="116"/>
                    </a:lnTo>
                    <a:lnTo>
                      <a:pt x="119" y="114"/>
                    </a:lnTo>
                    <a:lnTo>
                      <a:pt x="127" y="98"/>
                    </a:lnTo>
                    <a:lnTo>
                      <a:pt x="127" y="93"/>
                    </a:lnTo>
                    <a:lnTo>
                      <a:pt x="121" y="89"/>
                    </a:lnTo>
                    <a:lnTo>
                      <a:pt x="115" y="83"/>
                    </a:lnTo>
                    <a:lnTo>
                      <a:pt x="114" y="77"/>
                    </a:lnTo>
                    <a:lnTo>
                      <a:pt x="117" y="75"/>
                    </a:lnTo>
                    <a:lnTo>
                      <a:pt x="117" y="72"/>
                    </a:lnTo>
                    <a:lnTo>
                      <a:pt x="123" y="68"/>
                    </a:lnTo>
                    <a:lnTo>
                      <a:pt x="127" y="62"/>
                    </a:lnTo>
                    <a:lnTo>
                      <a:pt x="131" y="58"/>
                    </a:lnTo>
                    <a:lnTo>
                      <a:pt x="133" y="54"/>
                    </a:lnTo>
                    <a:lnTo>
                      <a:pt x="131" y="54"/>
                    </a:lnTo>
                    <a:lnTo>
                      <a:pt x="125" y="52"/>
                    </a:lnTo>
                    <a:lnTo>
                      <a:pt x="119" y="49"/>
                    </a:lnTo>
                    <a:lnTo>
                      <a:pt x="117" y="45"/>
                    </a:lnTo>
                    <a:lnTo>
                      <a:pt x="117" y="41"/>
                    </a:lnTo>
                    <a:lnTo>
                      <a:pt x="127" y="41"/>
                    </a:lnTo>
                    <a:lnTo>
                      <a:pt x="129" y="39"/>
                    </a:lnTo>
                    <a:lnTo>
                      <a:pt x="117" y="31"/>
                    </a:lnTo>
                    <a:lnTo>
                      <a:pt x="112" y="29"/>
                    </a:lnTo>
                    <a:lnTo>
                      <a:pt x="108" y="31"/>
                    </a:lnTo>
                    <a:lnTo>
                      <a:pt x="104" y="35"/>
                    </a:lnTo>
                    <a:lnTo>
                      <a:pt x="102" y="39"/>
                    </a:lnTo>
                    <a:lnTo>
                      <a:pt x="92" y="29"/>
                    </a:lnTo>
                    <a:lnTo>
                      <a:pt x="89" y="29"/>
                    </a:lnTo>
                    <a:lnTo>
                      <a:pt x="85" y="27"/>
                    </a:lnTo>
                    <a:lnTo>
                      <a:pt x="85" y="20"/>
                    </a:lnTo>
                    <a:lnTo>
                      <a:pt x="83" y="12"/>
                    </a:lnTo>
                    <a:lnTo>
                      <a:pt x="75" y="4"/>
                    </a:lnTo>
                    <a:lnTo>
                      <a:pt x="73" y="0"/>
                    </a:lnTo>
                    <a:lnTo>
                      <a:pt x="60" y="0"/>
                    </a:lnTo>
                    <a:lnTo>
                      <a:pt x="52" y="2"/>
                    </a:lnTo>
                    <a:lnTo>
                      <a:pt x="46" y="4"/>
                    </a:lnTo>
                    <a:lnTo>
                      <a:pt x="39" y="12"/>
                    </a:lnTo>
                    <a:lnTo>
                      <a:pt x="31" y="16"/>
                    </a:lnTo>
                    <a:lnTo>
                      <a:pt x="29" y="18"/>
                    </a:lnTo>
                    <a:lnTo>
                      <a:pt x="25" y="24"/>
                    </a:lnTo>
                    <a:lnTo>
                      <a:pt x="27" y="29"/>
                    </a:lnTo>
                    <a:lnTo>
                      <a:pt x="31" y="35"/>
                    </a:lnTo>
                    <a:lnTo>
                      <a:pt x="31" y="39"/>
                    </a:lnTo>
                    <a:lnTo>
                      <a:pt x="27" y="43"/>
                    </a:lnTo>
                    <a:lnTo>
                      <a:pt x="27" y="45"/>
                    </a:lnTo>
                    <a:lnTo>
                      <a:pt x="25" y="49"/>
                    </a:lnTo>
                    <a:lnTo>
                      <a:pt x="25" y="52"/>
                    </a:lnTo>
                    <a:lnTo>
                      <a:pt x="27" y="56"/>
                    </a:lnTo>
                    <a:lnTo>
                      <a:pt x="33" y="60"/>
                    </a:lnTo>
                    <a:lnTo>
                      <a:pt x="33" y="64"/>
                    </a:lnTo>
                    <a:lnTo>
                      <a:pt x="29" y="68"/>
                    </a:lnTo>
                    <a:lnTo>
                      <a:pt x="25" y="68"/>
                    </a:lnTo>
                    <a:lnTo>
                      <a:pt x="21" y="70"/>
                    </a:lnTo>
                    <a:lnTo>
                      <a:pt x="25" y="73"/>
                    </a:lnTo>
                    <a:lnTo>
                      <a:pt x="33" y="77"/>
                    </a:lnTo>
                    <a:lnTo>
                      <a:pt x="35" y="81"/>
                    </a:lnTo>
                    <a:lnTo>
                      <a:pt x="33" y="85"/>
                    </a:lnTo>
                    <a:lnTo>
                      <a:pt x="27" y="85"/>
                    </a:lnTo>
                    <a:lnTo>
                      <a:pt x="23" y="87"/>
                    </a:lnTo>
                    <a:lnTo>
                      <a:pt x="21" y="91"/>
                    </a:lnTo>
                    <a:lnTo>
                      <a:pt x="19" y="93"/>
                    </a:lnTo>
                    <a:lnTo>
                      <a:pt x="18" y="97"/>
                    </a:lnTo>
                    <a:lnTo>
                      <a:pt x="14" y="98"/>
                    </a:lnTo>
                    <a:lnTo>
                      <a:pt x="10" y="98"/>
                    </a:lnTo>
                    <a:lnTo>
                      <a:pt x="8" y="100"/>
                    </a:lnTo>
                    <a:lnTo>
                      <a:pt x="4" y="108"/>
                    </a:lnTo>
                    <a:lnTo>
                      <a:pt x="6" y="116"/>
                    </a:lnTo>
                    <a:lnTo>
                      <a:pt x="4" y="125"/>
                    </a:lnTo>
                    <a:lnTo>
                      <a:pt x="4" y="127"/>
                    </a:lnTo>
                    <a:lnTo>
                      <a:pt x="2" y="127"/>
                    </a:lnTo>
                    <a:lnTo>
                      <a:pt x="0" y="129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1" name="Freeform 9"/>
              <p:cNvSpPr>
                <a:spLocks/>
              </p:cNvSpPr>
              <p:nvPr/>
            </p:nvSpPr>
            <p:spPr bwMode="gray">
              <a:xfrm>
                <a:off x="3562" y="2485"/>
                <a:ext cx="135" cy="92"/>
              </a:xfrm>
              <a:custGeom>
                <a:avLst/>
                <a:gdLst>
                  <a:gd name="T0" fmla="*/ 4 w 269"/>
                  <a:gd name="T1" fmla="*/ 65 h 182"/>
                  <a:gd name="T2" fmla="*/ 7 w 269"/>
                  <a:gd name="T3" fmla="*/ 59 h 182"/>
                  <a:gd name="T4" fmla="*/ 11 w 269"/>
                  <a:gd name="T5" fmla="*/ 56 h 182"/>
                  <a:gd name="T6" fmla="*/ 13 w 269"/>
                  <a:gd name="T7" fmla="*/ 48 h 182"/>
                  <a:gd name="T8" fmla="*/ 15 w 269"/>
                  <a:gd name="T9" fmla="*/ 44 h 182"/>
                  <a:gd name="T10" fmla="*/ 23 w 269"/>
                  <a:gd name="T11" fmla="*/ 38 h 182"/>
                  <a:gd name="T12" fmla="*/ 29 w 269"/>
                  <a:gd name="T13" fmla="*/ 44 h 182"/>
                  <a:gd name="T14" fmla="*/ 36 w 269"/>
                  <a:gd name="T15" fmla="*/ 48 h 182"/>
                  <a:gd name="T16" fmla="*/ 48 w 269"/>
                  <a:gd name="T17" fmla="*/ 46 h 182"/>
                  <a:gd name="T18" fmla="*/ 80 w 269"/>
                  <a:gd name="T19" fmla="*/ 56 h 182"/>
                  <a:gd name="T20" fmla="*/ 96 w 269"/>
                  <a:gd name="T21" fmla="*/ 90 h 182"/>
                  <a:gd name="T22" fmla="*/ 109 w 269"/>
                  <a:gd name="T23" fmla="*/ 73 h 182"/>
                  <a:gd name="T24" fmla="*/ 230 w 269"/>
                  <a:gd name="T25" fmla="*/ 0 h 182"/>
                  <a:gd name="T26" fmla="*/ 253 w 269"/>
                  <a:gd name="T27" fmla="*/ 56 h 182"/>
                  <a:gd name="T28" fmla="*/ 267 w 269"/>
                  <a:gd name="T29" fmla="*/ 69 h 182"/>
                  <a:gd name="T30" fmla="*/ 245 w 269"/>
                  <a:gd name="T31" fmla="*/ 73 h 182"/>
                  <a:gd name="T32" fmla="*/ 234 w 269"/>
                  <a:gd name="T33" fmla="*/ 84 h 182"/>
                  <a:gd name="T34" fmla="*/ 238 w 269"/>
                  <a:gd name="T35" fmla="*/ 98 h 182"/>
                  <a:gd name="T36" fmla="*/ 226 w 269"/>
                  <a:gd name="T37" fmla="*/ 109 h 182"/>
                  <a:gd name="T38" fmla="*/ 222 w 269"/>
                  <a:gd name="T39" fmla="*/ 113 h 182"/>
                  <a:gd name="T40" fmla="*/ 178 w 269"/>
                  <a:gd name="T41" fmla="*/ 131 h 182"/>
                  <a:gd name="T42" fmla="*/ 153 w 269"/>
                  <a:gd name="T43" fmla="*/ 144 h 182"/>
                  <a:gd name="T44" fmla="*/ 146 w 269"/>
                  <a:gd name="T45" fmla="*/ 156 h 182"/>
                  <a:gd name="T46" fmla="*/ 125 w 269"/>
                  <a:gd name="T47" fmla="*/ 156 h 182"/>
                  <a:gd name="T48" fmla="*/ 115 w 269"/>
                  <a:gd name="T49" fmla="*/ 154 h 182"/>
                  <a:gd name="T50" fmla="*/ 107 w 269"/>
                  <a:gd name="T51" fmla="*/ 159 h 182"/>
                  <a:gd name="T52" fmla="*/ 71 w 269"/>
                  <a:gd name="T53" fmla="*/ 167 h 182"/>
                  <a:gd name="T54" fmla="*/ 46 w 269"/>
                  <a:gd name="T55" fmla="*/ 182 h 182"/>
                  <a:gd name="T56" fmla="*/ 17 w 269"/>
                  <a:gd name="T57" fmla="*/ 167 h 182"/>
                  <a:gd name="T58" fmla="*/ 11 w 269"/>
                  <a:gd name="T59" fmla="*/ 144 h 182"/>
                  <a:gd name="T60" fmla="*/ 4 w 269"/>
                  <a:gd name="T61" fmla="*/ 136 h 182"/>
                  <a:gd name="T62" fmla="*/ 6 w 269"/>
                  <a:gd name="T63" fmla="*/ 131 h 182"/>
                  <a:gd name="T64" fmla="*/ 4 w 269"/>
                  <a:gd name="T65" fmla="*/ 115 h 182"/>
                  <a:gd name="T66" fmla="*/ 0 w 269"/>
                  <a:gd name="T67" fmla="*/ 86 h 182"/>
                  <a:gd name="T68" fmla="*/ 2 w 269"/>
                  <a:gd name="T69" fmla="*/ 71 h 18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69"/>
                  <a:gd name="T106" fmla="*/ 0 h 182"/>
                  <a:gd name="T107" fmla="*/ 269 w 269"/>
                  <a:gd name="T108" fmla="*/ 182 h 18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69" h="182">
                    <a:moveTo>
                      <a:pt x="2" y="67"/>
                    </a:moveTo>
                    <a:lnTo>
                      <a:pt x="4" y="65"/>
                    </a:lnTo>
                    <a:lnTo>
                      <a:pt x="7" y="63"/>
                    </a:lnTo>
                    <a:lnTo>
                      <a:pt x="7" y="59"/>
                    </a:lnTo>
                    <a:lnTo>
                      <a:pt x="9" y="56"/>
                    </a:lnTo>
                    <a:lnTo>
                      <a:pt x="11" y="56"/>
                    </a:lnTo>
                    <a:lnTo>
                      <a:pt x="13" y="52"/>
                    </a:lnTo>
                    <a:lnTo>
                      <a:pt x="13" y="48"/>
                    </a:lnTo>
                    <a:lnTo>
                      <a:pt x="15" y="46"/>
                    </a:lnTo>
                    <a:lnTo>
                      <a:pt x="15" y="44"/>
                    </a:lnTo>
                    <a:lnTo>
                      <a:pt x="19" y="40"/>
                    </a:lnTo>
                    <a:lnTo>
                      <a:pt x="23" y="38"/>
                    </a:lnTo>
                    <a:lnTo>
                      <a:pt x="29" y="38"/>
                    </a:lnTo>
                    <a:lnTo>
                      <a:pt x="29" y="44"/>
                    </a:lnTo>
                    <a:lnTo>
                      <a:pt x="31" y="46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8" y="46"/>
                    </a:lnTo>
                    <a:lnTo>
                      <a:pt x="61" y="50"/>
                    </a:lnTo>
                    <a:lnTo>
                      <a:pt x="80" y="56"/>
                    </a:lnTo>
                    <a:lnTo>
                      <a:pt x="90" y="58"/>
                    </a:lnTo>
                    <a:lnTo>
                      <a:pt x="96" y="90"/>
                    </a:lnTo>
                    <a:lnTo>
                      <a:pt x="98" y="86"/>
                    </a:lnTo>
                    <a:lnTo>
                      <a:pt x="109" y="73"/>
                    </a:lnTo>
                    <a:lnTo>
                      <a:pt x="142" y="33"/>
                    </a:lnTo>
                    <a:lnTo>
                      <a:pt x="230" y="0"/>
                    </a:lnTo>
                    <a:lnTo>
                      <a:pt x="228" y="10"/>
                    </a:lnTo>
                    <a:lnTo>
                      <a:pt x="253" y="56"/>
                    </a:lnTo>
                    <a:lnTo>
                      <a:pt x="269" y="69"/>
                    </a:lnTo>
                    <a:lnTo>
                      <a:pt x="267" y="69"/>
                    </a:lnTo>
                    <a:lnTo>
                      <a:pt x="255" y="71"/>
                    </a:lnTo>
                    <a:lnTo>
                      <a:pt x="245" y="73"/>
                    </a:lnTo>
                    <a:lnTo>
                      <a:pt x="238" y="79"/>
                    </a:lnTo>
                    <a:lnTo>
                      <a:pt x="234" y="84"/>
                    </a:lnTo>
                    <a:lnTo>
                      <a:pt x="236" y="92"/>
                    </a:lnTo>
                    <a:lnTo>
                      <a:pt x="238" y="98"/>
                    </a:lnTo>
                    <a:lnTo>
                      <a:pt x="230" y="98"/>
                    </a:lnTo>
                    <a:lnTo>
                      <a:pt x="226" y="109"/>
                    </a:lnTo>
                    <a:lnTo>
                      <a:pt x="222" y="109"/>
                    </a:lnTo>
                    <a:lnTo>
                      <a:pt x="222" y="113"/>
                    </a:lnTo>
                    <a:lnTo>
                      <a:pt x="201" y="123"/>
                    </a:lnTo>
                    <a:lnTo>
                      <a:pt x="178" y="131"/>
                    </a:lnTo>
                    <a:lnTo>
                      <a:pt x="157" y="140"/>
                    </a:lnTo>
                    <a:lnTo>
                      <a:pt x="153" y="144"/>
                    </a:lnTo>
                    <a:lnTo>
                      <a:pt x="150" y="152"/>
                    </a:lnTo>
                    <a:lnTo>
                      <a:pt x="146" y="156"/>
                    </a:lnTo>
                    <a:lnTo>
                      <a:pt x="132" y="157"/>
                    </a:lnTo>
                    <a:lnTo>
                      <a:pt x="125" y="156"/>
                    </a:lnTo>
                    <a:lnTo>
                      <a:pt x="119" y="152"/>
                    </a:lnTo>
                    <a:lnTo>
                      <a:pt x="115" y="154"/>
                    </a:lnTo>
                    <a:lnTo>
                      <a:pt x="109" y="157"/>
                    </a:lnTo>
                    <a:lnTo>
                      <a:pt x="107" y="159"/>
                    </a:lnTo>
                    <a:lnTo>
                      <a:pt x="84" y="159"/>
                    </a:lnTo>
                    <a:lnTo>
                      <a:pt x="71" y="167"/>
                    </a:lnTo>
                    <a:lnTo>
                      <a:pt x="59" y="177"/>
                    </a:lnTo>
                    <a:lnTo>
                      <a:pt x="46" y="182"/>
                    </a:lnTo>
                    <a:lnTo>
                      <a:pt x="23" y="181"/>
                    </a:lnTo>
                    <a:lnTo>
                      <a:pt x="17" y="167"/>
                    </a:lnTo>
                    <a:lnTo>
                      <a:pt x="15" y="148"/>
                    </a:lnTo>
                    <a:lnTo>
                      <a:pt x="11" y="144"/>
                    </a:lnTo>
                    <a:lnTo>
                      <a:pt x="6" y="140"/>
                    </a:lnTo>
                    <a:lnTo>
                      <a:pt x="4" y="136"/>
                    </a:lnTo>
                    <a:lnTo>
                      <a:pt x="4" y="134"/>
                    </a:lnTo>
                    <a:lnTo>
                      <a:pt x="6" y="131"/>
                    </a:lnTo>
                    <a:lnTo>
                      <a:pt x="7" y="133"/>
                    </a:lnTo>
                    <a:lnTo>
                      <a:pt x="4" y="115"/>
                    </a:lnTo>
                    <a:lnTo>
                      <a:pt x="2" y="94"/>
                    </a:lnTo>
                    <a:lnTo>
                      <a:pt x="0" y="86"/>
                    </a:lnTo>
                    <a:lnTo>
                      <a:pt x="0" y="75"/>
                    </a:lnTo>
                    <a:lnTo>
                      <a:pt x="2" y="71"/>
                    </a:lnTo>
                    <a:lnTo>
                      <a:pt x="2" y="6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2" name="Freeform 10"/>
              <p:cNvSpPr>
                <a:spLocks/>
              </p:cNvSpPr>
              <p:nvPr/>
            </p:nvSpPr>
            <p:spPr bwMode="gray">
              <a:xfrm>
                <a:off x="2818" y="2346"/>
                <a:ext cx="112" cy="105"/>
              </a:xfrm>
              <a:custGeom>
                <a:avLst/>
                <a:gdLst>
                  <a:gd name="T0" fmla="*/ 119 w 225"/>
                  <a:gd name="T1" fmla="*/ 2 h 210"/>
                  <a:gd name="T2" fmla="*/ 116 w 225"/>
                  <a:gd name="T3" fmla="*/ 10 h 210"/>
                  <a:gd name="T4" fmla="*/ 116 w 225"/>
                  <a:gd name="T5" fmla="*/ 12 h 210"/>
                  <a:gd name="T6" fmla="*/ 108 w 225"/>
                  <a:gd name="T7" fmla="*/ 14 h 210"/>
                  <a:gd name="T8" fmla="*/ 102 w 225"/>
                  <a:gd name="T9" fmla="*/ 14 h 210"/>
                  <a:gd name="T10" fmla="*/ 96 w 225"/>
                  <a:gd name="T11" fmla="*/ 16 h 210"/>
                  <a:gd name="T12" fmla="*/ 93 w 225"/>
                  <a:gd name="T13" fmla="*/ 23 h 210"/>
                  <a:gd name="T14" fmla="*/ 89 w 225"/>
                  <a:gd name="T15" fmla="*/ 39 h 210"/>
                  <a:gd name="T16" fmla="*/ 83 w 225"/>
                  <a:gd name="T17" fmla="*/ 44 h 210"/>
                  <a:gd name="T18" fmla="*/ 75 w 225"/>
                  <a:gd name="T19" fmla="*/ 50 h 210"/>
                  <a:gd name="T20" fmla="*/ 69 w 225"/>
                  <a:gd name="T21" fmla="*/ 54 h 210"/>
                  <a:gd name="T22" fmla="*/ 62 w 225"/>
                  <a:gd name="T23" fmla="*/ 73 h 210"/>
                  <a:gd name="T24" fmla="*/ 58 w 225"/>
                  <a:gd name="T25" fmla="*/ 93 h 210"/>
                  <a:gd name="T26" fmla="*/ 50 w 225"/>
                  <a:gd name="T27" fmla="*/ 112 h 210"/>
                  <a:gd name="T28" fmla="*/ 45 w 225"/>
                  <a:gd name="T29" fmla="*/ 119 h 210"/>
                  <a:gd name="T30" fmla="*/ 37 w 225"/>
                  <a:gd name="T31" fmla="*/ 125 h 210"/>
                  <a:gd name="T32" fmla="*/ 31 w 225"/>
                  <a:gd name="T33" fmla="*/ 131 h 210"/>
                  <a:gd name="T34" fmla="*/ 25 w 225"/>
                  <a:gd name="T35" fmla="*/ 146 h 210"/>
                  <a:gd name="T36" fmla="*/ 22 w 225"/>
                  <a:gd name="T37" fmla="*/ 162 h 210"/>
                  <a:gd name="T38" fmla="*/ 16 w 225"/>
                  <a:gd name="T39" fmla="*/ 177 h 210"/>
                  <a:gd name="T40" fmla="*/ 12 w 225"/>
                  <a:gd name="T41" fmla="*/ 181 h 210"/>
                  <a:gd name="T42" fmla="*/ 6 w 225"/>
                  <a:gd name="T43" fmla="*/ 183 h 210"/>
                  <a:gd name="T44" fmla="*/ 4 w 225"/>
                  <a:gd name="T45" fmla="*/ 185 h 210"/>
                  <a:gd name="T46" fmla="*/ 0 w 225"/>
                  <a:gd name="T47" fmla="*/ 194 h 210"/>
                  <a:gd name="T48" fmla="*/ 0 w 225"/>
                  <a:gd name="T49" fmla="*/ 210 h 210"/>
                  <a:gd name="T50" fmla="*/ 6 w 225"/>
                  <a:gd name="T51" fmla="*/ 204 h 210"/>
                  <a:gd name="T52" fmla="*/ 8 w 225"/>
                  <a:gd name="T53" fmla="*/ 204 h 210"/>
                  <a:gd name="T54" fmla="*/ 102 w 225"/>
                  <a:gd name="T55" fmla="*/ 200 h 210"/>
                  <a:gd name="T56" fmla="*/ 100 w 225"/>
                  <a:gd name="T57" fmla="*/ 192 h 210"/>
                  <a:gd name="T58" fmla="*/ 98 w 225"/>
                  <a:gd name="T59" fmla="*/ 152 h 210"/>
                  <a:gd name="T60" fmla="*/ 108 w 225"/>
                  <a:gd name="T61" fmla="*/ 139 h 210"/>
                  <a:gd name="T62" fmla="*/ 121 w 225"/>
                  <a:gd name="T63" fmla="*/ 135 h 210"/>
                  <a:gd name="T64" fmla="*/ 129 w 225"/>
                  <a:gd name="T65" fmla="*/ 135 h 210"/>
                  <a:gd name="T66" fmla="*/ 131 w 225"/>
                  <a:gd name="T67" fmla="*/ 68 h 210"/>
                  <a:gd name="T68" fmla="*/ 225 w 225"/>
                  <a:gd name="T69" fmla="*/ 66 h 210"/>
                  <a:gd name="T70" fmla="*/ 225 w 225"/>
                  <a:gd name="T71" fmla="*/ 0 h 210"/>
                  <a:gd name="T72" fmla="*/ 119 w 225"/>
                  <a:gd name="T73" fmla="*/ 2 h 2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25"/>
                  <a:gd name="T112" fmla="*/ 0 h 210"/>
                  <a:gd name="T113" fmla="*/ 225 w 225"/>
                  <a:gd name="T114" fmla="*/ 210 h 21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25" h="210">
                    <a:moveTo>
                      <a:pt x="119" y="2"/>
                    </a:moveTo>
                    <a:lnTo>
                      <a:pt x="116" y="10"/>
                    </a:lnTo>
                    <a:lnTo>
                      <a:pt x="116" y="12"/>
                    </a:lnTo>
                    <a:lnTo>
                      <a:pt x="108" y="14"/>
                    </a:lnTo>
                    <a:lnTo>
                      <a:pt x="102" y="14"/>
                    </a:lnTo>
                    <a:lnTo>
                      <a:pt x="96" y="16"/>
                    </a:lnTo>
                    <a:lnTo>
                      <a:pt x="93" y="23"/>
                    </a:lnTo>
                    <a:lnTo>
                      <a:pt x="89" y="39"/>
                    </a:lnTo>
                    <a:lnTo>
                      <a:pt x="83" y="44"/>
                    </a:lnTo>
                    <a:lnTo>
                      <a:pt x="75" y="50"/>
                    </a:lnTo>
                    <a:lnTo>
                      <a:pt x="69" y="54"/>
                    </a:lnTo>
                    <a:lnTo>
                      <a:pt x="62" y="73"/>
                    </a:lnTo>
                    <a:lnTo>
                      <a:pt x="58" y="93"/>
                    </a:lnTo>
                    <a:lnTo>
                      <a:pt x="50" y="112"/>
                    </a:lnTo>
                    <a:lnTo>
                      <a:pt x="45" y="119"/>
                    </a:lnTo>
                    <a:lnTo>
                      <a:pt x="37" y="125"/>
                    </a:lnTo>
                    <a:lnTo>
                      <a:pt x="31" y="131"/>
                    </a:lnTo>
                    <a:lnTo>
                      <a:pt x="25" y="146"/>
                    </a:lnTo>
                    <a:lnTo>
                      <a:pt x="22" y="162"/>
                    </a:lnTo>
                    <a:lnTo>
                      <a:pt x="16" y="177"/>
                    </a:lnTo>
                    <a:lnTo>
                      <a:pt x="12" y="181"/>
                    </a:lnTo>
                    <a:lnTo>
                      <a:pt x="6" y="183"/>
                    </a:lnTo>
                    <a:lnTo>
                      <a:pt x="4" y="185"/>
                    </a:lnTo>
                    <a:lnTo>
                      <a:pt x="0" y="194"/>
                    </a:lnTo>
                    <a:lnTo>
                      <a:pt x="0" y="210"/>
                    </a:lnTo>
                    <a:lnTo>
                      <a:pt x="6" y="204"/>
                    </a:lnTo>
                    <a:lnTo>
                      <a:pt x="8" y="204"/>
                    </a:lnTo>
                    <a:lnTo>
                      <a:pt x="102" y="200"/>
                    </a:lnTo>
                    <a:lnTo>
                      <a:pt x="100" y="192"/>
                    </a:lnTo>
                    <a:lnTo>
                      <a:pt x="98" y="152"/>
                    </a:lnTo>
                    <a:lnTo>
                      <a:pt x="108" y="139"/>
                    </a:lnTo>
                    <a:lnTo>
                      <a:pt x="121" y="135"/>
                    </a:lnTo>
                    <a:lnTo>
                      <a:pt x="129" y="135"/>
                    </a:lnTo>
                    <a:lnTo>
                      <a:pt x="131" y="68"/>
                    </a:lnTo>
                    <a:lnTo>
                      <a:pt x="225" y="66"/>
                    </a:lnTo>
                    <a:lnTo>
                      <a:pt x="225" y="0"/>
                    </a:lnTo>
                    <a:lnTo>
                      <a:pt x="119" y="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3" name="Freeform 11"/>
              <p:cNvSpPr>
                <a:spLocks/>
              </p:cNvSpPr>
              <p:nvPr/>
            </p:nvSpPr>
            <p:spPr bwMode="gray">
              <a:xfrm>
                <a:off x="2111" y="2599"/>
                <a:ext cx="169" cy="177"/>
              </a:xfrm>
              <a:custGeom>
                <a:avLst/>
                <a:gdLst>
                  <a:gd name="T0" fmla="*/ 288 w 338"/>
                  <a:gd name="T1" fmla="*/ 102 h 353"/>
                  <a:gd name="T2" fmla="*/ 311 w 338"/>
                  <a:gd name="T3" fmla="*/ 94 h 353"/>
                  <a:gd name="T4" fmla="*/ 318 w 338"/>
                  <a:gd name="T5" fmla="*/ 69 h 353"/>
                  <a:gd name="T6" fmla="*/ 301 w 338"/>
                  <a:gd name="T7" fmla="*/ 65 h 353"/>
                  <a:gd name="T8" fmla="*/ 286 w 338"/>
                  <a:gd name="T9" fmla="*/ 63 h 353"/>
                  <a:gd name="T10" fmla="*/ 274 w 338"/>
                  <a:gd name="T11" fmla="*/ 50 h 353"/>
                  <a:gd name="T12" fmla="*/ 288 w 338"/>
                  <a:gd name="T13" fmla="*/ 36 h 353"/>
                  <a:gd name="T14" fmla="*/ 238 w 338"/>
                  <a:gd name="T15" fmla="*/ 40 h 353"/>
                  <a:gd name="T16" fmla="*/ 215 w 338"/>
                  <a:gd name="T17" fmla="*/ 52 h 353"/>
                  <a:gd name="T18" fmla="*/ 169 w 338"/>
                  <a:gd name="T19" fmla="*/ 40 h 353"/>
                  <a:gd name="T20" fmla="*/ 123 w 338"/>
                  <a:gd name="T21" fmla="*/ 25 h 353"/>
                  <a:gd name="T22" fmla="*/ 84 w 338"/>
                  <a:gd name="T23" fmla="*/ 2 h 353"/>
                  <a:gd name="T24" fmla="*/ 88 w 338"/>
                  <a:gd name="T25" fmla="*/ 21 h 353"/>
                  <a:gd name="T26" fmla="*/ 54 w 338"/>
                  <a:gd name="T27" fmla="*/ 32 h 353"/>
                  <a:gd name="T28" fmla="*/ 61 w 338"/>
                  <a:gd name="T29" fmla="*/ 63 h 353"/>
                  <a:gd name="T30" fmla="*/ 40 w 338"/>
                  <a:gd name="T31" fmla="*/ 73 h 353"/>
                  <a:gd name="T32" fmla="*/ 50 w 338"/>
                  <a:gd name="T33" fmla="*/ 52 h 353"/>
                  <a:gd name="T34" fmla="*/ 46 w 338"/>
                  <a:gd name="T35" fmla="*/ 32 h 353"/>
                  <a:gd name="T36" fmla="*/ 34 w 338"/>
                  <a:gd name="T37" fmla="*/ 25 h 353"/>
                  <a:gd name="T38" fmla="*/ 55 w 338"/>
                  <a:gd name="T39" fmla="*/ 7 h 353"/>
                  <a:gd name="T40" fmla="*/ 40 w 338"/>
                  <a:gd name="T41" fmla="*/ 7 h 353"/>
                  <a:gd name="T42" fmla="*/ 6 w 338"/>
                  <a:gd name="T43" fmla="*/ 53 h 353"/>
                  <a:gd name="T44" fmla="*/ 0 w 338"/>
                  <a:gd name="T45" fmla="*/ 98 h 353"/>
                  <a:gd name="T46" fmla="*/ 25 w 338"/>
                  <a:gd name="T47" fmla="*/ 119 h 353"/>
                  <a:gd name="T48" fmla="*/ 21 w 338"/>
                  <a:gd name="T49" fmla="*/ 132 h 353"/>
                  <a:gd name="T50" fmla="*/ 34 w 338"/>
                  <a:gd name="T51" fmla="*/ 159 h 353"/>
                  <a:gd name="T52" fmla="*/ 84 w 338"/>
                  <a:gd name="T53" fmla="*/ 163 h 353"/>
                  <a:gd name="T54" fmla="*/ 100 w 338"/>
                  <a:gd name="T55" fmla="*/ 188 h 353"/>
                  <a:gd name="T56" fmla="*/ 136 w 338"/>
                  <a:gd name="T57" fmla="*/ 190 h 353"/>
                  <a:gd name="T58" fmla="*/ 128 w 338"/>
                  <a:gd name="T59" fmla="*/ 219 h 353"/>
                  <a:gd name="T60" fmla="*/ 151 w 338"/>
                  <a:gd name="T61" fmla="*/ 248 h 353"/>
                  <a:gd name="T62" fmla="*/ 180 w 338"/>
                  <a:gd name="T63" fmla="*/ 269 h 353"/>
                  <a:gd name="T64" fmla="*/ 171 w 338"/>
                  <a:gd name="T65" fmla="*/ 294 h 353"/>
                  <a:gd name="T66" fmla="*/ 167 w 338"/>
                  <a:gd name="T67" fmla="*/ 311 h 353"/>
                  <a:gd name="T68" fmla="*/ 174 w 338"/>
                  <a:gd name="T69" fmla="*/ 323 h 353"/>
                  <a:gd name="T70" fmla="*/ 190 w 338"/>
                  <a:gd name="T71" fmla="*/ 353 h 353"/>
                  <a:gd name="T72" fmla="*/ 215 w 338"/>
                  <a:gd name="T73" fmla="*/ 336 h 353"/>
                  <a:gd name="T74" fmla="*/ 242 w 338"/>
                  <a:gd name="T75" fmla="*/ 315 h 353"/>
                  <a:gd name="T76" fmla="*/ 251 w 338"/>
                  <a:gd name="T77" fmla="*/ 299 h 353"/>
                  <a:gd name="T78" fmla="*/ 228 w 338"/>
                  <a:gd name="T79" fmla="*/ 301 h 353"/>
                  <a:gd name="T80" fmla="*/ 219 w 338"/>
                  <a:gd name="T81" fmla="*/ 284 h 353"/>
                  <a:gd name="T82" fmla="*/ 215 w 338"/>
                  <a:gd name="T83" fmla="*/ 257 h 353"/>
                  <a:gd name="T84" fmla="*/ 207 w 338"/>
                  <a:gd name="T85" fmla="*/ 240 h 353"/>
                  <a:gd name="T86" fmla="*/ 230 w 338"/>
                  <a:gd name="T87" fmla="*/ 246 h 353"/>
                  <a:gd name="T88" fmla="*/ 253 w 338"/>
                  <a:gd name="T89" fmla="*/ 253 h 353"/>
                  <a:gd name="T90" fmla="*/ 259 w 338"/>
                  <a:gd name="T91" fmla="*/ 248 h 353"/>
                  <a:gd name="T92" fmla="*/ 268 w 338"/>
                  <a:gd name="T93" fmla="*/ 244 h 353"/>
                  <a:gd name="T94" fmla="*/ 297 w 338"/>
                  <a:gd name="T95" fmla="*/ 234 h 353"/>
                  <a:gd name="T96" fmla="*/ 316 w 338"/>
                  <a:gd name="T97" fmla="*/ 225 h 353"/>
                  <a:gd name="T98" fmla="*/ 305 w 338"/>
                  <a:gd name="T99" fmla="*/ 171 h 353"/>
                  <a:gd name="T100" fmla="*/ 315 w 338"/>
                  <a:gd name="T101" fmla="*/ 157 h 353"/>
                  <a:gd name="T102" fmla="*/ 320 w 338"/>
                  <a:gd name="T103" fmla="*/ 144 h 353"/>
                  <a:gd name="T104" fmla="*/ 313 w 338"/>
                  <a:gd name="T105" fmla="*/ 121 h 353"/>
                  <a:gd name="T106" fmla="*/ 336 w 338"/>
                  <a:gd name="T107" fmla="*/ 111 h 35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338"/>
                  <a:gd name="T163" fmla="*/ 0 h 353"/>
                  <a:gd name="T164" fmla="*/ 338 w 338"/>
                  <a:gd name="T165" fmla="*/ 353 h 35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338" h="353">
                    <a:moveTo>
                      <a:pt x="338" y="100"/>
                    </a:moveTo>
                    <a:lnTo>
                      <a:pt x="322" y="98"/>
                    </a:lnTo>
                    <a:lnTo>
                      <a:pt x="292" y="102"/>
                    </a:lnTo>
                    <a:lnTo>
                      <a:pt x="288" y="102"/>
                    </a:lnTo>
                    <a:lnTo>
                      <a:pt x="280" y="105"/>
                    </a:lnTo>
                    <a:lnTo>
                      <a:pt x="282" y="102"/>
                    </a:lnTo>
                    <a:lnTo>
                      <a:pt x="284" y="94"/>
                    </a:lnTo>
                    <a:lnTo>
                      <a:pt x="311" y="94"/>
                    </a:lnTo>
                    <a:lnTo>
                      <a:pt x="311" y="84"/>
                    </a:lnTo>
                    <a:lnTo>
                      <a:pt x="313" y="78"/>
                    </a:lnTo>
                    <a:lnTo>
                      <a:pt x="315" y="71"/>
                    </a:lnTo>
                    <a:lnTo>
                      <a:pt x="318" y="69"/>
                    </a:lnTo>
                    <a:lnTo>
                      <a:pt x="315" y="65"/>
                    </a:lnTo>
                    <a:lnTo>
                      <a:pt x="311" y="63"/>
                    </a:lnTo>
                    <a:lnTo>
                      <a:pt x="305" y="63"/>
                    </a:lnTo>
                    <a:lnTo>
                      <a:pt x="301" y="65"/>
                    </a:lnTo>
                    <a:lnTo>
                      <a:pt x="295" y="67"/>
                    </a:lnTo>
                    <a:lnTo>
                      <a:pt x="295" y="59"/>
                    </a:lnTo>
                    <a:lnTo>
                      <a:pt x="290" y="59"/>
                    </a:lnTo>
                    <a:lnTo>
                      <a:pt x="286" y="63"/>
                    </a:lnTo>
                    <a:lnTo>
                      <a:pt x="280" y="63"/>
                    </a:lnTo>
                    <a:lnTo>
                      <a:pt x="280" y="55"/>
                    </a:lnTo>
                    <a:lnTo>
                      <a:pt x="274" y="53"/>
                    </a:lnTo>
                    <a:lnTo>
                      <a:pt x="274" y="50"/>
                    </a:lnTo>
                    <a:lnTo>
                      <a:pt x="272" y="44"/>
                    </a:lnTo>
                    <a:lnTo>
                      <a:pt x="280" y="40"/>
                    </a:lnTo>
                    <a:lnTo>
                      <a:pt x="282" y="38"/>
                    </a:lnTo>
                    <a:lnTo>
                      <a:pt x="288" y="36"/>
                    </a:lnTo>
                    <a:lnTo>
                      <a:pt x="245" y="36"/>
                    </a:lnTo>
                    <a:lnTo>
                      <a:pt x="253" y="44"/>
                    </a:lnTo>
                    <a:lnTo>
                      <a:pt x="242" y="40"/>
                    </a:lnTo>
                    <a:lnTo>
                      <a:pt x="238" y="40"/>
                    </a:lnTo>
                    <a:lnTo>
                      <a:pt x="236" y="42"/>
                    </a:lnTo>
                    <a:lnTo>
                      <a:pt x="232" y="48"/>
                    </a:lnTo>
                    <a:lnTo>
                      <a:pt x="230" y="52"/>
                    </a:lnTo>
                    <a:lnTo>
                      <a:pt x="215" y="52"/>
                    </a:lnTo>
                    <a:lnTo>
                      <a:pt x="199" y="50"/>
                    </a:lnTo>
                    <a:lnTo>
                      <a:pt x="188" y="48"/>
                    </a:lnTo>
                    <a:lnTo>
                      <a:pt x="188" y="40"/>
                    </a:lnTo>
                    <a:lnTo>
                      <a:pt x="169" y="40"/>
                    </a:lnTo>
                    <a:lnTo>
                      <a:pt x="149" y="46"/>
                    </a:lnTo>
                    <a:lnTo>
                      <a:pt x="134" y="52"/>
                    </a:lnTo>
                    <a:lnTo>
                      <a:pt x="130" y="36"/>
                    </a:lnTo>
                    <a:lnTo>
                      <a:pt x="123" y="25"/>
                    </a:lnTo>
                    <a:lnTo>
                      <a:pt x="107" y="17"/>
                    </a:lnTo>
                    <a:lnTo>
                      <a:pt x="92" y="17"/>
                    </a:lnTo>
                    <a:lnTo>
                      <a:pt x="92" y="5"/>
                    </a:lnTo>
                    <a:lnTo>
                      <a:pt x="84" y="2"/>
                    </a:lnTo>
                    <a:lnTo>
                      <a:pt x="80" y="2"/>
                    </a:lnTo>
                    <a:lnTo>
                      <a:pt x="80" y="13"/>
                    </a:lnTo>
                    <a:lnTo>
                      <a:pt x="86" y="15"/>
                    </a:lnTo>
                    <a:lnTo>
                      <a:pt x="88" y="21"/>
                    </a:lnTo>
                    <a:lnTo>
                      <a:pt x="92" y="25"/>
                    </a:lnTo>
                    <a:lnTo>
                      <a:pt x="78" y="27"/>
                    </a:lnTo>
                    <a:lnTo>
                      <a:pt x="67" y="28"/>
                    </a:lnTo>
                    <a:lnTo>
                      <a:pt x="54" y="32"/>
                    </a:lnTo>
                    <a:lnTo>
                      <a:pt x="54" y="40"/>
                    </a:lnTo>
                    <a:lnTo>
                      <a:pt x="52" y="48"/>
                    </a:lnTo>
                    <a:lnTo>
                      <a:pt x="54" y="55"/>
                    </a:lnTo>
                    <a:lnTo>
                      <a:pt x="61" y="63"/>
                    </a:lnTo>
                    <a:lnTo>
                      <a:pt x="69" y="78"/>
                    </a:lnTo>
                    <a:lnTo>
                      <a:pt x="61" y="90"/>
                    </a:lnTo>
                    <a:lnTo>
                      <a:pt x="44" y="86"/>
                    </a:lnTo>
                    <a:lnTo>
                      <a:pt x="40" y="73"/>
                    </a:lnTo>
                    <a:lnTo>
                      <a:pt x="38" y="55"/>
                    </a:lnTo>
                    <a:lnTo>
                      <a:pt x="42" y="53"/>
                    </a:lnTo>
                    <a:lnTo>
                      <a:pt x="48" y="53"/>
                    </a:lnTo>
                    <a:lnTo>
                      <a:pt x="50" y="52"/>
                    </a:lnTo>
                    <a:lnTo>
                      <a:pt x="50" y="40"/>
                    </a:lnTo>
                    <a:lnTo>
                      <a:pt x="42" y="40"/>
                    </a:lnTo>
                    <a:lnTo>
                      <a:pt x="44" y="34"/>
                    </a:lnTo>
                    <a:lnTo>
                      <a:pt x="46" y="32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28"/>
                    </a:lnTo>
                    <a:lnTo>
                      <a:pt x="34" y="25"/>
                    </a:lnTo>
                    <a:lnTo>
                      <a:pt x="42" y="19"/>
                    </a:lnTo>
                    <a:lnTo>
                      <a:pt x="50" y="15"/>
                    </a:lnTo>
                    <a:lnTo>
                      <a:pt x="57" y="9"/>
                    </a:lnTo>
                    <a:lnTo>
                      <a:pt x="55" y="7"/>
                    </a:lnTo>
                    <a:lnTo>
                      <a:pt x="52" y="0"/>
                    </a:lnTo>
                    <a:lnTo>
                      <a:pt x="48" y="4"/>
                    </a:lnTo>
                    <a:lnTo>
                      <a:pt x="42" y="7"/>
                    </a:lnTo>
                    <a:lnTo>
                      <a:pt x="40" y="7"/>
                    </a:lnTo>
                    <a:lnTo>
                      <a:pt x="25" y="21"/>
                    </a:lnTo>
                    <a:lnTo>
                      <a:pt x="15" y="46"/>
                    </a:lnTo>
                    <a:lnTo>
                      <a:pt x="4" y="50"/>
                    </a:lnTo>
                    <a:lnTo>
                      <a:pt x="6" y="53"/>
                    </a:lnTo>
                    <a:lnTo>
                      <a:pt x="6" y="59"/>
                    </a:lnTo>
                    <a:lnTo>
                      <a:pt x="4" y="67"/>
                    </a:lnTo>
                    <a:lnTo>
                      <a:pt x="4" y="78"/>
                    </a:lnTo>
                    <a:lnTo>
                      <a:pt x="0" y="98"/>
                    </a:lnTo>
                    <a:lnTo>
                      <a:pt x="2" y="100"/>
                    </a:lnTo>
                    <a:lnTo>
                      <a:pt x="4" y="98"/>
                    </a:lnTo>
                    <a:lnTo>
                      <a:pt x="13" y="96"/>
                    </a:lnTo>
                    <a:lnTo>
                      <a:pt x="25" y="119"/>
                    </a:lnTo>
                    <a:lnTo>
                      <a:pt x="23" y="119"/>
                    </a:lnTo>
                    <a:lnTo>
                      <a:pt x="21" y="121"/>
                    </a:lnTo>
                    <a:lnTo>
                      <a:pt x="19" y="127"/>
                    </a:lnTo>
                    <a:lnTo>
                      <a:pt x="21" y="132"/>
                    </a:lnTo>
                    <a:lnTo>
                      <a:pt x="29" y="144"/>
                    </a:lnTo>
                    <a:lnTo>
                      <a:pt x="32" y="151"/>
                    </a:lnTo>
                    <a:lnTo>
                      <a:pt x="34" y="157"/>
                    </a:lnTo>
                    <a:lnTo>
                      <a:pt x="34" y="159"/>
                    </a:lnTo>
                    <a:lnTo>
                      <a:pt x="52" y="163"/>
                    </a:lnTo>
                    <a:lnTo>
                      <a:pt x="73" y="163"/>
                    </a:lnTo>
                    <a:lnTo>
                      <a:pt x="78" y="161"/>
                    </a:lnTo>
                    <a:lnTo>
                      <a:pt x="84" y="163"/>
                    </a:lnTo>
                    <a:lnTo>
                      <a:pt x="88" y="167"/>
                    </a:lnTo>
                    <a:lnTo>
                      <a:pt x="92" y="176"/>
                    </a:lnTo>
                    <a:lnTo>
                      <a:pt x="98" y="184"/>
                    </a:lnTo>
                    <a:lnTo>
                      <a:pt x="100" y="188"/>
                    </a:lnTo>
                    <a:lnTo>
                      <a:pt x="103" y="186"/>
                    </a:lnTo>
                    <a:lnTo>
                      <a:pt x="126" y="186"/>
                    </a:lnTo>
                    <a:lnTo>
                      <a:pt x="132" y="188"/>
                    </a:lnTo>
                    <a:lnTo>
                      <a:pt x="136" y="190"/>
                    </a:lnTo>
                    <a:lnTo>
                      <a:pt x="134" y="205"/>
                    </a:lnTo>
                    <a:lnTo>
                      <a:pt x="132" y="205"/>
                    </a:lnTo>
                    <a:lnTo>
                      <a:pt x="128" y="211"/>
                    </a:lnTo>
                    <a:lnTo>
                      <a:pt x="128" y="219"/>
                    </a:lnTo>
                    <a:lnTo>
                      <a:pt x="132" y="226"/>
                    </a:lnTo>
                    <a:lnTo>
                      <a:pt x="138" y="232"/>
                    </a:lnTo>
                    <a:lnTo>
                      <a:pt x="142" y="238"/>
                    </a:lnTo>
                    <a:lnTo>
                      <a:pt x="151" y="248"/>
                    </a:lnTo>
                    <a:lnTo>
                      <a:pt x="155" y="253"/>
                    </a:lnTo>
                    <a:lnTo>
                      <a:pt x="163" y="259"/>
                    </a:lnTo>
                    <a:lnTo>
                      <a:pt x="174" y="267"/>
                    </a:lnTo>
                    <a:lnTo>
                      <a:pt x="180" y="269"/>
                    </a:lnTo>
                    <a:lnTo>
                      <a:pt x="178" y="273"/>
                    </a:lnTo>
                    <a:lnTo>
                      <a:pt x="176" y="280"/>
                    </a:lnTo>
                    <a:lnTo>
                      <a:pt x="173" y="288"/>
                    </a:lnTo>
                    <a:lnTo>
                      <a:pt x="171" y="294"/>
                    </a:lnTo>
                    <a:lnTo>
                      <a:pt x="165" y="298"/>
                    </a:lnTo>
                    <a:lnTo>
                      <a:pt x="163" y="299"/>
                    </a:lnTo>
                    <a:lnTo>
                      <a:pt x="163" y="309"/>
                    </a:lnTo>
                    <a:lnTo>
                      <a:pt x="167" y="311"/>
                    </a:lnTo>
                    <a:lnTo>
                      <a:pt x="171" y="309"/>
                    </a:lnTo>
                    <a:lnTo>
                      <a:pt x="173" y="311"/>
                    </a:lnTo>
                    <a:lnTo>
                      <a:pt x="173" y="317"/>
                    </a:lnTo>
                    <a:lnTo>
                      <a:pt x="174" y="323"/>
                    </a:lnTo>
                    <a:lnTo>
                      <a:pt x="178" y="326"/>
                    </a:lnTo>
                    <a:lnTo>
                      <a:pt x="178" y="328"/>
                    </a:lnTo>
                    <a:lnTo>
                      <a:pt x="176" y="344"/>
                    </a:lnTo>
                    <a:lnTo>
                      <a:pt x="190" y="353"/>
                    </a:lnTo>
                    <a:lnTo>
                      <a:pt x="192" y="349"/>
                    </a:lnTo>
                    <a:lnTo>
                      <a:pt x="199" y="346"/>
                    </a:lnTo>
                    <a:lnTo>
                      <a:pt x="211" y="342"/>
                    </a:lnTo>
                    <a:lnTo>
                      <a:pt x="215" y="336"/>
                    </a:lnTo>
                    <a:lnTo>
                      <a:pt x="220" y="332"/>
                    </a:lnTo>
                    <a:lnTo>
                      <a:pt x="232" y="326"/>
                    </a:lnTo>
                    <a:lnTo>
                      <a:pt x="236" y="323"/>
                    </a:lnTo>
                    <a:lnTo>
                      <a:pt x="242" y="315"/>
                    </a:lnTo>
                    <a:lnTo>
                      <a:pt x="247" y="311"/>
                    </a:lnTo>
                    <a:lnTo>
                      <a:pt x="255" y="307"/>
                    </a:lnTo>
                    <a:lnTo>
                      <a:pt x="255" y="303"/>
                    </a:lnTo>
                    <a:lnTo>
                      <a:pt x="251" y="299"/>
                    </a:lnTo>
                    <a:lnTo>
                      <a:pt x="247" y="299"/>
                    </a:lnTo>
                    <a:lnTo>
                      <a:pt x="240" y="301"/>
                    </a:lnTo>
                    <a:lnTo>
                      <a:pt x="234" y="303"/>
                    </a:lnTo>
                    <a:lnTo>
                      <a:pt x="228" y="301"/>
                    </a:lnTo>
                    <a:lnTo>
                      <a:pt x="224" y="299"/>
                    </a:lnTo>
                    <a:lnTo>
                      <a:pt x="220" y="296"/>
                    </a:lnTo>
                    <a:lnTo>
                      <a:pt x="219" y="292"/>
                    </a:lnTo>
                    <a:lnTo>
                      <a:pt x="219" y="284"/>
                    </a:lnTo>
                    <a:lnTo>
                      <a:pt x="220" y="276"/>
                    </a:lnTo>
                    <a:lnTo>
                      <a:pt x="222" y="271"/>
                    </a:lnTo>
                    <a:lnTo>
                      <a:pt x="219" y="263"/>
                    </a:lnTo>
                    <a:lnTo>
                      <a:pt x="215" y="257"/>
                    </a:lnTo>
                    <a:lnTo>
                      <a:pt x="213" y="251"/>
                    </a:lnTo>
                    <a:lnTo>
                      <a:pt x="213" y="248"/>
                    </a:lnTo>
                    <a:lnTo>
                      <a:pt x="207" y="242"/>
                    </a:lnTo>
                    <a:lnTo>
                      <a:pt x="207" y="240"/>
                    </a:lnTo>
                    <a:lnTo>
                      <a:pt x="213" y="240"/>
                    </a:lnTo>
                    <a:lnTo>
                      <a:pt x="222" y="242"/>
                    </a:lnTo>
                    <a:lnTo>
                      <a:pt x="228" y="244"/>
                    </a:lnTo>
                    <a:lnTo>
                      <a:pt x="230" y="246"/>
                    </a:lnTo>
                    <a:lnTo>
                      <a:pt x="234" y="246"/>
                    </a:lnTo>
                    <a:lnTo>
                      <a:pt x="240" y="248"/>
                    </a:lnTo>
                    <a:lnTo>
                      <a:pt x="247" y="249"/>
                    </a:lnTo>
                    <a:lnTo>
                      <a:pt x="253" y="253"/>
                    </a:lnTo>
                    <a:lnTo>
                      <a:pt x="263" y="253"/>
                    </a:lnTo>
                    <a:lnTo>
                      <a:pt x="261" y="253"/>
                    </a:lnTo>
                    <a:lnTo>
                      <a:pt x="259" y="251"/>
                    </a:lnTo>
                    <a:lnTo>
                      <a:pt x="259" y="248"/>
                    </a:lnTo>
                    <a:lnTo>
                      <a:pt x="263" y="244"/>
                    </a:lnTo>
                    <a:lnTo>
                      <a:pt x="267" y="242"/>
                    </a:lnTo>
                    <a:lnTo>
                      <a:pt x="268" y="242"/>
                    </a:lnTo>
                    <a:lnTo>
                      <a:pt x="268" y="244"/>
                    </a:lnTo>
                    <a:lnTo>
                      <a:pt x="286" y="244"/>
                    </a:lnTo>
                    <a:lnTo>
                      <a:pt x="288" y="240"/>
                    </a:lnTo>
                    <a:lnTo>
                      <a:pt x="292" y="238"/>
                    </a:lnTo>
                    <a:lnTo>
                      <a:pt x="297" y="234"/>
                    </a:lnTo>
                    <a:lnTo>
                      <a:pt x="299" y="228"/>
                    </a:lnTo>
                    <a:lnTo>
                      <a:pt x="303" y="226"/>
                    </a:lnTo>
                    <a:lnTo>
                      <a:pt x="309" y="226"/>
                    </a:lnTo>
                    <a:lnTo>
                      <a:pt x="316" y="225"/>
                    </a:lnTo>
                    <a:lnTo>
                      <a:pt x="318" y="217"/>
                    </a:lnTo>
                    <a:lnTo>
                      <a:pt x="316" y="209"/>
                    </a:lnTo>
                    <a:lnTo>
                      <a:pt x="295" y="175"/>
                    </a:lnTo>
                    <a:lnTo>
                      <a:pt x="305" y="171"/>
                    </a:lnTo>
                    <a:lnTo>
                      <a:pt x="305" y="167"/>
                    </a:lnTo>
                    <a:lnTo>
                      <a:pt x="303" y="161"/>
                    </a:lnTo>
                    <a:lnTo>
                      <a:pt x="307" y="159"/>
                    </a:lnTo>
                    <a:lnTo>
                      <a:pt x="315" y="157"/>
                    </a:lnTo>
                    <a:lnTo>
                      <a:pt x="324" y="155"/>
                    </a:lnTo>
                    <a:lnTo>
                      <a:pt x="328" y="151"/>
                    </a:lnTo>
                    <a:lnTo>
                      <a:pt x="326" y="146"/>
                    </a:lnTo>
                    <a:lnTo>
                      <a:pt x="320" y="144"/>
                    </a:lnTo>
                    <a:lnTo>
                      <a:pt x="316" y="136"/>
                    </a:lnTo>
                    <a:lnTo>
                      <a:pt x="311" y="128"/>
                    </a:lnTo>
                    <a:lnTo>
                      <a:pt x="309" y="125"/>
                    </a:lnTo>
                    <a:lnTo>
                      <a:pt x="313" y="121"/>
                    </a:lnTo>
                    <a:lnTo>
                      <a:pt x="318" y="121"/>
                    </a:lnTo>
                    <a:lnTo>
                      <a:pt x="324" y="119"/>
                    </a:lnTo>
                    <a:lnTo>
                      <a:pt x="332" y="115"/>
                    </a:lnTo>
                    <a:lnTo>
                      <a:pt x="336" y="111"/>
                    </a:lnTo>
                    <a:lnTo>
                      <a:pt x="336" y="109"/>
                    </a:lnTo>
                    <a:lnTo>
                      <a:pt x="338" y="10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4" name="Freeform 12"/>
              <p:cNvSpPr>
                <a:spLocks/>
              </p:cNvSpPr>
              <p:nvPr/>
            </p:nvSpPr>
            <p:spPr bwMode="gray">
              <a:xfrm>
                <a:off x="3729" y="2042"/>
                <a:ext cx="206" cy="148"/>
              </a:xfrm>
              <a:custGeom>
                <a:avLst/>
                <a:gdLst>
                  <a:gd name="T0" fmla="*/ 293 w 411"/>
                  <a:gd name="T1" fmla="*/ 275 h 294"/>
                  <a:gd name="T2" fmla="*/ 303 w 411"/>
                  <a:gd name="T3" fmla="*/ 261 h 294"/>
                  <a:gd name="T4" fmla="*/ 303 w 411"/>
                  <a:gd name="T5" fmla="*/ 240 h 294"/>
                  <a:gd name="T6" fmla="*/ 282 w 411"/>
                  <a:gd name="T7" fmla="*/ 234 h 294"/>
                  <a:gd name="T8" fmla="*/ 292 w 411"/>
                  <a:gd name="T9" fmla="*/ 213 h 294"/>
                  <a:gd name="T10" fmla="*/ 309 w 411"/>
                  <a:gd name="T11" fmla="*/ 208 h 294"/>
                  <a:gd name="T12" fmla="*/ 313 w 411"/>
                  <a:gd name="T13" fmla="*/ 192 h 294"/>
                  <a:gd name="T14" fmla="*/ 316 w 411"/>
                  <a:gd name="T15" fmla="*/ 173 h 294"/>
                  <a:gd name="T16" fmla="*/ 326 w 411"/>
                  <a:gd name="T17" fmla="*/ 161 h 294"/>
                  <a:gd name="T18" fmla="*/ 343 w 411"/>
                  <a:gd name="T19" fmla="*/ 163 h 294"/>
                  <a:gd name="T20" fmla="*/ 353 w 411"/>
                  <a:gd name="T21" fmla="*/ 150 h 294"/>
                  <a:gd name="T22" fmla="*/ 355 w 411"/>
                  <a:gd name="T23" fmla="*/ 184 h 294"/>
                  <a:gd name="T24" fmla="*/ 366 w 411"/>
                  <a:gd name="T25" fmla="*/ 192 h 294"/>
                  <a:gd name="T26" fmla="*/ 378 w 411"/>
                  <a:gd name="T27" fmla="*/ 184 h 294"/>
                  <a:gd name="T28" fmla="*/ 409 w 411"/>
                  <a:gd name="T29" fmla="*/ 161 h 294"/>
                  <a:gd name="T30" fmla="*/ 387 w 411"/>
                  <a:gd name="T31" fmla="*/ 150 h 294"/>
                  <a:gd name="T32" fmla="*/ 372 w 411"/>
                  <a:gd name="T33" fmla="*/ 138 h 294"/>
                  <a:gd name="T34" fmla="*/ 353 w 411"/>
                  <a:gd name="T35" fmla="*/ 133 h 294"/>
                  <a:gd name="T36" fmla="*/ 364 w 411"/>
                  <a:gd name="T37" fmla="*/ 125 h 294"/>
                  <a:gd name="T38" fmla="*/ 363 w 411"/>
                  <a:gd name="T39" fmla="*/ 108 h 294"/>
                  <a:gd name="T40" fmla="*/ 343 w 411"/>
                  <a:gd name="T41" fmla="*/ 115 h 294"/>
                  <a:gd name="T42" fmla="*/ 326 w 411"/>
                  <a:gd name="T43" fmla="*/ 125 h 294"/>
                  <a:gd name="T44" fmla="*/ 309 w 411"/>
                  <a:gd name="T45" fmla="*/ 140 h 294"/>
                  <a:gd name="T46" fmla="*/ 292 w 411"/>
                  <a:gd name="T47" fmla="*/ 146 h 294"/>
                  <a:gd name="T48" fmla="*/ 282 w 411"/>
                  <a:gd name="T49" fmla="*/ 159 h 294"/>
                  <a:gd name="T50" fmla="*/ 276 w 411"/>
                  <a:gd name="T51" fmla="*/ 140 h 294"/>
                  <a:gd name="T52" fmla="*/ 245 w 411"/>
                  <a:gd name="T53" fmla="*/ 138 h 294"/>
                  <a:gd name="T54" fmla="*/ 238 w 411"/>
                  <a:gd name="T55" fmla="*/ 123 h 294"/>
                  <a:gd name="T56" fmla="*/ 220 w 411"/>
                  <a:gd name="T57" fmla="*/ 113 h 294"/>
                  <a:gd name="T58" fmla="*/ 203 w 411"/>
                  <a:gd name="T59" fmla="*/ 94 h 294"/>
                  <a:gd name="T60" fmla="*/ 169 w 411"/>
                  <a:gd name="T61" fmla="*/ 94 h 294"/>
                  <a:gd name="T62" fmla="*/ 140 w 411"/>
                  <a:gd name="T63" fmla="*/ 65 h 294"/>
                  <a:gd name="T64" fmla="*/ 130 w 411"/>
                  <a:gd name="T65" fmla="*/ 60 h 294"/>
                  <a:gd name="T66" fmla="*/ 119 w 411"/>
                  <a:gd name="T67" fmla="*/ 65 h 294"/>
                  <a:gd name="T68" fmla="*/ 96 w 411"/>
                  <a:gd name="T69" fmla="*/ 79 h 294"/>
                  <a:gd name="T70" fmla="*/ 86 w 411"/>
                  <a:gd name="T71" fmla="*/ 73 h 294"/>
                  <a:gd name="T72" fmla="*/ 77 w 411"/>
                  <a:gd name="T73" fmla="*/ 77 h 294"/>
                  <a:gd name="T74" fmla="*/ 52 w 411"/>
                  <a:gd name="T75" fmla="*/ 46 h 294"/>
                  <a:gd name="T76" fmla="*/ 42 w 411"/>
                  <a:gd name="T77" fmla="*/ 0 h 294"/>
                  <a:gd name="T78" fmla="*/ 9 w 411"/>
                  <a:gd name="T79" fmla="*/ 12 h 294"/>
                  <a:gd name="T80" fmla="*/ 27 w 411"/>
                  <a:gd name="T81" fmla="*/ 131 h 294"/>
                  <a:gd name="T82" fmla="*/ 38 w 411"/>
                  <a:gd name="T83" fmla="*/ 111 h 294"/>
                  <a:gd name="T84" fmla="*/ 65 w 411"/>
                  <a:gd name="T85" fmla="*/ 98 h 294"/>
                  <a:gd name="T86" fmla="*/ 90 w 411"/>
                  <a:gd name="T87" fmla="*/ 148 h 294"/>
                  <a:gd name="T88" fmla="*/ 111 w 411"/>
                  <a:gd name="T89" fmla="*/ 156 h 294"/>
                  <a:gd name="T90" fmla="*/ 153 w 411"/>
                  <a:gd name="T91" fmla="*/ 163 h 294"/>
                  <a:gd name="T92" fmla="*/ 178 w 411"/>
                  <a:gd name="T93" fmla="*/ 213 h 294"/>
                  <a:gd name="T94" fmla="*/ 230 w 411"/>
                  <a:gd name="T95" fmla="*/ 244 h 294"/>
                  <a:gd name="T96" fmla="*/ 263 w 411"/>
                  <a:gd name="T97" fmla="*/ 256 h 294"/>
                  <a:gd name="T98" fmla="*/ 257 w 411"/>
                  <a:gd name="T99" fmla="*/ 286 h 29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411"/>
                  <a:gd name="T151" fmla="*/ 0 h 294"/>
                  <a:gd name="T152" fmla="*/ 411 w 411"/>
                  <a:gd name="T153" fmla="*/ 294 h 29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411" h="294">
                    <a:moveTo>
                      <a:pt x="286" y="292"/>
                    </a:moveTo>
                    <a:lnTo>
                      <a:pt x="288" y="288"/>
                    </a:lnTo>
                    <a:lnTo>
                      <a:pt x="290" y="282"/>
                    </a:lnTo>
                    <a:lnTo>
                      <a:pt x="293" y="275"/>
                    </a:lnTo>
                    <a:lnTo>
                      <a:pt x="297" y="273"/>
                    </a:lnTo>
                    <a:lnTo>
                      <a:pt x="303" y="269"/>
                    </a:lnTo>
                    <a:lnTo>
                      <a:pt x="305" y="265"/>
                    </a:lnTo>
                    <a:lnTo>
                      <a:pt x="303" y="261"/>
                    </a:lnTo>
                    <a:lnTo>
                      <a:pt x="299" y="258"/>
                    </a:lnTo>
                    <a:lnTo>
                      <a:pt x="297" y="252"/>
                    </a:lnTo>
                    <a:lnTo>
                      <a:pt x="299" y="246"/>
                    </a:lnTo>
                    <a:lnTo>
                      <a:pt x="303" y="240"/>
                    </a:lnTo>
                    <a:lnTo>
                      <a:pt x="303" y="236"/>
                    </a:lnTo>
                    <a:lnTo>
                      <a:pt x="297" y="236"/>
                    </a:lnTo>
                    <a:lnTo>
                      <a:pt x="290" y="238"/>
                    </a:lnTo>
                    <a:lnTo>
                      <a:pt x="282" y="234"/>
                    </a:lnTo>
                    <a:lnTo>
                      <a:pt x="274" y="223"/>
                    </a:lnTo>
                    <a:lnTo>
                      <a:pt x="276" y="217"/>
                    </a:lnTo>
                    <a:lnTo>
                      <a:pt x="288" y="213"/>
                    </a:lnTo>
                    <a:lnTo>
                      <a:pt x="292" y="213"/>
                    </a:lnTo>
                    <a:lnTo>
                      <a:pt x="293" y="217"/>
                    </a:lnTo>
                    <a:lnTo>
                      <a:pt x="295" y="217"/>
                    </a:lnTo>
                    <a:lnTo>
                      <a:pt x="303" y="211"/>
                    </a:lnTo>
                    <a:lnTo>
                      <a:pt x="309" y="208"/>
                    </a:lnTo>
                    <a:lnTo>
                      <a:pt x="313" y="204"/>
                    </a:lnTo>
                    <a:lnTo>
                      <a:pt x="315" y="200"/>
                    </a:lnTo>
                    <a:lnTo>
                      <a:pt x="311" y="200"/>
                    </a:lnTo>
                    <a:lnTo>
                      <a:pt x="313" y="192"/>
                    </a:lnTo>
                    <a:lnTo>
                      <a:pt x="318" y="186"/>
                    </a:lnTo>
                    <a:lnTo>
                      <a:pt x="322" y="184"/>
                    </a:lnTo>
                    <a:lnTo>
                      <a:pt x="322" y="179"/>
                    </a:lnTo>
                    <a:lnTo>
                      <a:pt x="316" y="173"/>
                    </a:lnTo>
                    <a:lnTo>
                      <a:pt x="316" y="167"/>
                    </a:lnTo>
                    <a:lnTo>
                      <a:pt x="318" y="163"/>
                    </a:lnTo>
                    <a:lnTo>
                      <a:pt x="324" y="163"/>
                    </a:lnTo>
                    <a:lnTo>
                      <a:pt x="326" y="161"/>
                    </a:lnTo>
                    <a:lnTo>
                      <a:pt x="330" y="165"/>
                    </a:lnTo>
                    <a:lnTo>
                      <a:pt x="336" y="167"/>
                    </a:lnTo>
                    <a:lnTo>
                      <a:pt x="341" y="167"/>
                    </a:lnTo>
                    <a:lnTo>
                      <a:pt x="343" y="163"/>
                    </a:lnTo>
                    <a:lnTo>
                      <a:pt x="343" y="161"/>
                    </a:lnTo>
                    <a:lnTo>
                      <a:pt x="347" y="154"/>
                    </a:lnTo>
                    <a:lnTo>
                      <a:pt x="351" y="152"/>
                    </a:lnTo>
                    <a:lnTo>
                      <a:pt x="353" y="150"/>
                    </a:lnTo>
                    <a:lnTo>
                      <a:pt x="359" y="165"/>
                    </a:lnTo>
                    <a:lnTo>
                      <a:pt x="347" y="173"/>
                    </a:lnTo>
                    <a:lnTo>
                      <a:pt x="347" y="179"/>
                    </a:lnTo>
                    <a:lnTo>
                      <a:pt x="355" y="184"/>
                    </a:lnTo>
                    <a:lnTo>
                      <a:pt x="359" y="186"/>
                    </a:lnTo>
                    <a:lnTo>
                      <a:pt x="361" y="188"/>
                    </a:lnTo>
                    <a:lnTo>
                      <a:pt x="363" y="192"/>
                    </a:lnTo>
                    <a:lnTo>
                      <a:pt x="366" y="192"/>
                    </a:lnTo>
                    <a:lnTo>
                      <a:pt x="368" y="184"/>
                    </a:lnTo>
                    <a:lnTo>
                      <a:pt x="368" y="183"/>
                    </a:lnTo>
                    <a:lnTo>
                      <a:pt x="374" y="183"/>
                    </a:lnTo>
                    <a:lnTo>
                      <a:pt x="378" y="184"/>
                    </a:lnTo>
                    <a:lnTo>
                      <a:pt x="386" y="184"/>
                    </a:lnTo>
                    <a:lnTo>
                      <a:pt x="393" y="179"/>
                    </a:lnTo>
                    <a:lnTo>
                      <a:pt x="401" y="169"/>
                    </a:lnTo>
                    <a:lnTo>
                      <a:pt x="409" y="161"/>
                    </a:lnTo>
                    <a:lnTo>
                      <a:pt x="411" y="158"/>
                    </a:lnTo>
                    <a:lnTo>
                      <a:pt x="407" y="158"/>
                    </a:lnTo>
                    <a:lnTo>
                      <a:pt x="399" y="156"/>
                    </a:lnTo>
                    <a:lnTo>
                      <a:pt x="387" y="150"/>
                    </a:lnTo>
                    <a:lnTo>
                      <a:pt x="382" y="150"/>
                    </a:lnTo>
                    <a:lnTo>
                      <a:pt x="376" y="148"/>
                    </a:lnTo>
                    <a:lnTo>
                      <a:pt x="376" y="138"/>
                    </a:lnTo>
                    <a:lnTo>
                      <a:pt x="372" y="138"/>
                    </a:lnTo>
                    <a:lnTo>
                      <a:pt x="366" y="140"/>
                    </a:lnTo>
                    <a:lnTo>
                      <a:pt x="363" y="140"/>
                    </a:lnTo>
                    <a:lnTo>
                      <a:pt x="359" y="136"/>
                    </a:lnTo>
                    <a:lnTo>
                      <a:pt x="353" y="133"/>
                    </a:lnTo>
                    <a:lnTo>
                      <a:pt x="349" y="133"/>
                    </a:lnTo>
                    <a:lnTo>
                      <a:pt x="355" y="131"/>
                    </a:lnTo>
                    <a:lnTo>
                      <a:pt x="361" y="127"/>
                    </a:lnTo>
                    <a:lnTo>
                      <a:pt x="364" y="125"/>
                    </a:lnTo>
                    <a:lnTo>
                      <a:pt x="366" y="123"/>
                    </a:lnTo>
                    <a:lnTo>
                      <a:pt x="374" y="111"/>
                    </a:lnTo>
                    <a:lnTo>
                      <a:pt x="370" y="108"/>
                    </a:lnTo>
                    <a:lnTo>
                      <a:pt x="363" y="108"/>
                    </a:lnTo>
                    <a:lnTo>
                      <a:pt x="357" y="111"/>
                    </a:lnTo>
                    <a:lnTo>
                      <a:pt x="353" y="113"/>
                    </a:lnTo>
                    <a:lnTo>
                      <a:pt x="349" y="113"/>
                    </a:lnTo>
                    <a:lnTo>
                      <a:pt x="343" y="115"/>
                    </a:lnTo>
                    <a:lnTo>
                      <a:pt x="338" y="115"/>
                    </a:lnTo>
                    <a:lnTo>
                      <a:pt x="332" y="117"/>
                    </a:lnTo>
                    <a:lnTo>
                      <a:pt x="328" y="121"/>
                    </a:lnTo>
                    <a:lnTo>
                      <a:pt x="326" y="125"/>
                    </a:lnTo>
                    <a:lnTo>
                      <a:pt x="320" y="125"/>
                    </a:lnTo>
                    <a:lnTo>
                      <a:pt x="315" y="127"/>
                    </a:lnTo>
                    <a:lnTo>
                      <a:pt x="311" y="133"/>
                    </a:lnTo>
                    <a:lnTo>
                      <a:pt x="309" y="140"/>
                    </a:lnTo>
                    <a:lnTo>
                      <a:pt x="307" y="144"/>
                    </a:lnTo>
                    <a:lnTo>
                      <a:pt x="305" y="144"/>
                    </a:lnTo>
                    <a:lnTo>
                      <a:pt x="299" y="146"/>
                    </a:lnTo>
                    <a:lnTo>
                      <a:pt x="292" y="146"/>
                    </a:lnTo>
                    <a:lnTo>
                      <a:pt x="292" y="156"/>
                    </a:lnTo>
                    <a:lnTo>
                      <a:pt x="290" y="158"/>
                    </a:lnTo>
                    <a:lnTo>
                      <a:pt x="286" y="158"/>
                    </a:lnTo>
                    <a:lnTo>
                      <a:pt x="282" y="159"/>
                    </a:lnTo>
                    <a:lnTo>
                      <a:pt x="280" y="158"/>
                    </a:lnTo>
                    <a:lnTo>
                      <a:pt x="282" y="152"/>
                    </a:lnTo>
                    <a:lnTo>
                      <a:pt x="282" y="146"/>
                    </a:lnTo>
                    <a:lnTo>
                      <a:pt x="276" y="140"/>
                    </a:lnTo>
                    <a:lnTo>
                      <a:pt x="268" y="138"/>
                    </a:lnTo>
                    <a:lnTo>
                      <a:pt x="261" y="140"/>
                    </a:lnTo>
                    <a:lnTo>
                      <a:pt x="255" y="140"/>
                    </a:lnTo>
                    <a:lnTo>
                      <a:pt x="245" y="138"/>
                    </a:lnTo>
                    <a:lnTo>
                      <a:pt x="240" y="136"/>
                    </a:lnTo>
                    <a:lnTo>
                      <a:pt x="236" y="133"/>
                    </a:lnTo>
                    <a:lnTo>
                      <a:pt x="240" y="125"/>
                    </a:lnTo>
                    <a:lnTo>
                      <a:pt x="238" y="123"/>
                    </a:lnTo>
                    <a:lnTo>
                      <a:pt x="236" y="123"/>
                    </a:lnTo>
                    <a:lnTo>
                      <a:pt x="232" y="115"/>
                    </a:lnTo>
                    <a:lnTo>
                      <a:pt x="230" y="113"/>
                    </a:lnTo>
                    <a:lnTo>
                      <a:pt x="220" y="113"/>
                    </a:lnTo>
                    <a:lnTo>
                      <a:pt x="215" y="111"/>
                    </a:lnTo>
                    <a:lnTo>
                      <a:pt x="207" y="104"/>
                    </a:lnTo>
                    <a:lnTo>
                      <a:pt x="205" y="98"/>
                    </a:lnTo>
                    <a:lnTo>
                      <a:pt x="203" y="94"/>
                    </a:lnTo>
                    <a:lnTo>
                      <a:pt x="199" y="102"/>
                    </a:lnTo>
                    <a:lnTo>
                      <a:pt x="194" y="100"/>
                    </a:lnTo>
                    <a:lnTo>
                      <a:pt x="180" y="98"/>
                    </a:lnTo>
                    <a:lnTo>
                      <a:pt x="169" y="94"/>
                    </a:lnTo>
                    <a:lnTo>
                      <a:pt x="142" y="94"/>
                    </a:lnTo>
                    <a:lnTo>
                      <a:pt x="142" y="88"/>
                    </a:lnTo>
                    <a:lnTo>
                      <a:pt x="140" y="77"/>
                    </a:lnTo>
                    <a:lnTo>
                      <a:pt x="140" y="65"/>
                    </a:lnTo>
                    <a:lnTo>
                      <a:pt x="136" y="54"/>
                    </a:lnTo>
                    <a:lnTo>
                      <a:pt x="132" y="50"/>
                    </a:lnTo>
                    <a:lnTo>
                      <a:pt x="130" y="52"/>
                    </a:lnTo>
                    <a:lnTo>
                      <a:pt x="130" y="60"/>
                    </a:lnTo>
                    <a:lnTo>
                      <a:pt x="128" y="60"/>
                    </a:lnTo>
                    <a:lnTo>
                      <a:pt x="125" y="61"/>
                    </a:lnTo>
                    <a:lnTo>
                      <a:pt x="123" y="63"/>
                    </a:lnTo>
                    <a:lnTo>
                      <a:pt x="119" y="65"/>
                    </a:lnTo>
                    <a:lnTo>
                      <a:pt x="119" y="75"/>
                    </a:lnTo>
                    <a:lnTo>
                      <a:pt x="111" y="75"/>
                    </a:lnTo>
                    <a:lnTo>
                      <a:pt x="105" y="77"/>
                    </a:lnTo>
                    <a:lnTo>
                      <a:pt x="96" y="79"/>
                    </a:lnTo>
                    <a:lnTo>
                      <a:pt x="94" y="73"/>
                    </a:lnTo>
                    <a:lnTo>
                      <a:pt x="92" y="69"/>
                    </a:lnTo>
                    <a:lnTo>
                      <a:pt x="88" y="67"/>
                    </a:lnTo>
                    <a:lnTo>
                      <a:pt x="86" y="73"/>
                    </a:lnTo>
                    <a:lnTo>
                      <a:pt x="86" y="81"/>
                    </a:lnTo>
                    <a:lnTo>
                      <a:pt x="84" y="86"/>
                    </a:lnTo>
                    <a:lnTo>
                      <a:pt x="77" y="86"/>
                    </a:lnTo>
                    <a:lnTo>
                      <a:pt x="77" y="77"/>
                    </a:lnTo>
                    <a:lnTo>
                      <a:pt x="80" y="63"/>
                    </a:lnTo>
                    <a:lnTo>
                      <a:pt x="61" y="67"/>
                    </a:lnTo>
                    <a:lnTo>
                      <a:pt x="54" y="71"/>
                    </a:lnTo>
                    <a:lnTo>
                      <a:pt x="52" y="46"/>
                    </a:lnTo>
                    <a:lnTo>
                      <a:pt x="54" y="25"/>
                    </a:lnTo>
                    <a:lnTo>
                      <a:pt x="59" y="4"/>
                    </a:lnTo>
                    <a:lnTo>
                      <a:pt x="61" y="0"/>
                    </a:lnTo>
                    <a:lnTo>
                      <a:pt x="42" y="0"/>
                    </a:lnTo>
                    <a:lnTo>
                      <a:pt x="36" y="2"/>
                    </a:lnTo>
                    <a:lnTo>
                      <a:pt x="29" y="4"/>
                    </a:lnTo>
                    <a:lnTo>
                      <a:pt x="19" y="6"/>
                    </a:lnTo>
                    <a:lnTo>
                      <a:pt x="9" y="12"/>
                    </a:lnTo>
                    <a:lnTo>
                      <a:pt x="4" y="13"/>
                    </a:lnTo>
                    <a:lnTo>
                      <a:pt x="0" y="133"/>
                    </a:lnTo>
                    <a:lnTo>
                      <a:pt x="25" y="136"/>
                    </a:lnTo>
                    <a:lnTo>
                      <a:pt x="27" y="131"/>
                    </a:lnTo>
                    <a:lnTo>
                      <a:pt x="21" y="125"/>
                    </a:lnTo>
                    <a:lnTo>
                      <a:pt x="19" y="115"/>
                    </a:lnTo>
                    <a:lnTo>
                      <a:pt x="25" y="110"/>
                    </a:lnTo>
                    <a:lnTo>
                      <a:pt x="38" y="111"/>
                    </a:lnTo>
                    <a:lnTo>
                      <a:pt x="44" y="102"/>
                    </a:lnTo>
                    <a:lnTo>
                      <a:pt x="52" y="92"/>
                    </a:lnTo>
                    <a:lnTo>
                      <a:pt x="57" y="96"/>
                    </a:lnTo>
                    <a:lnTo>
                      <a:pt x="65" y="98"/>
                    </a:lnTo>
                    <a:lnTo>
                      <a:pt x="69" y="111"/>
                    </a:lnTo>
                    <a:lnTo>
                      <a:pt x="75" y="131"/>
                    </a:lnTo>
                    <a:lnTo>
                      <a:pt x="86" y="135"/>
                    </a:lnTo>
                    <a:lnTo>
                      <a:pt x="90" y="148"/>
                    </a:lnTo>
                    <a:lnTo>
                      <a:pt x="84" y="154"/>
                    </a:lnTo>
                    <a:lnTo>
                      <a:pt x="90" y="159"/>
                    </a:lnTo>
                    <a:lnTo>
                      <a:pt x="98" y="161"/>
                    </a:lnTo>
                    <a:lnTo>
                      <a:pt x="111" y="156"/>
                    </a:lnTo>
                    <a:lnTo>
                      <a:pt x="117" y="152"/>
                    </a:lnTo>
                    <a:lnTo>
                      <a:pt x="130" y="152"/>
                    </a:lnTo>
                    <a:lnTo>
                      <a:pt x="142" y="150"/>
                    </a:lnTo>
                    <a:lnTo>
                      <a:pt x="153" y="163"/>
                    </a:lnTo>
                    <a:lnTo>
                      <a:pt x="151" y="177"/>
                    </a:lnTo>
                    <a:lnTo>
                      <a:pt x="167" y="192"/>
                    </a:lnTo>
                    <a:lnTo>
                      <a:pt x="171" y="206"/>
                    </a:lnTo>
                    <a:lnTo>
                      <a:pt x="178" y="213"/>
                    </a:lnTo>
                    <a:lnTo>
                      <a:pt x="188" y="219"/>
                    </a:lnTo>
                    <a:lnTo>
                      <a:pt x="207" y="238"/>
                    </a:lnTo>
                    <a:lnTo>
                      <a:pt x="220" y="236"/>
                    </a:lnTo>
                    <a:lnTo>
                      <a:pt x="230" y="244"/>
                    </a:lnTo>
                    <a:lnTo>
                      <a:pt x="242" y="244"/>
                    </a:lnTo>
                    <a:lnTo>
                      <a:pt x="249" y="250"/>
                    </a:lnTo>
                    <a:lnTo>
                      <a:pt x="259" y="252"/>
                    </a:lnTo>
                    <a:lnTo>
                      <a:pt x="263" y="256"/>
                    </a:lnTo>
                    <a:lnTo>
                      <a:pt x="249" y="263"/>
                    </a:lnTo>
                    <a:lnTo>
                      <a:pt x="247" y="271"/>
                    </a:lnTo>
                    <a:lnTo>
                      <a:pt x="247" y="282"/>
                    </a:lnTo>
                    <a:lnTo>
                      <a:pt x="257" y="286"/>
                    </a:lnTo>
                    <a:lnTo>
                      <a:pt x="267" y="294"/>
                    </a:lnTo>
                    <a:lnTo>
                      <a:pt x="278" y="294"/>
                    </a:lnTo>
                    <a:lnTo>
                      <a:pt x="286" y="29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5" name="Freeform 13"/>
              <p:cNvSpPr>
                <a:spLocks/>
              </p:cNvSpPr>
              <p:nvPr/>
            </p:nvSpPr>
            <p:spPr bwMode="gray">
              <a:xfrm>
                <a:off x="1893" y="2304"/>
                <a:ext cx="2" cy="4"/>
              </a:xfrm>
              <a:custGeom>
                <a:avLst/>
                <a:gdLst>
                  <a:gd name="T0" fmla="*/ 4 w 4"/>
                  <a:gd name="T1" fmla="*/ 0 h 7"/>
                  <a:gd name="T2" fmla="*/ 4 w 4"/>
                  <a:gd name="T3" fmla="*/ 4 h 7"/>
                  <a:gd name="T4" fmla="*/ 2 w 4"/>
                  <a:gd name="T5" fmla="*/ 7 h 7"/>
                  <a:gd name="T6" fmla="*/ 0 w 4"/>
                  <a:gd name="T7" fmla="*/ 7 h 7"/>
                  <a:gd name="T8" fmla="*/ 0 w 4"/>
                  <a:gd name="T9" fmla="*/ 0 h 7"/>
                  <a:gd name="T10" fmla="*/ 4 w 4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7"/>
                  <a:gd name="T20" fmla="*/ 4 w 4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7">
                    <a:moveTo>
                      <a:pt x="4" y="0"/>
                    </a:moveTo>
                    <a:lnTo>
                      <a:pt x="4" y="4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6" name="Freeform 14"/>
              <p:cNvSpPr>
                <a:spLocks/>
              </p:cNvSpPr>
              <p:nvPr/>
            </p:nvSpPr>
            <p:spPr bwMode="gray">
              <a:xfrm>
                <a:off x="2301" y="3261"/>
                <a:ext cx="67" cy="78"/>
              </a:xfrm>
              <a:custGeom>
                <a:avLst/>
                <a:gdLst>
                  <a:gd name="T0" fmla="*/ 126 w 132"/>
                  <a:gd name="T1" fmla="*/ 113 h 155"/>
                  <a:gd name="T2" fmla="*/ 121 w 132"/>
                  <a:gd name="T3" fmla="*/ 102 h 155"/>
                  <a:gd name="T4" fmla="*/ 132 w 132"/>
                  <a:gd name="T5" fmla="*/ 84 h 155"/>
                  <a:gd name="T6" fmla="*/ 132 w 132"/>
                  <a:gd name="T7" fmla="*/ 82 h 155"/>
                  <a:gd name="T8" fmla="*/ 128 w 132"/>
                  <a:gd name="T9" fmla="*/ 80 h 155"/>
                  <a:gd name="T10" fmla="*/ 117 w 132"/>
                  <a:gd name="T11" fmla="*/ 73 h 155"/>
                  <a:gd name="T12" fmla="*/ 113 w 132"/>
                  <a:gd name="T13" fmla="*/ 67 h 155"/>
                  <a:gd name="T14" fmla="*/ 111 w 132"/>
                  <a:gd name="T15" fmla="*/ 59 h 155"/>
                  <a:gd name="T16" fmla="*/ 107 w 132"/>
                  <a:gd name="T17" fmla="*/ 55 h 155"/>
                  <a:gd name="T18" fmla="*/ 102 w 132"/>
                  <a:gd name="T19" fmla="*/ 52 h 155"/>
                  <a:gd name="T20" fmla="*/ 94 w 132"/>
                  <a:gd name="T21" fmla="*/ 50 h 155"/>
                  <a:gd name="T22" fmla="*/ 84 w 132"/>
                  <a:gd name="T23" fmla="*/ 40 h 155"/>
                  <a:gd name="T24" fmla="*/ 73 w 132"/>
                  <a:gd name="T25" fmla="*/ 32 h 155"/>
                  <a:gd name="T26" fmla="*/ 67 w 132"/>
                  <a:gd name="T27" fmla="*/ 30 h 155"/>
                  <a:gd name="T28" fmla="*/ 63 w 132"/>
                  <a:gd name="T29" fmla="*/ 27 h 155"/>
                  <a:gd name="T30" fmla="*/ 59 w 132"/>
                  <a:gd name="T31" fmla="*/ 19 h 155"/>
                  <a:gd name="T32" fmla="*/ 59 w 132"/>
                  <a:gd name="T33" fmla="*/ 15 h 155"/>
                  <a:gd name="T34" fmla="*/ 57 w 132"/>
                  <a:gd name="T35" fmla="*/ 13 h 155"/>
                  <a:gd name="T36" fmla="*/ 36 w 132"/>
                  <a:gd name="T37" fmla="*/ 0 h 155"/>
                  <a:gd name="T38" fmla="*/ 17 w 132"/>
                  <a:gd name="T39" fmla="*/ 5 h 155"/>
                  <a:gd name="T40" fmla="*/ 15 w 132"/>
                  <a:gd name="T41" fmla="*/ 7 h 155"/>
                  <a:gd name="T42" fmla="*/ 11 w 132"/>
                  <a:gd name="T43" fmla="*/ 13 h 155"/>
                  <a:gd name="T44" fmla="*/ 11 w 132"/>
                  <a:gd name="T45" fmla="*/ 32 h 155"/>
                  <a:gd name="T46" fmla="*/ 7 w 132"/>
                  <a:gd name="T47" fmla="*/ 36 h 155"/>
                  <a:gd name="T48" fmla="*/ 6 w 132"/>
                  <a:gd name="T49" fmla="*/ 44 h 155"/>
                  <a:gd name="T50" fmla="*/ 4 w 132"/>
                  <a:gd name="T51" fmla="*/ 54 h 155"/>
                  <a:gd name="T52" fmla="*/ 2 w 132"/>
                  <a:gd name="T53" fmla="*/ 61 h 155"/>
                  <a:gd name="T54" fmla="*/ 0 w 132"/>
                  <a:gd name="T55" fmla="*/ 67 h 155"/>
                  <a:gd name="T56" fmla="*/ 2 w 132"/>
                  <a:gd name="T57" fmla="*/ 71 h 155"/>
                  <a:gd name="T58" fmla="*/ 2 w 132"/>
                  <a:gd name="T59" fmla="*/ 77 h 155"/>
                  <a:gd name="T60" fmla="*/ 0 w 132"/>
                  <a:gd name="T61" fmla="*/ 82 h 155"/>
                  <a:gd name="T62" fmla="*/ 4 w 132"/>
                  <a:gd name="T63" fmla="*/ 88 h 155"/>
                  <a:gd name="T64" fmla="*/ 4 w 132"/>
                  <a:gd name="T65" fmla="*/ 96 h 155"/>
                  <a:gd name="T66" fmla="*/ 0 w 132"/>
                  <a:gd name="T67" fmla="*/ 96 h 155"/>
                  <a:gd name="T68" fmla="*/ 2 w 132"/>
                  <a:gd name="T69" fmla="*/ 111 h 155"/>
                  <a:gd name="T70" fmla="*/ 2 w 132"/>
                  <a:gd name="T71" fmla="*/ 123 h 155"/>
                  <a:gd name="T72" fmla="*/ 4 w 132"/>
                  <a:gd name="T73" fmla="*/ 136 h 155"/>
                  <a:gd name="T74" fmla="*/ 17 w 132"/>
                  <a:gd name="T75" fmla="*/ 136 h 155"/>
                  <a:gd name="T76" fmla="*/ 23 w 132"/>
                  <a:gd name="T77" fmla="*/ 138 h 155"/>
                  <a:gd name="T78" fmla="*/ 25 w 132"/>
                  <a:gd name="T79" fmla="*/ 142 h 155"/>
                  <a:gd name="T80" fmla="*/ 29 w 132"/>
                  <a:gd name="T81" fmla="*/ 148 h 155"/>
                  <a:gd name="T82" fmla="*/ 31 w 132"/>
                  <a:gd name="T83" fmla="*/ 150 h 155"/>
                  <a:gd name="T84" fmla="*/ 44 w 132"/>
                  <a:gd name="T85" fmla="*/ 155 h 155"/>
                  <a:gd name="T86" fmla="*/ 55 w 132"/>
                  <a:gd name="T87" fmla="*/ 155 h 155"/>
                  <a:gd name="T88" fmla="*/ 69 w 132"/>
                  <a:gd name="T89" fmla="*/ 150 h 155"/>
                  <a:gd name="T90" fmla="*/ 73 w 132"/>
                  <a:gd name="T91" fmla="*/ 152 h 155"/>
                  <a:gd name="T92" fmla="*/ 92 w 132"/>
                  <a:gd name="T93" fmla="*/ 155 h 155"/>
                  <a:gd name="T94" fmla="*/ 100 w 132"/>
                  <a:gd name="T95" fmla="*/ 148 h 155"/>
                  <a:gd name="T96" fmla="*/ 113 w 132"/>
                  <a:gd name="T97" fmla="*/ 132 h 155"/>
                  <a:gd name="T98" fmla="*/ 126 w 132"/>
                  <a:gd name="T99" fmla="*/ 113 h 15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2"/>
                  <a:gd name="T151" fmla="*/ 0 h 155"/>
                  <a:gd name="T152" fmla="*/ 132 w 132"/>
                  <a:gd name="T153" fmla="*/ 155 h 15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2" h="155">
                    <a:moveTo>
                      <a:pt x="126" y="113"/>
                    </a:moveTo>
                    <a:lnTo>
                      <a:pt x="121" y="102"/>
                    </a:lnTo>
                    <a:lnTo>
                      <a:pt x="132" y="84"/>
                    </a:lnTo>
                    <a:lnTo>
                      <a:pt x="132" y="82"/>
                    </a:lnTo>
                    <a:lnTo>
                      <a:pt x="128" y="80"/>
                    </a:lnTo>
                    <a:lnTo>
                      <a:pt x="117" y="73"/>
                    </a:lnTo>
                    <a:lnTo>
                      <a:pt x="113" y="67"/>
                    </a:lnTo>
                    <a:lnTo>
                      <a:pt x="111" y="59"/>
                    </a:lnTo>
                    <a:lnTo>
                      <a:pt x="107" y="55"/>
                    </a:lnTo>
                    <a:lnTo>
                      <a:pt x="102" y="52"/>
                    </a:lnTo>
                    <a:lnTo>
                      <a:pt x="94" y="50"/>
                    </a:lnTo>
                    <a:lnTo>
                      <a:pt x="84" y="40"/>
                    </a:lnTo>
                    <a:lnTo>
                      <a:pt x="73" y="32"/>
                    </a:lnTo>
                    <a:lnTo>
                      <a:pt x="67" y="30"/>
                    </a:lnTo>
                    <a:lnTo>
                      <a:pt x="63" y="27"/>
                    </a:lnTo>
                    <a:lnTo>
                      <a:pt x="59" y="19"/>
                    </a:lnTo>
                    <a:lnTo>
                      <a:pt x="59" y="15"/>
                    </a:lnTo>
                    <a:lnTo>
                      <a:pt x="57" y="13"/>
                    </a:lnTo>
                    <a:lnTo>
                      <a:pt x="36" y="0"/>
                    </a:lnTo>
                    <a:lnTo>
                      <a:pt x="17" y="5"/>
                    </a:lnTo>
                    <a:lnTo>
                      <a:pt x="15" y="7"/>
                    </a:lnTo>
                    <a:lnTo>
                      <a:pt x="11" y="13"/>
                    </a:lnTo>
                    <a:lnTo>
                      <a:pt x="11" y="32"/>
                    </a:lnTo>
                    <a:lnTo>
                      <a:pt x="7" y="36"/>
                    </a:lnTo>
                    <a:lnTo>
                      <a:pt x="6" y="44"/>
                    </a:lnTo>
                    <a:lnTo>
                      <a:pt x="4" y="54"/>
                    </a:lnTo>
                    <a:lnTo>
                      <a:pt x="2" y="61"/>
                    </a:lnTo>
                    <a:lnTo>
                      <a:pt x="0" y="67"/>
                    </a:lnTo>
                    <a:lnTo>
                      <a:pt x="2" y="71"/>
                    </a:lnTo>
                    <a:lnTo>
                      <a:pt x="2" y="77"/>
                    </a:lnTo>
                    <a:lnTo>
                      <a:pt x="0" y="82"/>
                    </a:lnTo>
                    <a:lnTo>
                      <a:pt x="4" y="88"/>
                    </a:lnTo>
                    <a:lnTo>
                      <a:pt x="4" y="96"/>
                    </a:lnTo>
                    <a:lnTo>
                      <a:pt x="0" y="96"/>
                    </a:lnTo>
                    <a:lnTo>
                      <a:pt x="2" y="111"/>
                    </a:lnTo>
                    <a:lnTo>
                      <a:pt x="2" y="123"/>
                    </a:lnTo>
                    <a:lnTo>
                      <a:pt x="4" y="136"/>
                    </a:lnTo>
                    <a:lnTo>
                      <a:pt x="17" y="136"/>
                    </a:lnTo>
                    <a:lnTo>
                      <a:pt x="23" y="138"/>
                    </a:lnTo>
                    <a:lnTo>
                      <a:pt x="25" y="142"/>
                    </a:lnTo>
                    <a:lnTo>
                      <a:pt x="29" y="148"/>
                    </a:lnTo>
                    <a:lnTo>
                      <a:pt x="31" y="150"/>
                    </a:lnTo>
                    <a:lnTo>
                      <a:pt x="44" y="155"/>
                    </a:lnTo>
                    <a:lnTo>
                      <a:pt x="55" y="155"/>
                    </a:lnTo>
                    <a:lnTo>
                      <a:pt x="69" y="150"/>
                    </a:lnTo>
                    <a:lnTo>
                      <a:pt x="73" y="152"/>
                    </a:lnTo>
                    <a:lnTo>
                      <a:pt x="92" y="155"/>
                    </a:lnTo>
                    <a:lnTo>
                      <a:pt x="100" y="148"/>
                    </a:lnTo>
                    <a:lnTo>
                      <a:pt x="113" y="132"/>
                    </a:lnTo>
                    <a:lnTo>
                      <a:pt x="126" y="11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7" name="Freeform 15"/>
              <p:cNvSpPr>
                <a:spLocks/>
              </p:cNvSpPr>
              <p:nvPr/>
            </p:nvSpPr>
            <p:spPr bwMode="gray">
              <a:xfrm>
                <a:off x="2956" y="1780"/>
                <a:ext cx="100" cy="177"/>
              </a:xfrm>
              <a:custGeom>
                <a:avLst/>
                <a:gdLst>
                  <a:gd name="T0" fmla="*/ 46 w 199"/>
                  <a:gd name="T1" fmla="*/ 10 h 354"/>
                  <a:gd name="T2" fmla="*/ 30 w 199"/>
                  <a:gd name="T3" fmla="*/ 20 h 354"/>
                  <a:gd name="T4" fmla="*/ 23 w 199"/>
                  <a:gd name="T5" fmla="*/ 37 h 354"/>
                  <a:gd name="T6" fmla="*/ 11 w 199"/>
                  <a:gd name="T7" fmla="*/ 54 h 354"/>
                  <a:gd name="T8" fmla="*/ 9 w 199"/>
                  <a:gd name="T9" fmla="*/ 62 h 354"/>
                  <a:gd name="T10" fmla="*/ 11 w 199"/>
                  <a:gd name="T11" fmla="*/ 66 h 354"/>
                  <a:gd name="T12" fmla="*/ 9 w 199"/>
                  <a:gd name="T13" fmla="*/ 77 h 354"/>
                  <a:gd name="T14" fmla="*/ 9 w 199"/>
                  <a:gd name="T15" fmla="*/ 85 h 354"/>
                  <a:gd name="T16" fmla="*/ 21 w 199"/>
                  <a:gd name="T17" fmla="*/ 100 h 354"/>
                  <a:gd name="T18" fmla="*/ 11 w 199"/>
                  <a:gd name="T19" fmla="*/ 114 h 354"/>
                  <a:gd name="T20" fmla="*/ 15 w 199"/>
                  <a:gd name="T21" fmla="*/ 125 h 354"/>
                  <a:gd name="T22" fmla="*/ 30 w 199"/>
                  <a:gd name="T23" fmla="*/ 125 h 354"/>
                  <a:gd name="T24" fmla="*/ 23 w 199"/>
                  <a:gd name="T25" fmla="*/ 169 h 354"/>
                  <a:gd name="T26" fmla="*/ 73 w 199"/>
                  <a:gd name="T27" fmla="*/ 166 h 354"/>
                  <a:gd name="T28" fmla="*/ 61 w 199"/>
                  <a:gd name="T29" fmla="*/ 185 h 354"/>
                  <a:gd name="T30" fmla="*/ 84 w 199"/>
                  <a:gd name="T31" fmla="*/ 189 h 354"/>
                  <a:gd name="T32" fmla="*/ 38 w 199"/>
                  <a:gd name="T33" fmla="*/ 216 h 354"/>
                  <a:gd name="T34" fmla="*/ 46 w 199"/>
                  <a:gd name="T35" fmla="*/ 231 h 354"/>
                  <a:gd name="T36" fmla="*/ 36 w 199"/>
                  <a:gd name="T37" fmla="*/ 248 h 354"/>
                  <a:gd name="T38" fmla="*/ 46 w 199"/>
                  <a:gd name="T39" fmla="*/ 262 h 354"/>
                  <a:gd name="T40" fmla="*/ 19 w 199"/>
                  <a:gd name="T41" fmla="*/ 277 h 354"/>
                  <a:gd name="T42" fmla="*/ 42 w 199"/>
                  <a:gd name="T43" fmla="*/ 285 h 354"/>
                  <a:gd name="T44" fmla="*/ 59 w 199"/>
                  <a:gd name="T45" fmla="*/ 292 h 354"/>
                  <a:gd name="T46" fmla="*/ 69 w 199"/>
                  <a:gd name="T47" fmla="*/ 291 h 354"/>
                  <a:gd name="T48" fmla="*/ 84 w 199"/>
                  <a:gd name="T49" fmla="*/ 292 h 354"/>
                  <a:gd name="T50" fmla="*/ 27 w 199"/>
                  <a:gd name="T51" fmla="*/ 321 h 354"/>
                  <a:gd name="T52" fmla="*/ 7 w 199"/>
                  <a:gd name="T53" fmla="*/ 352 h 354"/>
                  <a:gd name="T54" fmla="*/ 23 w 199"/>
                  <a:gd name="T55" fmla="*/ 342 h 354"/>
                  <a:gd name="T56" fmla="*/ 54 w 199"/>
                  <a:gd name="T57" fmla="*/ 339 h 354"/>
                  <a:gd name="T58" fmla="*/ 67 w 199"/>
                  <a:gd name="T59" fmla="*/ 329 h 354"/>
                  <a:gd name="T60" fmla="*/ 90 w 199"/>
                  <a:gd name="T61" fmla="*/ 331 h 354"/>
                  <a:gd name="T62" fmla="*/ 103 w 199"/>
                  <a:gd name="T63" fmla="*/ 321 h 354"/>
                  <a:gd name="T64" fmla="*/ 144 w 199"/>
                  <a:gd name="T65" fmla="*/ 321 h 354"/>
                  <a:gd name="T66" fmla="*/ 176 w 199"/>
                  <a:gd name="T67" fmla="*/ 316 h 354"/>
                  <a:gd name="T68" fmla="*/ 176 w 199"/>
                  <a:gd name="T69" fmla="*/ 302 h 354"/>
                  <a:gd name="T70" fmla="*/ 167 w 199"/>
                  <a:gd name="T71" fmla="*/ 298 h 354"/>
                  <a:gd name="T72" fmla="*/ 178 w 199"/>
                  <a:gd name="T73" fmla="*/ 283 h 354"/>
                  <a:gd name="T74" fmla="*/ 196 w 199"/>
                  <a:gd name="T75" fmla="*/ 273 h 354"/>
                  <a:gd name="T76" fmla="*/ 192 w 199"/>
                  <a:gd name="T77" fmla="*/ 243 h 354"/>
                  <a:gd name="T78" fmla="*/ 173 w 199"/>
                  <a:gd name="T79" fmla="*/ 239 h 354"/>
                  <a:gd name="T80" fmla="*/ 163 w 199"/>
                  <a:gd name="T81" fmla="*/ 246 h 354"/>
                  <a:gd name="T82" fmla="*/ 161 w 199"/>
                  <a:gd name="T83" fmla="*/ 223 h 354"/>
                  <a:gd name="T84" fmla="*/ 153 w 199"/>
                  <a:gd name="T85" fmla="*/ 216 h 354"/>
                  <a:gd name="T86" fmla="*/ 161 w 199"/>
                  <a:gd name="T87" fmla="*/ 208 h 354"/>
                  <a:gd name="T88" fmla="*/ 136 w 199"/>
                  <a:gd name="T89" fmla="*/ 185 h 354"/>
                  <a:gd name="T90" fmla="*/ 121 w 199"/>
                  <a:gd name="T91" fmla="*/ 175 h 354"/>
                  <a:gd name="T92" fmla="*/ 109 w 199"/>
                  <a:gd name="T93" fmla="*/ 146 h 354"/>
                  <a:gd name="T94" fmla="*/ 94 w 199"/>
                  <a:gd name="T95" fmla="*/ 131 h 354"/>
                  <a:gd name="T96" fmla="*/ 77 w 199"/>
                  <a:gd name="T97" fmla="*/ 120 h 354"/>
                  <a:gd name="T98" fmla="*/ 80 w 199"/>
                  <a:gd name="T99" fmla="*/ 93 h 354"/>
                  <a:gd name="T100" fmla="*/ 100 w 199"/>
                  <a:gd name="T101" fmla="*/ 77 h 354"/>
                  <a:gd name="T102" fmla="*/ 54 w 199"/>
                  <a:gd name="T103" fmla="*/ 54 h 354"/>
                  <a:gd name="T104" fmla="*/ 46 w 199"/>
                  <a:gd name="T105" fmla="*/ 50 h 354"/>
                  <a:gd name="T106" fmla="*/ 50 w 199"/>
                  <a:gd name="T107" fmla="*/ 35 h 354"/>
                  <a:gd name="T108" fmla="*/ 65 w 199"/>
                  <a:gd name="T109" fmla="*/ 20 h 354"/>
                  <a:gd name="T110" fmla="*/ 71 w 199"/>
                  <a:gd name="T111" fmla="*/ 6 h 354"/>
                  <a:gd name="T112" fmla="*/ 59 w 199"/>
                  <a:gd name="T113" fmla="*/ 0 h 35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99"/>
                  <a:gd name="T172" fmla="*/ 0 h 354"/>
                  <a:gd name="T173" fmla="*/ 199 w 199"/>
                  <a:gd name="T174" fmla="*/ 354 h 35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99" h="354">
                    <a:moveTo>
                      <a:pt x="54" y="0"/>
                    </a:moveTo>
                    <a:lnTo>
                      <a:pt x="50" y="4"/>
                    </a:lnTo>
                    <a:lnTo>
                      <a:pt x="46" y="10"/>
                    </a:lnTo>
                    <a:lnTo>
                      <a:pt x="42" y="12"/>
                    </a:lnTo>
                    <a:lnTo>
                      <a:pt x="30" y="4"/>
                    </a:lnTo>
                    <a:lnTo>
                      <a:pt x="30" y="20"/>
                    </a:lnTo>
                    <a:lnTo>
                      <a:pt x="23" y="23"/>
                    </a:lnTo>
                    <a:lnTo>
                      <a:pt x="21" y="31"/>
                    </a:lnTo>
                    <a:lnTo>
                      <a:pt x="23" y="37"/>
                    </a:lnTo>
                    <a:lnTo>
                      <a:pt x="23" y="43"/>
                    </a:lnTo>
                    <a:lnTo>
                      <a:pt x="11" y="43"/>
                    </a:lnTo>
                    <a:lnTo>
                      <a:pt x="11" y="54"/>
                    </a:lnTo>
                    <a:lnTo>
                      <a:pt x="7" y="54"/>
                    </a:lnTo>
                    <a:lnTo>
                      <a:pt x="9" y="56"/>
                    </a:lnTo>
                    <a:lnTo>
                      <a:pt x="9" y="62"/>
                    </a:lnTo>
                    <a:lnTo>
                      <a:pt x="11" y="66"/>
                    </a:lnTo>
                    <a:lnTo>
                      <a:pt x="17" y="66"/>
                    </a:lnTo>
                    <a:lnTo>
                      <a:pt x="11" y="66"/>
                    </a:lnTo>
                    <a:lnTo>
                      <a:pt x="15" y="70"/>
                    </a:lnTo>
                    <a:lnTo>
                      <a:pt x="7" y="73"/>
                    </a:lnTo>
                    <a:lnTo>
                      <a:pt x="9" y="77"/>
                    </a:lnTo>
                    <a:lnTo>
                      <a:pt x="15" y="81"/>
                    </a:lnTo>
                    <a:lnTo>
                      <a:pt x="13" y="83"/>
                    </a:lnTo>
                    <a:lnTo>
                      <a:pt x="9" y="85"/>
                    </a:lnTo>
                    <a:lnTo>
                      <a:pt x="7" y="85"/>
                    </a:lnTo>
                    <a:lnTo>
                      <a:pt x="7" y="100"/>
                    </a:lnTo>
                    <a:lnTo>
                      <a:pt x="21" y="100"/>
                    </a:lnTo>
                    <a:lnTo>
                      <a:pt x="19" y="104"/>
                    </a:lnTo>
                    <a:lnTo>
                      <a:pt x="11" y="108"/>
                    </a:lnTo>
                    <a:lnTo>
                      <a:pt x="11" y="114"/>
                    </a:lnTo>
                    <a:lnTo>
                      <a:pt x="13" y="118"/>
                    </a:lnTo>
                    <a:lnTo>
                      <a:pt x="11" y="129"/>
                    </a:lnTo>
                    <a:lnTo>
                      <a:pt x="15" y="125"/>
                    </a:lnTo>
                    <a:lnTo>
                      <a:pt x="19" y="116"/>
                    </a:lnTo>
                    <a:lnTo>
                      <a:pt x="30" y="116"/>
                    </a:lnTo>
                    <a:lnTo>
                      <a:pt x="30" y="125"/>
                    </a:lnTo>
                    <a:lnTo>
                      <a:pt x="29" y="133"/>
                    </a:lnTo>
                    <a:lnTo>
                      <a:pt x="27" y="152"/>
                    </a:lnTo>
                    <a:lnTo>
                      <a:pt x="23" y="169"/>
                    </a:lnTo>
                    <a:lnTo>
                      <a:pt x="38" y="168"/>
                    </a:lnTo>
                    <a:lnTo>
                      <a:pt x="52" y="168"/>
                    </a:lnTo>
                    <a:lnTo>
                      <a:pt x="73" y="166"/>
                    </a:lnTo>
                    <a:lnTo>
                      <a:pt x="69" y="171"/>
                    </a:lnTo>
                    <a:lnTo>
                      <a:pt x="65" y="179"/>
                    </a:lnTo>
                    <a:lnTo>
                      <a:pt x="61" y="185"/>
                    </a:lnTo>
                    <a:lnTo>
                      <a:pt x="67" y="187"/>
                    </a:lnTo>
                    <a:lnTo>
                      <a:pt x="75" y="187"/>
                    </a:lnTo>
                    <a:lnTo>
                      <a:pt x="84" y="189"/>
                    </a:lnTo>
                    <a:lnTo>
                      <a:pt x="78" y="214"/>
                    </a:lnTo>
                    <a:lnTo>
                      <a:pt x="67" y="221"/>
                    </a:lnTo>
                    <a:lnTo>
                      <a:pt x="38" y="216"/>
                    </a:lnTo>
                    <a:lnTo>
                      <a:pt x="38" y="227"/>
                    </a:lnTo>
                    <a:lnTo>
                      <a:pt x="42" y="227"/>
                    </a:lnTo>
                    <a:lnTo>
                      <a:pt x="46" y="231"/>
                    </a:lnTo>
                    <a:lnTo>
                      <a:pt x="34" y="243"/>
                    </a:lnTo>
                    <a:lnTo>
                      <a:pt x="30" y="250"/>
                    </a:lnTo>
                    <a:lnTo>
                      <a:pt x="36" y="248"/>
                    </a:lnTo>
                    <a:lnTo>
                      <a:pt x="40" y="246"/>
                    </a:lnTo>
                    <a:lnTo>
                      <a:pt x="46" y="246"/>
                    </a:lnTo>
                    <a:lnTo>
                      <a:pt x="46" y="262"/>
                    </a:lnTo>
                    <a:lnTo>
                      <a:pt x="36" y="267"/>
                    </a:lnTo>
                    <a:lnTo>
                      <a:pt x="29" y="271"/>
                    </a:lnTo>
                    <a:lnTo>
                      <a:pt x="19" y="277"/>
                    </a:lnTo>
                    <a:lnTo>
                      <a:pt x="23" y="291"/>
                    </a:lnTo>
                    <a:lnTo>
                      <a:pt x="29" y="292"/>
                    </a:lnTo>
                    <a:lnTo>
                      <a:pt x="42" y="285"/>
                    </a:lnTo>
                    <a:lnTo>
                      <a:pt x="42" y="296"/>
                    </a:lnTo>
                    <a:lnTo>
                      <a:pt x="52" y="294"/>
                    </a:lnTo>
                    <a:lnTo>
                      <a:pt x="59" y="292"/>
                    </a:lnTo>
                    <a:lnTo>
                      <a:pt x="65" y="292"/>
                    </a:lnTo>
                    <a:lnTo>
                      <a:pt x="67" y="291"/>
                    </a:lnTo>
                    <a:lnTo>
                      <a:pt x="69" y="291"/>
                    </a:lnTo>
                    <a:lnTo>
                      <a:pt x="73" y="289"/>
                    </a:lnTo>
                    <a:lnTo>
                      <a:pt x="88" y="289"/>
                    </a:lnTo>
                    <a:lnTo>
                      <a:pt x="84" y="292"/>
                    </a:lnTo>
                    <a:lnTo>
                      <a:pt x="80" y="304"/>
                    </a:lnTo>
                    <a:lnTo>
                      <a:pt x="38" y="304"/>
                    </a:lnTo>
                    <a:lnTo>
                      <a:pt x="27" y="321"/>
                    </a:lnTo>
                    <a:lnTo>
                      <a:pt x="15" y="337"/>
                    </a:lnTo>
                    <a:lnTo>
                      <a:pt x="0" y="350"/>
                    </a:lnTo>
                    <a:lnTo>
                      <a:pt x="7" y="352"/>
                    </a:lnTo>
                    <a:lnTo>
                      <a:pt x="13" y="354"/>
                    </a:lnTo>
                    <a:lnTo>
                      <a:pt x="23" y="354"/>
                    </a:lnTo>
                    <a:lnTo>
                      <a:pt x="23" y="342"/>
                    </a:lnTo>
                    <a:lnTo>
                      <a:pt x="38" y="335"/>
                    </a:lnTo>
                    <a:lnTo>
                      <a:pt x="48" y="335"/>
                    </a:lnTo>
                    <a:lnTo>
                      <a:pt x="54" y="339"/>
                    </a:lnTo>
                    <a:lnTo>
                      <a:pt x="61" y="339"/>
                    </a:lnTo>
                    <a:lnTo>
                      <a:pt x="63" y="335"/>
                    </a:lnTo>
                    <a:lnTo>
                      <a:pt x="67" y="329"/>
                    </a:lnTo>
                    <a:lnTo>
                      <a:pt x="69" y="327"/>
                    </a:lnTo>
                    <a:lnTo>
                      <a:pt x="80" y="327"/>
                    </a:lnTo>
                    <a:lnTo>
                      <a:pt x="90" y="331"/>
                    </a:lnTo>
                    <a:lnTo>
                      <a:pt x="100" y="331"/>
                    </a:lnTo>
                    <a:lnTo>
                      <a:pt x="102" y="327"/>
                    </a:lnTo>
                    <a:lnTo>
                      <a:pt x="103" y="321"/>
                    </a:lnTo>
                    <a:lnTo>
                      <a:pt x="107" y="319"/>
                    </a:lnTo>
                    <a:lnTo>
                      <a:pt x="125" y="319"/>
                    </a:lnTo>
                    <a:lnTo>
                      <a:pt x="144" y="321"/>
                    </a:lnTo>
                    <a:lnTo>
                      <a:pt x="161" y="323"/>
                    </a:lnTo>
                    <a:lnTo>
                      <a:pt x="167" y="321"/>
                    </a:lnTo>
                    <a:lnTo>
                      <a:pt x="176" y="316"/>
                    </a:lnTo>
                    <a:lnTo>
                      <a:pt x="184" y="312"/>
                    </a:lnTo>
                    <a:lnTo>
                      <a:pt x="184" y="304"/>
                    </a:lnTo>
                    <a:lnTo>
                      <a:pt x="176" y="302"/>
                    </a:lnTo>
                    <a:lnTo>
                      <a:pt x="171" y="304"/>
                    </a:lnTo>
                    <a:lnTo>
                      <a:pt x="165" y="304"/>
                    </a:lnTo>
                    <a:lnTo>
                      <a:pt x="167" y="298"/>
                    </a:lnTo>
                    <a:lnTo>
                      <a:pt x="169" y="291"/>
                    </a:lnTo>
                    <a:lnTo>
                      <a:pt x="173" y="285"/>
                    </a:lnTo>
                    <a:lnTo>
                      <a:pt x="178" y="283"/>
                    </a:lnTo>
                    <a:lnTo>
                      <a:pt x="186" y="283"/>
                    </a:lnTo>
                    <a:lnTo>
                      <a:pt x="192" y="281"/>
                    </a:lnTo>
                    <a:lnTo>
                      <a:pt x="196" y="273"/>
                    </a:lnTo>
                    <a:lnTo>
                      <a:pt x="199" y="254"/>
                    </a:lnTo>
                    <a:lnTo>
                      <a:pt x="196" y="250"/>
                    </a:lnTo>
                    <a:lnTo>
                      <a:pt x="192" y="243"/>
                    </a:lnTo>
                    <a:lnTo>
                      <a:pt x="184" y="241"/>
                    </a:lnTo>
                    <a:lnTo>
                      <a:pt x="178" y="241"/>
                    </a:lnTo>
                    <a:lnTo>
                      <a:pt x="173" y="239"/>
                    </a:lnTo>
                    <a:lnTo>
                      <a:pt x="169" y="250"/>
                    </a:lnTo>
                    <a:lnTo>
                      <a:pt x="165" y="248"/>
                    </a:lnTo>
                    <a:lnTo>
                      <a:pt x="163" y="246"/>
                    </a:lnTo>
                    <a:lnTo>
                      <a:pt x="157" y="246"/>
                    </a:lnTo>
                    <a:lnTo>
                      <a:pt x="157" y="241"/>
                    </a:lnTo>
                    <a:lnTo>
                      <a:pt x="161" y="223"/>
                    </a:lnTo>
                    <a:lnTo>
                      <a:pt x="155" y="221"/>
                    </a:lnTo>
                    <a:lnTo>
                      <a:pt x="153" y="221"/>
                    </a:lnTo>
                    <a:lnTo>
                      <a:pt x="153" y="216"/>
                    </a:lnTo>
                    <a:lnTo>
                      <a:pt x="157" y="216"/>
                    </a:lnTo>
                    <a:lnTo>
                      <a:pt x="161" y="214"/>
                    </a:lnTo>
                    <a:lnTo>
                      <a:pt x="161" y="208"/>
                    </a:lnTo>
                    <a:lnTo>
                      <a:pt x="153" y="208"/>
                    </a:lnTo>
                    <a:lnTo>
                      <a:pt x="146" y="200"/>
                    </a:lnTo>
                    <a:lnTo>
                      <a:pt x="136" y="185"/>
                    </a:lnTo>
                    <a:lnTo>
                      <a:pt x="130" y="177"/>
                    </a:lnTo>
                    <a:lnTo>
                      <a:pt x="125" y="175"/>
                    </a:lnTo>
                    <a:lnTo>
                      <a:pt x="121" y="175"/>
                    </a:lnTo>
                    <a:lnTo>
                      <a:pt x="119" y="173"/>
                    </a:lnTo>
                    <a:lnTo>
                      <a:pt x="113" y="160"/>
                    </a:lnTo>
                    <a:lnTo>
                      <a:pt x="109" y="146"/>
                    </a:lnTo>
                    <a:lnTo>
                      <a:pt x="103" y="133"/>
                    </a:lnTo>
                    <a:lnTo>
                      <a:pt x="100" y="131"/>
                    </a:lnTo>
                    <a:lnTo>
                      <a:pt x="94" y="131"/>
                    </a:lnTo>
                    <a:lnTo>
                      <a:pt x="92" y="129"/>
                    </a:lnTo>
                    <a:lnTo>
                      <a:pt x="92" y="120"/>
                    </a:lnTo>
                    <a:lnTo>
                      <a:pt x="77" y="120"/>
                    </a:lnTo>
                    <a:lnTo>
                      <a:pt x="82" y="112"/>
                    </a:lnTo>
                    <a:lnTo>
                      <a:pt x="88" y="100"/>
                    </a:lnTo>
                    <a:lnTo>
                      <a:pt x="80" y="93"/>
                    </a:lnTo>
                    <a:lnTo>
                      <a:pt x="86" y="89"/>
                    </a:lnTo>
                    <a:lnTo>
                      <a:pt x="94" y="83"/>
                    </a:lnTo>
                    <a:lnTo>
                      <a:pt x="100" y="77"/>
                    </a:lnTo>
                    <a:lnTo>
                      <a:pt x="100" y="48"/>
                    </a:lnTo>
                    <a:lnTo>
                      <a:pt x="77" y="48"/>
                    </a:lnTo>
                    <a:lnTo>
                      <a:pt x="54" y="54"/>
                    </a:lnTo>
                    <a:lnTo>
                      <a:pt x="50" y="52"/>
                    </a:lnTo>
                    <a:lnTo>
                      <a:pt x="50" y="50"/>
                    </a:lnTo>
                    <a:lnTo>
                      <a:pt x="46" y="50"/>
                    </a:lnTo>
                    <a:lnTo>
                      <a:pt x="48" y="46"/>
                    </a:lnTo>
                    <a:lnTo>
                      <a:pt x="48" y="39"/>
                    </a:lnTo>
                    <a:lnTo>
                      <a:pt x="50" y="35"/>
                    </a:lnTo>
                    <a:lnTo>
                      <a:pt x="55" y="31"/>
                    </a:lnTo>
                    <a:lnTo>
                      <a:pt x="57" y="33"/>
                    </a:lnTo>
                    <a:lnTo>
                      <a:pt x="65" y="20"/>
                    </a:lnTo>
                    <a:lnTo>
                      <a:pt x="73" y="20"/>
                    </a:lnTo>
                    <a:lnTo>
                      <a:pt x="73" y="14"/>
                    </a:lnTo>
                    <a:lnTo>
                      <a:pt x="71" y="6"/>
                    </a:lnTo>
                    <a:lnTo>
                      <a:pt x="69" y="4"/>
                    </a:lnTo>
                    <a:lnTo>
                      <a:pt x="65" y="4"/>
                    </a:lnTo>
                    <a:lnTo>
                      <a:pt x="59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8" name="Freeform 16"/>
              <p:cNvSpPr>
                <a:spLocks/>
              </p:cNvSpPr>
              <p:nvPr/>
            </p:nvSpPr>
            <p:spPr bwMode="gray">
              <a:xfrm>
                <a:off x="2944" y="1784"/>
                <a:ext cx="12" cy="19"/>
              </a:xfrm>
              <a:custGeom>
                <a:avLst/>
                <a:gdLst>
                  <a:gd name="T0" fmla="*/ 15 w 23"/>
                  <a:gd name="T1" fmla="*/ 0 h 38"/>
                  <a:gd name="T2" fmla="*/ 6 w 23"/>
                  <a:gd name="T3" fmla="*/ 12 h 38"/>
                  <a:gd name="T4" fmla="*/ 0 w 23"/>
                  <a:gd name="T5" fmla="*/ 31 h 38"/>
                  <a:gd name="T6" fmla="*/ 4 w 23"/>
                  <a:gd name="T7" fmla="*/ 38 h 38"/>
                  <a:gd name="T8" fmla="*/ 15 w 23"/>
                  <a:gd name="T9" fmla="*/ 25 h 38"/>
                  <a:gd name="T10" fmla="*/ 23 w 23"/>
                  <a:gd name="T11" fmla="*/ 6 h 38"/>
                  <a:gd name="T12" fmla="*/ 15 w 23"/>
                  <a:gd name="T13" fmla="*/ 0 h 3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"/>
                  <a:gd name="T22" fmla="*/ 0 h 38"/>
                  <a:gd name="T23" fmla="*/ 23 w 23"/>
                  <a:gd name="T24" fmla="*/ 38 h 3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" h="38">
                    <a:moveTo>
                      <a:pt x="15" y="0"/>
                    </a:moveTo>
                    <a:lnTo>
                      <a:pt x="6" y="12"/>
                    </a:lnTo>
                    <a:lnTo>
                      <a:pt x="0" y="31"/>
                    </a:lnTo>
                    <a:lnTo>
                      <a:pt x="4" y="38"/>
                    </a:lnTo>
                    <a:lnTo>
                      <a:pt x="15" y="25"/>
                    </a:lnTo>
                    <a:lnTo>
                      <a:pt x="23" y="6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29" name="Freeform 17"/>
              <p:cNvSpPr>
                <a:spLocks/>
              </p:cNvSpPr>
              <p:nvPr/>
            </p:nvSpPr>
            <p:spPr bwMode="gray">
              <a:xfrm>
                <a:off x="2948" y="1805"/>
                <a:ext cx="11" cy="15"/>
              </a:xfrm>
              <a:custGeom>
                <a:avLst/>
                <a:gdLst>
                  <a:gd name="T0" fmla="*/ 8 w 22"/>
                  <a:gd name="T1" fmla="*/ 0 h 29"/>
                  <a:gd name="T2" fmla="*/ 6 w 22"/>
                  <a:gd name="T3" fmla="*/ 4 h 29"/>
                  <a:gd name="T4" fmla="*/ 2 w 22"/>
                  <a:gd name="T5" fmla="*/ 8 h 29"/>
                  <a:gd name="T6" fmla="*/ 0 w 22"/>
                  <a:gd name="T7" fmla="*/ 12 h 29"/>
                  <a:gd name="T8" fmla="*/ 4 w 22"/>
                  <a:gd name="T9" fmla="*/ 16 h 29"/>
                  <a:gd name="T10" fmla="*/ 8 w 22"/>
                  <a:gd name="T11" fmla="*/ 27 h 29"/>
                  <a:gd name="T12" fmla="*/ 14 w 22"/>
                  <a:gd name="T13" fmla="*/ 29 h 29"/>
                  <a:gd name="T14" fmla="*/ 22 w 22"/>
                  <a:gd name="T15" fmla="*/ 29 h 29"/>
                  <a:gd name="T16" fmla="*/ 20 w 22"/>
                  <a:gd name="T17" fmla="*/ 23 h 29"/>
                  <a:gd name="T18" fmla="*/ 12 w 22"/>
                  <a:gd name="T19" fmla="*/ 23 h 29"/>
                  <a:gd name="T20" fmla="*/ 10 w 22"/>
                  <a:gd name="T21" fmla="*/ 14 h 29"/>
                  <a:gd name="T22" fmla="*/ 8 w 22"/>
                  <a:gd name="T23" fmla="*/ 6 h 29"/>
                  <a:gd name="T24" fmla="*/ 8 w 22"/>
                  <a:gd name="T25" fmla="*/ 0 h 2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2"/>
                  <a:gd name="T40" fmla="*/ 0 h 29"/>
                  <a:gd name="T41" fmla="*/ 22 w 22"/>
                  <a:gd name="T42" fmla="*/ 29 h 2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2" h="29">
                    <a:moveTo>
                      <a:pt x="8" y="0"/>
                    </a:moveTo>
                    <a:lnTo>
                      <a:pt x="6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8" y="27"/>
                    </a:lnTo>
                    <a:lnTo>
                      <a:pt x="14" y="29"/>
                    </a:lnTo>
                    <a:lnTo>
                      <a:pt x="22" y="29"/>
                    </a:lnTo>
                    <a:lnTo>
                      <a:pt x="20" y="23"/>
                    </a:lnTo>
                    <a:lnTo>
                      <a:pt x="12" y="23"/>
                    </a:lnTo>
                    <a:lnTo>
                      <a:pt x="10" y="14"/>
                    </a:lnTo>
                    <a:lnTo>
                      <a:pt x="8" y="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0" name="Freeform 18"/>
              <p:cNvSpPr>
                <a:spLocks/>
              </p:cNvSpPr>
              <p:nvPr/>
            </p:nvSpPr>
            <p:spPr bwMode="gray">
              <a:xfrm>
                <a:off x="2952" y="1828"/>
                <a:ext cx="6" cy="8"/>
              </a:xfrm>
              <a:custGeom>
                <a:avLst/>
                <a:gdLst>
                  <a:gd name="T0" fmla="*/ 0 w 12"/>
                  <a:gd name="T1" fmla="*/ 0 h 16"/>
                  <a:gd name="T2" fmla="*/ 0 w 12"/>
                  <a:gd name="T3" fmla="*/ 4 h 16"/>
                  <a:gd name="T4" fmla="*/ 2 w 12"/>
                  <a:gd name="T5" fmla="*/ 12 h 16"/>
                  <a:gd name="T6" fmla="*/ 4 w 12"/>
                  <a:gd name="T7" fmla="*/ 16 h 16"/>
                  <a:gd name="T8" fmla="*/ 12 w 12"/>
                  <a:gd name="T9" fmla="*/ 14 h 16"/>
                  <a:gd name="T10" fmla="*/ 10 w 12"/>
                  <a:gd name="T11" fmla="*/ 8 h 16"/>
                  <a:gd name="T12" fmla="*/ 0 w 12"/>
                  <a:gd name="T13" fmla="*/ 0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16"/>
                  <a:gd name="T23" fmla="*/ 12 w 12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16">
                    <a:moveTo>
                      <a:pt x="0" y="0"/>
                    </a:moveTo>
                    <a:lnTo>
                      <a:pt x="0" y="4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2" y="14"/>
                    </a:lnTo>
                    <a:lnTo>
                      <a:pt x="10" y="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1" name="Freeform 19"/>
              <p:cNvSpPr>
                <a:spLocks/>
              </p:cNvSpPr>
              <p:nvPr/>
            </p:nvSpPr>
            <p:spPr bwMode="gray">
              <a:xfrm>
                <a:off x="2956" y="1836"/>
                <a:ext cx="3" cy="7"/>
              </a:xfrm>
              <a:custGeom>
                <a:avLst/>
                <a:gdLst>
                  <a:gd name="T0" fmla="*/ 4 w 6"/>
                  <a:gd name="T1" fmla="*/ 0 h 13"/>
                  <a:gd name="T2" fmla="*/ 2 w 6"/>
                  <a:gd name="T3" fmla="*/ 4 h 13"/>
                  <a:gd name="T4" fmla="*/ 0 w 6"/>
                  <a:gd name="T5" fmla="*/ 13 h 13"/>
                  <a:gd name="T6" fmla="*/ 4 w 6"/>
                  <a:gd name="T7" fmla="*/ 13 h 13"/>
                  <a:gd name="T8" fmla="*/ 6 w 6"/>
                  <a:gd name="T9" fmla="*/ 8 h 13"/>
                  <a:gd name="T10" fmla="*/ 6 w 6"/>
                  <a:gd name="T11" fmla="*/ 0 h 13"/>
                  <a:gd name="T12" fmla="*/ 4 w 6"/>
                  <a:gd name="T13" fmla="*/ 0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3"/>
                  <a:gd name="T23" fmla="*/ 6 w 6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3">
                    <a:moveTo>
                      <a:pt x="4" y="0"/>
                    </a:moveTo>
                    <a:lnTo>
                      <a:pt x="2" y="4"/>
                    </a:lnTo>
                    <a:lnTo>
                      <a:pt x="0" y="13"/>
                    </a:lnTo>
                    <a:lnTo>
                      <a:pt x="4" y="13"/>
                    </a:lnTo>
                    <a:lnTo>
                      <a:pt x="6" y="8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2" name="Freeform 20"/>
              <p:cNvSpPr>
                <a:spLocks/>
              </p:cNvSpPr>
              <p:nvPr/>
            </p:nvSpPr>
            <p:spPr bwMode="gray">
              <a:xfrm>
                <a:off x="2934" y="1859"/>
                <a:ext cx="30" cy="21"/>
              </a:xfrm>
              <a:custGeom>
                <a:avLst/>
                <a:gdLst>
                  <a:gd name="T0" fmla="*/ 23 w 59"/>
                  <a:gd name="T1" fmla="*/ 2 h 42"/>
                  <a:gd name="T2" fmla="*/ 19 w 59"/>
                  <a:gd name="T3" fmla="*/ 2 h 42"/>
                  <a:gd name="T4" fmla="*/ 13 w 59"/>
                  <a:gd name="T5" fmla="*/ 8 h 42"/>
                  <a:gd name="T6" fmla="*/ 9 w 59"/>
                  <a:gd name="T7" fmla="*/ 13 h 42"/>
                  <a:gd name="T8" fmla="*/ 7 w 59"/>
                  <a:gd name="T9" fmla="*/ 19 h 42"/>
                  <a:gd name="T10" fmla="*/ 2 w 59"/>
                  <a:gd name="T11" fmla="*/ 21 h 42"/>
                  <a:gd name="T12" fmla="*/ 0 w 59"/>
                  <a:gd name="T13" fmla="*/ 25 h 42"/>
                  <a:gd name="T14" fmla="*/ 2 w 59"/>
                  <a:gd name="T15" fmla="*/ 29 h 42"/>
                  <a:gd name="T16" fmla="*/ 2 w 59"/>
                  <a:gd name="T17" fmla="*/ 31 h 42"/>
                  <a:gd name="T18" fmla="*/ 5 w 59"/>
                  <a:gd name="T19" fmla="*/ 31 h 42"/>
                  <a:gd name="T20" fmla="*/ 9 w 59"/>
                  <a:gd name="T21" fmla="*/ 35 h 42"/>
                  <a:gd name="T22" fmla="*/ 11 w 59"/>
                  <a:gd name="T23" fmla="*/ 40 h 42"/>
                  <a:gd name="T24" fmla="*/ 15 w 59"/>
                  <a:gd name="T25" fmla="*/ 40 h 42"/>
                  <a:gd name="T26" fmla="*/ 19 w 59"/>
                  <a:gd name="T27" fmla="*/ 36 h 42"/>
                  <a:gd name="T28" fmla="*/ 21 w 59"/>
                  <a:gd name="T29" fmla="*/ 36 h 42"/>
                  <a:gd name="T30" fmla="*/ 27 w 59"/>
                  <a:gd name="T31" fmla="*/ 42 h 42"/>
                  <a:gd name="T32" fmla="*/ 38 w 59"/>
                  <a:gd name="T33" fmla="*/ 40 h 42"/>
                  <a:gd name="T34" fmla="*/ 44 w 59"/>
                  <a:gd name="T35" fmla="*/ 35 h 42"/>
                  <a:gd name="T36" fmla="*/ 59 w 59"/>
                  <a:gd name="T37" fmla="*/ 35 h 42"/>
                  <a:gd name="T38" fmla="*/ 57 w 59"/>
                  <a:gd name="T39" fmla="*/ 31 h 42"/>
                  <a:gd name="T40" fmla="*/ 51 w 59"/>
                  <a:gd name="T41" fmla="*/ 31 h 42"/>
                  <a:gd name="T42" fmla="*/ 51 w 59"/>
                  <a:gd name="T43" fmla="*/ 15 h 42"/>
                  <a:gd name="T44" fmla="*/ 44 w 59"/>
                  <a:gd name="T45" fmla="*/ 15 h 42"/>
                  <a:gd name="T46" fmla="*/ 46 w 59"/>
                  <a:gd name="T47" fmla="*/ 10 h 42"/>
                  <a:gd name="T48" fmla="*/ 48 w 59"/>
                  <a:gd name="T49" fmla="*/ 2 h 42"/>
                  <a:gd name="T50" fmla="*/ 36 w 59"/>
                  <a:gd name="T51" fmla="*/ 0 h 42"/>
                  <a:gd name="T52" fmla="*/ 30 w 59"/>
                  <a:gd name="T53" fmla="*/ 2 h 42"/>
                  <a:gd name="T54" fmla="*/ 23 w 59"/>
                  <a:gd name="T55" fmla="*/ 8 h 42"/>
                  <a:gd name="T56" fmla="*/ 17 w 59"/>
                  <a:gd name="T57" fmla="*/ 11 h 42"/>
                  <a:gd name="T58" fmla="*/ 21 w 59"/>
                  <a:gd name="T59" fmla="*/ 6 h 42"/>
                  <a:gd name="T60" fmla="*/ 23 w 59"/>
                  <a:gd name="T61" fmla="*/ 2 h 4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59"/>
                  <a:gd name="T94" fmla="*/ 0 h 42"/>
                  <a:gd name="T95" fmla="*/ 59 w 59"/>
                  <a:gd name="T96" fmla="*/ 42 h 42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59" h="42">
                    <a:moveTo>
                      <a:pt x="23" y="2"/>
                    </a:moveTo>
                    <a:lnTo>
                      <a:pt x="19" y="2"/>
                    </a:lnTo>
                    <a:lnTo>
                      <a:pt x="13" y="8"/>
                    </a:lnTo>
                    <a:lnTo>
                      <a:pt x="9" y="13"/>
                    </a:lnTo>
                    <a:lnTo>
                      <a:pt x="7" y="19"/>
                    </a:lnTo>
                    <a:lnTo>
                      <a:pt x="2" y="21"/>
                    </a:lnTo>
                    <a:lnTo>
                      <a:pt x="0" y="25"/>
                    </a:lnTo>
                    <a:lnTo>
                      <a:pt x="2" y="29"/>
                    </a:lnTo>
                    <a:lnTo>
                      <a:pt x="2" y="31"/>
                    </a:lnTo>
                    <a:lnTo>
                      <a:pt x="5" y="31"/>
                    </a:lnTo>
                    <a:lnTo>
                      <a:pt x="9" y="35"/>
                    </a:lnTo>
                    <a:lnTo>
                      <a:pt x="11" y="40"/>
                    </a:lnTo>
                    <a:lnTo>
                      <a:pt x="15" y="40"/>
                    </a:lnTo>
                    <a:lnTo>
                      <a:pt x="19" y="36"/>
                    </a:lnTo>
                    <a:lnTo>
                      <a:pt x="21" y="36"/>
                    </a:lnTo>
                    <a:lnTo>
                      <a:pt x="27" y="42"/>
                    </a:lnTo>
                    <a:lnTo>
                      <a:pt x="38" y="40"/>
                    </a:lnTo>
                    <a:lnTo>
                      <a:pt x="44" y="35"/>
                    </a:lnTo>
                    <a:lnTo>
                      <a:pt x="59" y="35"/>
                    </a:lnTo>
                    <a:lnTo>
                      <a:pt x="57" y="31"/>
                    </a:lnTo>
                    <a:lnTo>
                      <a:pt x="51" y="31"/>
                    </a:lnTo>
                    <a:lnTo>
                      <a:pt x="51" y="15"/>
                    </a:lnTo>
                    <a:lnTo>
                      <a:pt x="44" y="15"/>
                    </a:lnTo>
                    <a:lnTo>
                      <a:pt x="46" y="10"/>
                    </a:lnTo>
                    <a:lnTo>
                      <a:pt x="48" y="2"/>
                    </a:lnTo>
                    <a:lnTo>
                      <a:pt x="36" y="0"/>
                    </a:lnTo>
                    <a:lnTo>
                      <a:pt x="30" y="2"/>
                    </a:lnTo>
                    <a:lnTo>
                      <a:pt x="23" y="8"/>
                    </a:lnTo>
                    <a:lnTo>
                      <a:pt x="17" y="11"/>
                    </a:lnTo>
                    <a:lnTo>
                      <a:pt x="21" y="6"/>
                    </a:lnTo>
                    <a:lnTo>
                      <a:pt x="23" y="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3" name="Freeform 21"/>
              <p:cNvSpPr>
                <a:spLocks/>
              </p:cNvSpPr>
              <p:nvPr/>
            </p:nvSpPr>
            <p:spPr bwMode="gray">
              <a:xfrm>
                <a:off x="3666" y="2377"/>
                <a:ext cx="67" cy="45"/>
              </a:xfrm>
              <a:custGeom>
                <a:avLst/>
                <a:gdLst>
                  <a:gd name="T0" fmla="*/ 0 w 134"/>
                  <a:gd name="T1" fmla="*/ 23 h 90"/>
                  <a:gd name="T2" fmla="*/ 0 w 134"/>
                  <a:gd name="T3" fmla="*/ 34 h 90"/>
                  <a:gd name="T4" fmla="*/ 12 w 134"/>
                  <a:gd name="T5" fmla="*/ 50 h 90"/>
                  <a:gd name="T6" fmla="*/ 14 w 134"/>
                  <a:gd name="T7" fmla="*/ 75 h 90"/>
                  <a:gd name="T8" fmla="*/ 71 w 134"/>
                  <a:gd name="T9" fmla="*/ 86 h 90"/>
                  <a:gd name="T10" fmla="*/ 96 w 134"/>
                  <a:gd name="T11" fmla="*/ 90 h 90"/>
                  <a:gd name="T12" fmla="*/ 100 w 134"/>
                  <a:gd name="T13" fmla="*/ 90 h 90"/>
                  <a:gd name="T14" fmla="*/ 104 w 134"/>
                  <a:gd name="T15" fmla="*/ 88 h 90"/>
                  <a:gd name="T16" fmla="*/ 104 w 134"/>
                  <a:gd name="T17" fmla="*/ 84 h 90"/>
                  <a:gd name="T18" fmla="*/ 106 w 134"/>
                  <a:gd name="T19" fmla="*/ 77 h 90"/>
                  <a:gd name="T20" fmla="*/ 109 w 134"/>
                  <a:gd name="T21" fmla="*/ 69 h 90"/>
                  <a:gd name="T22" fmla="*/ 113 w 134"/>
                  <a:gd name="T23" fmla="*/ 59 h 90"/>
                  <a:gd name="T24" fmla="*/ 115 w 134"/>
                  <a:gd name="T25" fmla="*/ 52 h 90"/>
                  <a:gd name="T26" fmla="*/ 113 w 134"/>
                  <a:gd name="T27" fmla="*/ 50 h 90"/>
                  <a:gd name="T28" fmla="*/ 109 w 134"/>
                  <a:gd name="T29" fmla="*/ 50 h 90"/>
                  <a:gd name="T30" fmla="*/ 109 w 134"/>
                  <a:gd name="T31" fmla="*/ 46 h 90"/>
                  <a:gd name="T32" fmla="*/ 119 w 134"/>
                  <a:gd name="T33" fmla="*/ 36 h 90"/>
                  <a:gd name="T34" fmla="*/ 119 w 134"/>
                  <a:gd name="T35" fmla="*/ 34 h 90"/>
                  <a:gd name="T36" fmla="*/ 115 w 134"/>
                  <a:gd name="T37" fmla="*/ 32 h 90"/>
                  <a:gd name="T38" fmla="*/ 115 w 134"/>
                  <a:gd name="T39" fmla="*/ 29 h 90"/>
                  <a:gd name="T40" fmla="*/ 117 w 134"/>
                  <a:gd name="T41" fmla="*/ 27 h 90"/>
                  <a:gd name="T42" fmla="*/ 121 w 134"/>
                  <a:gd name="T43" fmla="*/ 29 h 90"/>
                  <a:gd name="T44" fmla="*/ 125 w 134"/>
                  <a:gd name="T45" fmla="*/ 27 h 90"/>
                  <a:gd name="T46" fmla="*/ 129 w 134"/>
                  <a:gd name="T47" fmla="*/ 23 h 90"/>
                  <a:gd name="T48" fmla="*/ 133 w 134"/>
                  <a:gd name="T49" fmla="*/ 21 h 90"/>
                  <a:gd name="T50" fmla="*/ 134 w 134"/>
                  <a:gd name="T51" fmla="*/ 19 h 90"/>
                  <a:gd name="T52" fmla="*/ 133 w 134"/>
                  <a:gd name="T53" fmla="*/ 15 h 90"/>
                  <a:gd name="T54" fmla="*/ 121 w 134"/>
                  <a:gd name="T55" fmla="*/ 9 h 90"/>
                  <a:gd name="T56" fmla="*/ 123 w 134"/>
                  <a:gd name="T57" fmla="*/ 2 h 90"/>
                  <a:gd name="T58" fmla="*/ 115 w 134"/>
                  <a:gd name="T59" fmla="*/ 0 h 90"/>
                  <a:gd name="T60" fmla="*/ 106 w 134"/>
                  <a:gd name="T61" fmla="*/ 15 h 90"/>
                  <a:gd name="T62" fmla="*/ 92 w 134"/>
                  <a:gd name="T63" fmla="*/ 27 h 90"/>
                  <a:gd name="T64" fmla="*/ 73 w 134"/>
                  <a:gd name="T65" fmla="*/ 38 h 90"/>
                  <a:gd name="T66" fmla="*/ 69 w 134"/>
                  <a:gd name="T67" fmla="*/ 46 h 90"/>
                  <a:gd name="T68" fmla="*/ 60 w 134"/>
                  <a:gd name="T69" fmla="*/ 44 h 90"/>
                  <a:gd name="T70" fmla="*/ 54 w 134"/>
                  <a:gd name="T71" fmla="*/ 40 h 90"/>
                  <a:gd name="T72" fmla="*/ 50 w 134"/>
                  <a:gd name="T73" fmla="*/ 38 h 90"/>
                  <a:gd name="T74" fmla="*/ 33 w 134"/>
                  <a:gd name="T75" fmla="*/ 40 h 90"/>
                  <a:gd name="T76" fmla="*/ 25 w 134"/>
                  <a:gd name="T77" fmla="*/ 42 h 90"/>
                  <a:gd name="T78" fmla="*/ 8 w 134"/>
                  <a:gd name="T79" fmla="*/ 38 h 90"/>
                  <a:gd name="T80" fmla="*/ 8 w 134"/>
                  <a:gd name="T81" fmla="*/ 25 h 90"/>
                  <a:gd name="T82" fmla="*/ 0 w 134"/>
                  <a:gd name="T83" fmla="*/ 23 h 9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34"/>
                  <a:gd name="T127" fmla="*/ 0 h 90"/>
                  <a:gd name="T128" fmla="*/ 134 w 134"/>
                  <a:gd name="T129" fmla="*/ 90 h 9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34" h="90">
                    <a:moveTo>
                      <a:pt x="0" y="23"/>
                    </a:moveTo>
                    <a:lnTo>
                      <a:pt x="0" y="34"/>
                    </a:lnTo>
                    <a:lnTo>
                      <a:pt x="12" y="50"/>
                    </a:lnTo>
                    <a:lnTo>
                      <a:pt x="14" y="75"/>
                    </a:lnTo>
                    <a:lnTo>
                      <a:pt x="71" y="86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88"/>
                    </a:lnTo>
                    <a:lnTo>
                      <a:pt x="104" y="84"/>
                    </a:lnTo>
                    <a:lnTo>
                      <a:pt x="106" y="77"/>
                    </a:lnTo>
                    <a:lnTo>
                      <a:pt x="109" y="69"/>
                    </a:lnTo>
                    <a:lnTo>
                      <a:pt x="113" y="59"/>
                    </a:lnTo>
                    <a:lnTo>
                      <a:pt x="115" y="52"/>
                    </a:lnTo>
                    <a:lnTo>
                      <a:pt x="113" y="50"/>
                    </a:lnTo>
                    <a:lnTo>
                      <a:pt x="109" y="50"/>
                    </a:lnTo>
                    <a:lnTo>
                      <a:pt x="109" y="46"/>
                    </a:lnTo>
                    <a:lnTo>
                      <a:pt x="119" y="36"/>
                    </a:lnTo>
                    <a:lnTo>
                      <a:pt x="119" y="34"/>
                    </a:lnTo>
                    <a:lnTo>
                      <a:pt x="115" y="32"/>
                    </a:lnTo>
                    <a:lnTo>
                      <a:pt x="115" y="29"/>
                    </a:lnTo>
                    <a:lnTo>
                      <a:pt x="117" y="27"/>
                    </a:lnTo>
                    <a:lnTo>
                      <a:pt x="121" y="29"/>
                    </a:lnTo>
                    <a:lnTo>
                      <a:pt x="125" y="27"/>
                    </a:lnTo>
                    <a:lnTo>
                      <a:pt x="129" y="23"/>
                    </a:lnTo>
                    <a:lnTo>
                      <a:pt x="133" y="21"/>
                    </a:lnTo>
                    <a:lnTo>
                      <a:pt x="134" y="19"/>
                    </a:lnTo>
                    <a:lnTo>
                      <a:pt x="133" y="15"/>
                    </a:lnTo>
                    <a:lnTo>
                      <a:pt x="121" y="9"/>
                    </a:lnTo>
                    <a:lnTo>
                      <a:pt x="123" y="2"/>
                    </a:lnTo>
                    <a:lnTo>
                      <a:pt x="115" y="0"/>
                    </a:lnTo>
                    <a:lnTo>
                      <a:pt x="106" y="15"/>
                    </a:lnTo>
                    <a:lnTo>
                      <a:pt x="92" y="27"/>
                    </a:lnTo>
                    <a:lnTo>
                      <a:pt x="73" y="38"/>
                    </a:lnTo>
                    <a:lnTo>
                      <a:pt x="69" y="46"/>
                    </a:lnTo>
                    <a:lnTo>
                      <a:pt x="60" y="44"/>
                    </a:lnTo>
                    <a:lnTo>
                      <a:pt x="54" y="40"/>
                    </a:lnTo>
                    <a:lnTo>
                      <a:pt x="50" y="38"/>
                    </a:lnTo>
                    <a:lnTo>
                      <a:pt x="33" y="40"/>
                    </a:lnTo>
                    <a:lnTo>
                      <a:pt x="25" y="42"/>
                    </a:lnTo>
                    <a:lnTo>
                      <a:pt x="8" y="38"/>
                    </a:lnTo>
                    <a:lnTo>
                      <a:pt x="8" y="25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4" name="Freeform 22"/>
              <p:cNvSpPr>
                <a:spLocks noEditPoints="1"/>
              </p:cNvSpPr>
              <p:nvPr/>
            </p:nvSpPr>
            <p:spPr bwMode="gray">
              <a:xfrm>
                <a:off x="3322" y="1912"/>
                <a:ext cx="201" cy="153"/>
              </a:xfrm>
              <a:custGeom>
                <a:avLst/>
                <a:gdLst>
                  <a:gd name="T0" fmla="*/ 159 w 401"/>
                  <a:gd name="T1" fmla="*/ 230 h 305"/>
                  <a:gd name="T2" fmla="*/ 140 w 401"/>
                  <a:gd name="T3" fmla="*/ 244 h 305"/>
                  <a:gd name="T4" fmla="*/ 136 w 401"/>
                  <a:gd name="T5" fmla="*/ 263 h 305"/>
                  <a:gd name="T6" fmla="*/ 157 w 401"/>
                  <a:gd name="T7" fmla="*/ 263 h 305"/>
                  <a:gd name="T8" fmla="*/ 178 w 401"/>
                  <a:gd name="T9" fmla="*/ 236 h 305"/>
                  <a:gd name="T10" fmla="*/ 388 w 401"/>
                  <a:gd name="T11" fmla="*/ 182 h 305"/>
                  <a:gd name="T12" fmla="*/ 395 w 401"/>
                  <a:gd name="T13" fmla="*/ 161 h 305"/>
                  <a:gd name="T14" fmla="*/ 397 w 401"/>
                  <a:gd name="T15" fmla="*/ 144 h 305"/>
                  <a:gd name="T16" fmla="*/ 392 w 401"/>
                  <a:gd name="T17" fmla="*/ 119 h 305"/>
                  <a:gd name="T18" fmla="*/ 392 w 401"/>
                  <a:gd name="T19" fmla="*/ 107 h 305"/>
                  <a:gd name="T20" fmla="*/ 384 w 401"/>
                  <a:gd name="T21" fmla="*/ 92 h 305"/>
                  <a:gd name="T22" fmla="*/ 368 w 401"/>
                  <a:gd name="T23" fmla="*/ 80 h 305"/>
                  <a:gd name="T24" fmla="*/ 351 w 401"/>
                  <a:gd name="T25" fmla="*/ 71 h 305"/>
                  <a:gd name="T26" fmla="*/ 322 w 401"/>
                  <a:gd name="T27" fmla="*/ 78 h 305"/>
                  <a:gd name="T28" fmla="*/ 311 w 401"/>
                  <a:gd name="T29" fmla="*/ 61 h 305"/>
                  <a:gd name="T30" fmla="*/ 297 w 401"/>
                  <a:gd name="T31" fmla="*/ 50 h 305"/>
                  <a:gd name="T32" fmla="*/ 276 w 401"/>
                  <a:gd name="T33" fmla="*/ 44 h 305"/>
                  <a:gd name="T34" fmla="*/ 255 w 401"/>
                  <a:gd name="T35" fmla="*/ 36 h 305"/>
                  <a:gd name="T36" fmla="*/ 244 w 401"/>
                  <a:gd name="T37" fmla="*/ 13 h 305"/>
                  <a:gd name="T38" fmla="*/ 226 w 401"/>
                  <a:gd name="T39" fmla="*/ 2 h 305"/>
                  <a:gd name="T40" fmla="*/ 207 w 401"/>
                  <a:gd name="T41" fmla="*/ 5 h 305"/>
                  <a:gd name="T42" fmla="*/ 192 w 401"/>
                  <a:gd name="T43" fmla="*/ 3 h 305"/>
                  <a:gd name="T44" fmla="*/ 186 w 401"/>
                  <a:gd name="T45" fmla="*/ 21 h 305"/>
                  <a:gd name="T46" fmla="*/ 154 w 401"/>
                  <a:gd name="T47" fmla="*/ 17 h 305"/>
                  <a:gd name="T48" fmla="*/ 138 w 401"/>
                  <a:gd name="T49" fmla="*/ 17 h 305"/>
                  <a:gd name="T50" fmla="*/ 130 w 401"/>
                  <a:gd name="T51" fmla="*/ 17 h 305"/>
                  <a:gd name="T52" fmla="*/ 102 w 401"/>
                  <a:gd name="T53" fmla="*/ 17 h 305"/>
                  <a:gd name="T54" fmla="*/ 58 w 401"/>
                  <a:gd name="T55" fmla="*/ 13 h 305"/>
                  <a:gd name="T56" fmla="*/ 40 w 401"/>
                  <a:gd name="T57" fmla="*/ 15 h 305"/>
                  <a:gd name="T58" fmla="*/ 33 w 401"/>
                  <a:gd name="T59" fmla="*/ 34 h 305"/>
                  <a:gd name="T60" fmla="*/ 29 w 401"/>
                  <a:gd name="T61" fmla="*/ 61 h 305"/>
                  <a:gd name="T62" fmla="*/ 36 w 401"/>
                  <a:gd name="T63" fmla="*/ 82 h 305"/>
                  <a:gd name="T64" fmla="*/ 23 w 401"/>
                  <a:gd name="T65" fmla="*/ 109 h 305"/>
                  <a:gd name="T66" fmla="*/ 17 w 401"/>
                  <a:gd name="T67" fmla="*/ 138 h 305"/>
                  <a:gd name="T68" fmla="*/ 6 w 401"/>
                  <a:gd name="T69" fmla="*/ 155 h 305"/>
                  <a:gd name="T70" fmla="*/ 44 w 401"/>
                  <a:gd name="T71" fmla="*/ 175 h 305"/>
                  <a:gd name="T72" fmla="*/ 59 w 401"/>
                  <a:gd name="T73" fmla="*/ 167 h 305"/>
                  <a:gd name="T74" fmla="*/ 79 w 401"/>
                  <a:gd name="T75" fmla="*/ 153 h 305"/>
                  <a:gd name="T76" fmla="*/ 104 w 401"/>
                  <a:gd name="T77" fmla="*/ 140 h 305"/>
                  <a:gd name="T78" fmla="*/ 123 w 401"/>
                  <a:gd name="T79" fmla="*/ 148 h 305"/>
                  <a:gd name="T80" fmla="*/ 144 w 401"/>
                  <a:gd name="T81" fmla="*/ 163 h 305"/>
                  <a:gd name="T82" fmla="*/ 154 w 401"/>
                  <a:gd name="T83" fmla="*/ 190 h 305"/>
                  <a:gd name="T84" fmla="*/ 165 w 401"/>
                  <a:gd name="T85" fmla="*/ 219 h 305"/>
                  <a:gd name="T86" fmla="*/ 203 w 401"/>
                  <a:gd name="T87" fmla="*/ 224 h 305"/>
                  <a:gd name="T88" fmla="*/ 207 w 401"/>
                  <a:gd name="T89" fmla="*/ 232 h 305"/>
                  <a:gd name="T90" fmla="*/ 244 w 401"/>
                  <a:gd name="T91" fmla="*/ 242 h 305"/>
                  <a:gd name="T92" fmla="*/ 261 w 401"/>
                  <a:gd name="T93" fmla="*/ 244 h 305"/>
                  <a:gd name="T94" fmla="*/ 253 w 401"/>
                  <a:gd name="T95" fmla="*/ 255 h 305"/>
                  <a:gd name="T96" fmla="*/ 230 w 401"/>
                  <a:gd name="T97" fmla="*/ 274 h 305"/>
                  <a:gd name="T98" fmla="*/ 253 w 401"/>
                  <a:gd name="T99" fmla="*/ 278 h 305"/>
                  <a:gd name="T100" fmla="*/ 276 w 401"/>
                  <a:gd name="T101" fmla="*/ 298 h 305"/>
                  <a:gd name="T102" fmla="*/ 296 w 401"/>
                  <a:gd name="T103" fmla="*/ 271 h 305"/>
                  <a:gd name="T104" fmla="*/ 284 w 401"/>
                  <a:gd name="T105" fmla="*/ 253 h 305"/>
                  <a:gd name="T106" fmla="*/ 269 w 401"/>
                  <a:gd name="T107" fmla="*/ 242 h 305"/>
                  <a:gd name="T108" fmla="*/ 303 w 401"/>
                  <a:gd name="T109" fmla="*/ 236 h 305"/>
                  <a:gd name="T110" fmla="*/ 345 w 401"/>
                  <a:gd name="T111" fmla="*/ 217 h 30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01"/>
                  <a:gd name="T169" fmla="*/ 0 h 305"/>
                  <a:gd name="T170" fmla="*/ 401 w 401"/>
                  <a:gd name="T171" fmla="*/ 305 h 30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01" h="305">
                    <a:moveTo>
                      <a:pt x="178" y="236"/>
                    </a:moveTo>
                    <a:lnTo>
                      <a:pt x="167" y="232"/>
                    </a:lnTo>
                    <a:lnTo>
                      <a:pt x="163" y="232"/>
                    </a:lnTo>
                    <a:lnTo>
                      <a:pt x="159" y="230"/>
                    </a:lnTo>
                    <a:lnTo>
                      <a:pt x="154" y="226"/>
                    </a:lnTo>
                    <a:lnTo>
                      <a:pt x="152" y="228"/>
                    </a:lnTo>
                    <a:lnTo>
                      <a:pt x="150" y="234"/>
                    </a:lnTo>
                    <a:lnTo>
                      <a:pt x="140" y="244"/>
                    </a:lnTo>
                    <a:lnTo>
                      <a:pt x="138" y="249"/>
                    </a:lnTo>
                    <a:lnTo>
                      <a:pt x="132" y="261"/>
                    </a:lnTo>
                    <a:lnTo>
                      <a:pt x="134" y="263"/>
                    </a:lnTo>
                    <a:lnTo>
                      <a:pt x="136" y="263"/>
                    </a:lnTo>
                    <a:lnTo>
                      <a:pt x="140" y="265"/>
                    </a:lnTo>
                    <a:lnTo>
                      <a:pt x="148" y="265"/>
                    </a:lnTo>
                    <a:lnTo>
                      <a:pt x="150" y="263"/>
                    </a:lnTo>
                    <a:lnTo>
                      <a:pt x="157" y="263"/>
                    </a:lnTo>
                    <a:lnTo>
                      <a:pt x="157" y="259"/>
                    </a:lnTo>
                    <a:lnTo>
                      <a:pt x="167" y="253"/>
                    </a:lnTo>
                    <a:lnTo>
                      <a:pt x="173" y="248"/>
                    </a:lnTo>
                    <a:lnTo>
                      <a:pt x="178" y="236"/>
                    </a:lnTo>
                    <a:close/>
                    <a:moveTo>
                      <a:pt x="368" y="207"/>
                    </a:moveTo>
                    <a:lnTo>
                      <a:pt x="372" y="192"/>
                    </a:lnTo>
                    <a:lnTo>
                      <a:pt x="380" y="180"/>
                    </a:lnTo>
                    <a:lnTo>
                      <a:pt x="388" y="182"/>
                    </a:lnTo>
                    <a:lnTo>
                      <a:pt x="397" y="180"/>
                    </a:lnTo>
                    <a:lnTo>
                      <a:pt x="401" y="176"/>
                    </a:lnTo>
                    <a:lnTo>
                      <a:pt x="399" y="171"/>
                    </a:lnTo>
                    <a:lnTo>
                      <a:pt x="395" y="161"/>
                    </a:lnTo>
                    <a:lnTo>
                      <a:pt x="393" y="153"/>
                    </a:lnTo>
                    <a:lnTo>
                      <a:pt x="395" y="148"/>
                    </a:lnTo>
                    <a:lnTo>
                      <a:pt x="397" y="148"/>
                    </a:lnTo>
                    <a:lnTo>
                      <a:pt x="397" y="144"/>
                    </a:lnTo>
                    <a:lnTo>
                      <a:pt x="395" y="138"/>
                    </a:lnTo>
                    <a:lnTo>
                      <a:pt x="395" y="130"/>
                    </a:lnTo>
                    <a:lnTo>
                      <a:pt x="388" y="123"/>
                    </a:lnTo>
                    <a:lnTo>
                      <a:pt x="392" y="119"/>
                    </a:lnTo>
                    <a:lnTo>
                      <a:pt x="395" y="113"/>
                    </a:lnTo>
                    <a:lnTo>
                      <a:pt x="397" y="111"/>
                    </a:lnTo>
                    <a:lnTo>
                      <a:pt x="395" y="109"/>
                    </a:lnTo>
                    <a:lnTo>
                      <a:pt x="392" y="107"/>
                    </a:lnTo>
                    <a:lnTo>
                      <a:pt x="392" y="103"/>
                    </a:lnTo>
                    <a:lnTo>
                      <a:pt x="393" y="100"/>
                    </a:lnTo>
                    <a:lnTo>
                      <a:pt x="390" y="94"/>
                    </a:lnTo>
                    <a:lnTo>
                      <a:pt x="384" y="92"/>
                    </a:lnTo>
                    <a:lnTo>
                      <a:pt x="380" y="88"/>
                    </a:lnTo>
                    <a:lnTo>
                      <a:pt x="376" y="86"/>
                    </a:lnTo>
                    <a:lnTo>
                      <a:pt x="370" y="84"/>
                    </a:lnTo>
                    <a:lnTo>
                      <a:pt x="368" y="80"/>
                    </a:lnTo>
                    <a:lnTo>
                      <a:pt x="363" y="78"/>
                    </a:lnTo>
                    <a:lnTo>
                      <a:pt x="357" y="78"/>
                    </a:lnTo>
                    <a:lnTo>
                      <a:pt x="357" y="73"/>
                    </a:lnTo>
                    <a:lnTo>
                      <a:pt x="351" y="71"/>
                    </a:lnTo>
                    <a:lnTo>
                      <a:pt x="342" y="71"/>
                    </a:lnTo>
                    <a:lnTo>
                      <a:pt x="334" y="75"/>
                    </a:lnTo>
                    <a:lnTo>
                      <a:pt x="326" y="77"/>
                    </a:lnTo>
                    <a:lnTo>
                      <a:pt x="322" y="78"/>
                    </a:lnTo>
                    <a:lnTo>
                      <a:pt x="319" y="78"/>
                    </a:lnTo>
                    <a:lnTo>
                      <a:pt x="319" y="75"/>
                    </a:lnTo>
                    <a:lnTo>
                      <a:pt x="317" y="67"/>
                    </a:lnTo>
                    <a:lnTo>
                      <a:pt x="311" y="61"/>
                    </a:lnTo>
                    <a:lnTo>
                      <a:pt x="309" y="61"/>
                    </a:lnTo>
                    <a:lnTo>
                      <a:pt x="305" y="59"/>
                    </a:lnTo>
                    <a:lnTo>
                      <a:pt x="299" y="53"/>
                    </a:lnTo>
                    <a:lnTo>
                      <a:pt x="297" y="50"/>
                    </a:lnTo>
                    <a:lnTo>
                      <a:pt x="294" y="48"/>
                    </a:lnTo>
                    <a:lnTo>
                      <a:pt x="288" y="50"/>
                    </a:lnTo>
                    <a:lnTo>
                      <a:pt x="282" y="48"/>
                    </a:lnTo>
                    <a:lnTo>
                      <a:pt x="276" y="44"/>
                    </a:lnTo>
                    <a:lnTo>
                      <a:pt x="271" y="42"/>
                    </a:lnTo>
                    <a:lnTo>
                      <a:pt x="259" y="44"/>
                    </a:lnTo>
                    <a:lnTo>
                      <a:pt x="255" y="40"/>
                    </a:lnTo>
                    <a:lnTo>
                      <a:pt x="255" y="36"/>
                    </a:lnTo>
                    <a:lnTo>
                      <a:pt x="249" y="30"/>
                    </a:lnTo>
                    <a:lnTo>
                      <a:pt x="248" y="25"/>
                    </a:lnTo>
                    <a:lnTo>
                      <a:pt x="248" y="21"/>
                    </a:lnTo>
                    <a:lnTo>
                      <a:pt x="244" y="13"/>
                    </a:lnTo>
                    <a:lnTo>
                      <a:pt x="244" y="7"/>
                    </a:lnTo>
                    <a:lnTo>
                      <a:pt x="242" y="5"/>
                    </a:lnTo>
                    <a:lnTo>
                      <a:pt x="230" y="5"/>
                    </a:lnTo>
                    <a:lnTo>
                      <a:pt x="226" y="2"/>
                    </a:lnTo>
                    <a:lnTo>
                      <a:pt x="223" y="0"/>
                    </a:lnTo>
                    <a:lnTo>
                      <a:pt x="221" y="3"/>
                    </a:lnTo>
                    <a:lnTo>
                      <a:pt x="213" y="9"/>
                    </a:lnTo>
                    <a:lnTo>
                      <a:pt x="207" y="5"/>
                    </a:lnTo>
                    <a:lnTo>
                      <a:pt x="205" y="2"/>
                    </a:lnTo>
                    <a:lnTo>
                      <a:pt x="200" y="2"/>
                    </a:lnTo>
                    <a:lnTo>
                      <a:pt x="196" y="3"/>
                    </a:lnTo>
                    <a:lnTo>
                      <a:pt x="192" y="3"/>
                    </a:lnTo>
                    <a:lnTo>
                      <a:pt x="190" y="5"/>
                    </a:lnTo>
                    <a:lnTo>
                      <a:pt x="188" y="11"/>
                    </a:lnTo>
                    <a:lnTo>
                      <a:pt x="188" y="19"/>
                    </a:lnTo>
                    <a:lnTo>
                      <a:pt x="186" y="21"/>
                    </a:lnTo>
                    <a:lnTo>
                      <a:pt x="180" y="21"/>
                    </a:lnTo>
                    <a:lnTo>
                      <a:pt x="175" y="19"/>
                    </a:lnTo>
                    <a:lnTo>
                      <a:pt x="155" y="19"/>
                    </a:lnTo>
                    <a:lnTo>
                      <a:pt x="154" y="17"/>
                    </a:lnTo>
                    <a:lnTo>
                      <a:pt x="150" y="19"/>
                    </a:lnTo>
                    <a:lnTo>
                      <a:pt x="144" y="21"/>
                    </a:lnTo>
                    <a:lnTo>
                      <a:pt x="140" y="17"/>
                    </a:lnTo>
                    <a:lnTo>
                      <a:pt x="138" y="17"/>
                    </a:lnTo>
                    <a:lnTo>
                      <a:pt x="136" y="19"/>
                    </a:lnTo>
                    <a:lnTo>
                      <a:pt x="134" y="23"/>
                    </a:lnTo>
                    <a:lnTo>
                      <a:pt x="134" y="25"/>
                    </a:lnTo>
                    <a:lnTo>
                      <a:pt x="130" y="17"/>
                    </a:lnTo>
                    <a:lnTo>
                      <a:pt x="127" y="17"/>
                    </a:lnTo>
                    <a:lnTo>
                      <a:pt x="123" y="19"/>
                    </a:lnTo>
                    <a:lnTo>
                      <a:pt x="107" y="19"/>
                    </a:lnTo>
                    <a:lnTo>
                      <a:pt x="102" y="17"/>
                    </a:lnTo>
                    <a:lnTo>
                      <a:pt x="92" y="15"/>
                    </a:lnTo>
                    <a:lnTo>
                      <a:pt x="83" y="15"/>
                    </a:lnTo>
                    <a:lnTo>
                      <a:pt x="73" y="13"/>
                    </a:lnTo>
                    <a:lnTo>
                      <a:pt x="58" y="13"/>
                    </a:lnTo>
                    <a:lnTo>
                      <a:pt x="54" y="17"/>
                    </a:lnTo>
                    <a:lnTo>
                      <a:pt x="50" y="23"/>
                    </a:lnTo>
                    <a:lnTo>
                      <a:pt x="44" y="19"/>
                    </a:lnTo>
                    <a:lnTo>
                      <a:pt x="40" y="15"/>
                    </a:lnTo>
                    <a:lnTo>
                      <a:pt x="35" y="15"/>
                    </a:lnTo>
                    <a:lnTo>
                      <a:pt x="33" y="17"/>
                    </a:lnTo>
                    <a:lnTo>
                      <a:pt x="29" y="23"/>
                    </a:lnTo>
                    <a:lnTo>
                      <a:pt x="33" y="34"/>
                    </a:lnTo>
                    <a:lnTo>
                      <a:pt x="35" y="38"/>
                    </a:lnTo>
                    <a:lnTo>
                      <a:pt x="33" y="38"/>
                    </a:lnTo>
                    <a:lnTo>
                      <a:pt x="33" y="50"/>
                    </a:lnTo>
                    <a:lnTo>
                      <a:pt x="29" y="61"/>
                    </a:lnTo>
                    <a:lnTo>
                      <a:pt x="31" y="69"/>
                    </a:lnTo>
                    <a:lnTo>
                      <a:pt x="35" y="77"/>
                    </a:lnTo>
                    <a:lnTo>
                      <a:pt x="38" y="80"/>
                    </a:lnTo>
                    <a:lnTo>
                      <a:pt x="36" y="82"/>
                    </a:lnTo>
                    <a:lnTo>
                      <a:pt x="33" y="90"/>
                    </a:lnTo>
                    <a:lnTo>
                      <a:pt x="29" y="101"/>
                    </a:lnTo>
                    <a:lnTo>
                      <a:pt x="27" y="105"/>
                    </a:lnTo>
                    <a:lnTo>
                      <a:pt x="23" y="109"/>
                    </a:lnTo>
                    <a:lnTo>
                      <a:pt x="23" y="117"/>
                    </a:lnTo>
                    <a:lnTo>
                      <a:pt x="27" y="128"/>
                    </a:lnTo>
                    <a:lnTo>
                      <a:pt x="23" y="134"/>
                    </a:lnTo>
                    <a:lnTo>
                      <a:pt x="17" y="138"/>
                    </a:lnTo>
                    <a:lnTo>
                      <a:pt x="11" y="140"/>
                    </a:lnTo>
                    <a:lnTo>
                      <a:pt x="4" y="142"/>
                    </a:lnTo>
                    <a:lnTo>
                      <a:pt x="0" y="155"/>
                    </a:lnTo>
                    <a:lnTo>
                      <a:pt x="6" y="155"/>
                    </a:lnTo>
                    <a:lnTo>
                      <a:pt x="13" y="165"/>
                    </a:lnTo>
                    <a:lnTo>
                      <a:pt x="33" y="165"/>
                    </a:lnTo>
                    <a:lnTo>
                      <a:pt x="36" y="167"/>
                    </a:lnTo>
                    <a:lnTo>
                      <a:pt x="44" y="175"/>
                    </a:lnTo>
                    <a:lnTo>
                      <a:pt x="48" y="176"/>
                    </a:lnTo>
                    <a:lnTo>
                      <a:pt x="52" y="175"/>
                    </a:lnTo>
                    <a:lnTo>
                      <a:pt x="58" y="171"/>
                    </a:lnTo>
                    <a:lnTo>
                      <a:pt x="59" y="167"/>
                    </a:lnTo>
                    <a:lnTo>
                      <a:pt x="65" y="165"/>
                    </a:lnTo>
                    <a:lnTo>
                      <a:pt x="71" y="165"/>
                    </a:lnTo>
                    <a:lnTo>
                      <a:pt x="77" y="159"/>
                    </a:lnTo>
                    <a:lnTo>
                      <a:pt x="79" y="153"/>
                    </a:lnTo>
                    <a:lnTo>
                      <a:pt x="83" y="151"/>
                    </a:lnTo>
                    <a:lnTo>
                      <a:pt x="88" y="146"/>
                    </a:lnTo>
                    <a:lnTo>
                      <a:pt x="100" y="142"/>
                    </a:lnTo>
                    <a:lnTo>
                      <a:pt x="104" y="140"/>
                    </a:lnTo>
                    <a:lnTo>
                      <a:pt x="109" y="140"/>
                    </a:lnTo>
                    <a:lnTo>
                      <a:pt x="115" y="142"/>
                    </a:lnTo>
                    <a:lnTo>
                      <a:pt x="119" y="144"/>
                    </a:lnTo>
                    <a:lnTo>
                      <a:pt x="123" y="148"/>
                    </a:lnTo>
                    <a:lnTo>
                      <a:pt x="130" y="153"/>
                    </a:lnTo>
                    <a:lnTo>
                      <a:pt x="134" y="155"/>
                    </a:lnTo>
                    <a:lnTo>
                      <a:pt x="138" y="159"/>
                    </a:lnTo>
                    <a:lnTo>
                      <a:pt x="144" y="163"/>
                    </a:lnTo>
                    <a:lnTo>
                      <a:pt x="148" y="169"/>
                    </a:lnTo>
                    <a:lnTo>
                      <a:pt x="148" y="182"/>
                    </a:lnTo>
                    <a:lnTo>
                      <a:pt x="150" y="186"/>
                    </a:lnTo>
                    <a:lnTo>
                      <a:pt x="154" y="190"/>
                    </a:lnTo>
                    <a:lnTo>
                      <a:pt x="157" y="198"/>
                    </a:lnTo>
                    <a:lnTo>
                      <a:pt x="155" y="203"/>
                    </a:lnTo>
                    <a:lnTo>
                      <a:pt x="157" y="211"/>
                    </a:lnTo>
                    <a:lnTo>
                      <a:pt x="165" y="219"/>
                    </a:lnTo>
                    <a:lnTo>
                      <a:pt x="178" y="236"/>
                    </a:lnTo>
                    <a:lnTo>
                      <a:pt x="184" y="228"/>
                    </a:lnTo>
                    <a:lnTo>
                      <a:pt x="192" y="226"/>
                    </a:lnTo>
                    <a:lnTo>
                      <a:pt x="203" y="224"/>
                    </a:lnTo>
                    <a:lnTo>
                      <a:pt x="211" y="224"/>
                    </a:lnTo>
                    <a:lnTo>
                      <a:pt x="219" y="226"/>
                    </a:lnTo>
                    <a:lnTo>
                      <a:pt x="219" y="230"/>
                    </a:lnTo>
                    <a:lnTo>
                      <a:pt x="207" y="232"/>
                    </a:lnTo>
                    <a:lnTo>
                      <a:pt x="223" y="244"/>
                    </a:lnTo>
                    <a:lnTo>
                      <a:pt x="234" y="248"/>
                    </a:lnTo>
                    <a:lnTo>
                      <a:pt x="238" y="246"/>
                    </a:lnTo>
                    <a:lnTo>
                      <a:pt x="244" y="242"/>
                    </a:lnTo>
                    <a:lnTo>
                      <a:pt x="249" y="240"/>
                    </a:lnTo>
                    <a:lnTo>
                      <a:pt x="251" y="240"/>
                    </a:lnTo>
                    <a:lnTo>
                      <a:pt x="257" y="242"/>
                    </a:lnTo>
                    <a:lnTo>
                      <a:pt x="261" y="244"/>
                    </a:lnTo>
                    <a:lnTo>
                      <a:pt x="261" y="259"/>
                    </a:lnTo>
                    <a:lnTo>
                      <a:pt x="257" y="259"/>
                    </a:lnTo>
                    <a:lnTo>
                      <a:pt x="257" y="255"/>
                    </a:lnTo>
                    <a:lnTo>
                      <a:pt x="253" y="255"/>
                    </a:lnTo>
                    <a:lnTo>
                      <a:pt x="248" y="257"/>
                    </a:lnTo>
                    <a:lnTo>
                      <a:pt x="238" y="263"/>
                    </a:lnTo>
                    <a:lnTo>
                      <a:pt x="230" y="267"/>
                    </a:lnTo>
                    <a:lnTo>
                      <a:pt x="230" y="274"/>
                    </a:lnTo>
                    <a:lnTo>
                      <a:pt x="246" y="274"/>
                    </a:lnTo>
                    <a:lnTo>
                      <a:pt x="248" y="276"/>
                    </a:lnTo>
                    <a:lnTo>
                      <a:pt x="249" y="276"/>
                    </a:lnTo>
                    <a:lnTo>
                      <a:pt x="253" y="278"/>
                    </a:lnTo>
                    <a:lnTo>
                      <a:pt x="257" y="286"/>
                    </a:lnTo>
                    <a:lnTo>
                      <a:pt x="253" y="298"/>
                    </a:lnTo>
                    <a:lnTo>
                      <a:pt x="249" y="305"/>
                    </a:lnTo>
                    <a:lnTo>
                      <a:pt x="276" y="298"/>
                    </a:lnTo>
                    <a:lnTo>
                      <a:pt x="299" y="290"/>
                    </a:lnTo>
                    <a:lnTo>
                      <a:pt x="326" y="282"/>
                    </a:lnTo>
                    <a:lnTo>
                      <a:pt x="326" y="274"/>
                    </a:lnTo>
                    <a:lnTo>
                      <a:pt x="296" y="271"/>
                    </a:lnTo>
                    <a:lnTo>
                      <a:pt x="284" y="267"/>
                    </a:lnTo>
                    <a:lnTo>
                      <a:pt x="284" y="263"/>
                    </a:lnTo>
                    <a:lnTo>
                      <a:pt x="288" y="255"/>
                    </a:lnTo>
                    <a:lnTo>
                      <a:pt x="284" y="253"/>
                    </a:lnTo>
                    <a:lnTo>
                      <a:pt x="280" y="255"/>
                    </a:lnTo>
                    <a:lnTo>
                      <a:pt x="276" y="255"/>
                    </a:lnTo>
                    <a:lnTo>
                      <a:pt x="271" y="249"/>
                    </a:lnTo>
                    <a:lnTo>
                      <a:pt x="269" y="242"/>
                    </a:lnTo>
                    <a:lnTo>
                      <a:pt x="265" y="236"/>
                    </a:lnTo>
                    <a:lnTo>
                      <a:pt x="284" y="240"/>
                    </a:lnTo>
                    <a:lnTo>
                      <a:pt x="299" y="240"/>
                    </a:lnTo>
                    <a:lnTo>
                      <a:pt x="303" y="236"/>
                    </a:lnTo>
                    <a:lnTo>
                      <a:pt x="309" y="228"/>
                    </a:lnTo>
                    <a:lnTo>
                      <a:pt x="315" y="224"/>
                    </a:lnTo>
                    <a:lnTo>
                      <a:pt x="342" y="224"/>
                    </a:lnTo>
                    <a:lnTo>
                      <a:pt x="345" y="217"/>
                    </a:lnTo>
                    <a:lnTo>
                      <a:pt x="353" y="213"/>
                    </a:lnTo>
                    <a:lnTo>
                      <a:pt x="368" y="20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5" name="Freeform 23"/>
              <p:cNvSpPr>
                <a:spLocks/>
              </p:cNvSpPr>
              <p:nvPr/>
            </p:nvSpPr>
            <p:spPr bwMode="gray">
              <a:xfrm>
                <a:off x="3392" y="2713"/>
                <a:ext cx="71" cy="101"/>
              </a:xfrm>
              <a:custGeom>
                <a:avLst/>
                <a:gdLst>
                  <a:gd name="T0" fmla="*/ 23 w 142"/>
                  <a:gd name="T1" fmla="*/ 116 h 202"/>
                  <a:gd name="T2" fmla="*/ 19 w 142"/>
                  <a:gd name="T3" fmla="*/ 123 h 202"/>
                  <a:gd name="T4" fmla="*/ 16 w 142"/>
                  <a:gd name="T5" fmla="*/ 137 h 202"/>
                  <a:gd name="T6" fmla="*/ 10 w 142"/>
                  <a:gd name="T7" fmla="*/ 156 h 202"/>
                  <a:gd name="T8" fmla="*/ 8 w 142"/>
                  <a:gd name="T9" fmla="*/ 166 h 202"/>
                  <a:gd name="T10" fmla="*/ 6 w 142"/>
                  <a:gd name="T11" fmla="*/ 169 h 202"/>
                  <a:gd name="T12" fmla="*/ 0 w 142"/>
                  <a:gd name="T13" fmla="*/ 181 h 202"/>
                  <a:gd name="T14" fmla="*/ 6 w 142"/>
                  <a:gd name="T15" fmla="*/ 189 h 202"/>
                  <a:gd name="T16" fmla="*/ 8 w 142"/>
                  <a:gd name="T17" fmla="*/ 193 h 202"/>
                  <a:gd name="T18" fmla="*/ 17 w 142"/>
                  <a:gd name="T19" fmla="*/ 198 h 202"/>
                  <a:gd name="T20" fmla="*/ 27 w 142"/>
                  <a:gd name="T21" fmla="*/ 202 h 202"/>
                  <a:gd name="T22" fmla="*/ 37 w 142"/>
                  <a:gd name="T23" fmla="*/ 196 h 202"/>
                  <a:gd name="T24" fmla="*/ 44 w 142"/>
                  <a:gd name="T25" fmla="*/ 193 h 202"/>
                  <a:gd name="T26" fmla="*/ 69 w 142"/>
                  <a:gd name="T27" fmla="*/ 189 h 202"/>
                  <a:gd name="T28" fmla="*/ 64 w 142"/>
                  <a:gd name="T29" fmla="*/ 173 h 202"/>
                  <a:gd name="T30" fmla="*/ 65 w 142"/>
                  <a:gd name="T31" fmla="*/ 156 h 202"/>
                  <a:gd name="T32" fmla="*/ 69 w 142"/>
                  <a:gd name="T33" fmla="*/ 146 h 202"/>
                  <a:gd name="T34" fmla="*/ 77 w 142"/>
                  <a:gd name="T35" fmla="*/ 137 h 202"/>
                  <a:gd name="T36" fmla="*/ 94 w 142"/>
                  <a:gd name="T37" fmla="*/ 141 h 202"/>
                  <a:gd name="T38" fmla="*/ 104 w 142"/>
                  <a:gd name="T39" fmla="*/ 135 h 202"/>
                  <a:gd name="T40" fmla="*/ 115 w 142"/>
                  <a:gd name="T41" fmla="*/ 137 h 202"/>
                  <a:gd name="T42" fmla="*/ 119 w 142"/>
                  <a:gd name="T43" fmla="*/ 152 h 202"/>
                  <a:gd name="T44" fmla="*/ 127 w 142"/>
                  <a:gd name="T45" fmla="*/ 162 h 202"/>
                  <a:gd name="T46" fmla="*/ 127 w 142"/>
                  <a:gd name="T47" fmla="*/ 143 h 202"/>
                  <a:gd name="T48" fmla="*/ 127 w 142"/>
                  <a:gd name="T49" fmla="*/ 133 h 202"/>
                  <a:gd name="T50" fmla="*/ 125 w 142"/>
                  <a:gd name="T51" fmla="*/ 116 h 202"/>
                  <a:gd name="T52" fmla="*/ 129 w 142"/>
                  <a:gd name="T53" fmla="*/ 104 h 202"/>
                  <a:gd name="T54" fmla="*/ 133 w 142"/>
                  <a:gd name="T55" fmla="*/ 89 h 202"/>
                  <a:gd name="T56" fmla="*/ 138 w 142"/>
                  <a:gd name="T57" fmla="*/ 85 h 202"/>
                  <a:gd name="T58" fmla="*/ 142 w 142"/>
                  <a:gd name="T59" fmla="*/ 66 h 202"/>
                  <a:gd name="T60" fmla="*/ 136 w 142"/>
                  <a:gd name="T61" fmla="*/ 54 h 202"/>
                  <a:gd name="T62" fmla="*/ 133 w 142"/>
                  <a:gd name="T63" fmla="*/ 37 h 202"/>
                  <a:gd name="T64" fmla="*/ 136 w 142"/>
                  <a:gd name="T65" fmla="*/ 25 h 202"/>
                  <a:gd name="T66" fmla="*/ 133 w 142"/>
                  <a:gd name="T67" fmla="*/ 20 h 202"/>
                  <a:gd name="T68" fmla="*/ 129 w 142"/>
                  <a:gd name="T69" fmla="*/ 16 h 202"/>
                  <a:gd name="T70" fmla="*/ 125 w 142"/>
                  <a:gd name="T71" fmla="*/ 10 h 202"/>
                  <a:gd name="T72" fmla="*/ 123 w 142"/>
                  <a:gd name="T73" fmla="*/ 0 h 202"/>
                  <a:gd name="T74" fmla="*/ 110 w 142"/>
                  <a:gd name="T75" fmla="*/ 6 h 202"/>
                  <a:gd name="T76" fmla="*/ 94 w 142"/>
                  <a:gd name="T77" fmla="*/ 4 h 202"/>
                  <a:gd name="T78" fmla="*/ 90 w 142"/>
                  <a:gd name="T79" fmla="*/ 8 h 202"/>
                  <a:gd name="T80" fmla="*/ 77 w 142"/>
                  <a:gd name="T81" fmla="*/ 10 h 202"/>
                  <a:gd name="T82" fmla="*/ 65 w 142"/>
                  <a:gd name="T83" fmla="*/ 18 h 202"/>
                  <a:gd name="T84" fmla="*/ 67 w 142"/>
                  <a:gd name="T85" fmla="*/ 29 h 202"/>
                  <a:gd name="T86" fmla="*/ 58 w 142"/>
                  <a:gd name="T87" fmla="*/ 43 h 202"/>
                  <a:gd name="T88" fmla="*/ 62 w 142"/>
                  <a:gd name="T89" fmla="*/ 48 h 202"/>
                  <a:gd name="T90" fmla="*/ 52 w 142"/>
                  <a:gd name="T91" fmla="*/ 70 h 202"/>
                  <a:gd name="T92" fmla="*/ 58 w 142"/>
                  <a:gd name="T93" fmla="*/ 79 h 202"/>
                  <a:gd name="T94" fmla="*/ 48 w 142"/>
                  <a:gd name="T95" fmla="*/ 95 h 202"/>
                  <a:gd name="T96" fmla="*/ 44 w 142"/>
                  <a:gd name="T97" fmla="*/ 104 h 202"/>
                  <a:gd name="T98" fmla="*/ 35 w 142"/>
                  <a:gd name="T99" fmla="*/ 110 h 20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42"/>
                  <a:gd name="T151" fmla="*/ 0 h 202"/>
                  <a:gd name="T152" fmla="*/ 142 w 142"/>
                  <a:gd name="T153" fmla="*/ 202 h 20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42" h="202">
                    <a:moveTo>
                      <a:pt x="35" y="110"/>
                    </a:moveTo>
                    <a:lnTo>
                      <a:pt x="23" y="116"/>
                    </a:lnTo>
                    <a:lnTo>
                      <a:pt x="23" y="118"/>
                    </a:lnTo>
                    <a:lnTo>
                      <a:pt x="19" y="123"/>
                    </a:lnTo>
                    <a:lnTo>
                      <a:pt x="17" y="129"/>
                    </a:lnTo>
                    <a:lnTo>
                      <a:pt x="16" y="137"/>
                    </a:lnTo>
                    <a:lnTo>
                      <a:pt x="14" y="146"/>
                    </a:lnTo>
                    <a:lnTo>
                      <a:pt x="10" y="156"/>
                    </a:lnTo>
                    <a:lnTo>
                      <a:pt x="10" y="158"/>
                    </a:lnTo>
                    <a:lnTo>
                      <a:pt x="8" y="166"/>
                    </a:lnTo>
                    <a:lnTo>
                      <a:pt x="6" y="168"/>
                    </a:lnTo>
                    <a:lnTo>
                      <a:pt x="6" y="169"/>
                    </a:lnTo>
                    <a:lnTo>
                      <a:pt x="4" y="171"/>
                    </a:lnTo>
                    <a:lnTo>
                      <a:pt x="0" y="181"/>
                    </a:lnTo>
                    <a:lnTo>
                      <a:pt x="2" y="187"/>
                    </a:lnTo>
                    <a:lnTo>
                      <a:pt x="6" y="189"/>
                    </a:lnTo>
                    <a:lnTo>
                      <a:pt x="6" y="191"/>
                    </a:lnTo>
                    <a:lnTo>
                      <a:pt x="8" y="193"/>
                    </a:lnTo>
                    <a:lnTo>
                      <a:pt x="14" y="194"/>
                    </a:lnTo>
                    <a:lnTo>
                      <a:pt x="17" y="198"/>
                    </a:lnTo>
                    <a:lnTo>
                      <a:pt x="23" y="202"/>
                    </a:lnTo>
                    <a:lnTo>
                      <a:pt x="27" y="202"/>
                    </a:lnTo>
                    <a:lnTo>
                      <a:pt x="33" y="200"/>
                    </a:lnTo>
                    <a:lnTo>
                      <a:pt x="37" y="196"/>
                    </a:lnTo>
                    <a:lnTo>
                      <a:pt x="42" y="194"/>
                    </a:lnTo>
                    <a:lnTo>
                      <a:pt x="44" y="193"/>
                    </a:lnTo>
                    <a:lnTo>
                      <a:pt x="67" y="193"/>
                    </a:lnTo>
                    <a:lnTo>
                      <a:pt x="69" y="189"/>
                    </a:lnTo>
                    <a:lnTo>
                      <a:pt x="64" y="187"/>
                    </a:lnTo>
                    <a:lnTo>
                      <a:pt x="64" y="173"/>
                    </a:lnTo>
                    <a:lnTo>
                      <a:pt x="69" y="164"/>
                    </a:lnTo>
                    <a:lnTo>
                      <a:pt x="65" y="156"/>
                    </a:lnTo>
                    <a:lnTo>
                      <a:pt x="65" y="148"/>
                    </a:lnTo>
                    <a:lnTo>
                      <a:pt x="69" y="146"/>
                    </a:lnTo>
                    <a:lnTo>
                      <a:pt x="73" y="141"/>
                    </a:lnTo>
                    <a:lnTo>
                      <a:pt x="77" y="137"/>
                    </a:lnTo>
                    <a:lnTo>
                      <a:pt x="85" y="137"/>
                    </a:lnTo>
                    <a:lnTo>
                      <a:pt x="94" y="141"/>
                    </a:lnTo>
                    <a:lnTo>
                      <a:pt x="104" y="143"/>
                    </a:lnTo>
                    <a:lnTo>
                      <a:pt x="104" y="135"/>
                    </a:lnTo>
                    <a:lnTo>
                      <a:pt x="111" y="135"/>
                    </a:lnTo>
                    <a:lnTo>
                      <a:pt x="115" y="137"/>
                    </a:lnTo>
                    <a:lnTo>
                      <a:pt x="119" y="137"/>
                    </a:lnTo>
                    <a:lnTo>
                      <a:pt x="119" y="152"/>
                    </a:lnTo>
                    <a:lnTo>
                      <a:pt x="123" y="156"/>
                    </a:lnTo>
                    <a:lnTo>
                      <a:pt x="127" y="162"/>
                    </a:lnTo>
                    <a:lnTo>
                      <a:pt x="129" y="148"/>
                    </a:lnTo>
                    <a:lnTo>
                      <a:pt x="127" y="143"/>
                    </a:lnTo>
                    <a:lnTo>
                      <a:pt x="129" y="139"/>
                    </a:lnTo>
                    <a:lnTo>
                      <a:pt x="127" y="133"/>
                    </a:lnTo>
                    <a:lnTo>
                      <a:pt x="125" y="123"/>
                    </a:lnTo>
                    <a:lnTo>
                      <a:pt x="125" y="116"/>
                    </a:lnTo>
                    <a:lnTo>
                      <a:pt x="129" y="110"/>
                    </a:lnTo>
                    <a:lnTo>
                      <a:pt x="129" y="104"/>
                    </a:lnTo>
                    <a:lnTo>
                      <a:pt x="131" y="95"/>
                    </a:lnTo>
                    <a:lnTo>
                      <a:pt x="133" y="89"/>
                    </a:lnTo>
                    <a:lnTo>
                      <a:pt x="136" y="87"/>
                    </a:lnTo>
                    <a:lnTo>
                      <a:pt x="138" y="85"/>
                    </a:lnTo>
                    <a:lnTo>
                      <a:pt x="142" y="77"/>
                    </a:lnTo>
                    <a:lnTo>
                      <a:pt x="142" y="66"/>
                    </a:lnTo>
                    <a:lnTo>
                      <a:pt x="140" y="60"/>
                    </a:lnTo>
                    <a:lnTo>
                      <a:pt x="136" y="54"/>
                    </a:lnTo>
                    <a:lnTo>
                      <a:pt x="133" y="50"/>
                    </a:lnTo>
                    <a:lnTo>
                      <a:pt x="133" y="37"/>
                    </a:lnTo>
                    <a:lnTo>
                      <a:pt x="135" y="29"/>
                    </a:lnTo>
                    <a:lnTo>
                      <a:pt x="136" y="25"/>
                    </a:lnTo>
                    <a:lnTo>
                      <a:pt x="135" y="21"/>
                    </a:lnTo>
                    <a:lnTo>
                      <a:pt x="133" y="20"/>
                    </a:lnTo>
                    <a:lnTo>
                      <a:pt x="133" y="18"/>
                    </a:lnTo>
                    <a:lnTo>
                      <a:pt x="129" y="16"/>
                    </a:lnTo>
                    <a:lnTo>
                      <a:pt x="125" y="12"/>
                    </a:lnTo>
                    <a:lnTo>
                      <a:pt x="125" y="10"/>
                    </a:lnTo>
                    <a:lnTo>
                      <a:pt x="123" y="8"/>
                    </a:lnTo>
                    <a:lnTo>
                      <a:pt x="123" y="0"/>
                    </a:lnTo>
                    <a:lnTo>
                      <a:pt x="111" y="8"/>
                    </a:lnTo>
                    <a:lnTo>
                      <a:pt x="110" y="6"/>
                    </a:lnTo>
                    <a:lnTo>
                      <a:pt x="102" y="4"/>
                    </a:lnTo>
                    <a:lnTo>
                      <a:pt x="94" y="4"/>
                    </a:lnTo>
                    <a:lnTo>
                      <a:pt x="90" y="6"/>
                    </a:lnTo>
                    <a:lnTo>
                      <a:pt x="90" y="8"/>
                    </a:lnTo>
                    <a:lnTo>
                      <a:pt x="85" y="6"/>
                    </a:lnTo>
                    <a:lnTo>
                      <a:pt x="77" y="10"/>
                    </a:lnTo>
                    <a:lnTo>
                      <a:pt x="69" y="16"/>
                    </a:lnTo>
                    <a:lnTo>
                      <a:pt x="65" y="18"/>
                    </a:lnTo>
                    <a:lnTo>
                      <a:pt x="67" y="21"/>
                    </a:lnTo>
                    <a:lnTo>
                      <a:pt x="67" y="29"/>
                    </a:lnTo>
                    <a:lnTo>
                      <a:pt x="64" y="37"/>
                    </a:lnTo>
                    <a:lnTo>
                      <a:pt x="58" y="43"/>
                    </a:lnTo>
                    <a:lnTo>
                      <a:pt x="58" y="46"/>
                    </a:lnTo>
                    <a:lnTo>
                      <a:pt x="62" y="48"/>
                    </a:lnTo>
                    <a:lnTo>
                      <a:pt x="58" y="52"/>
                    </a:lnTo>
                    <a:lnTo>
                      <a:pt x="52" y="70"/>
                    </a:lnTo>
                    <a:lnTo>
                      <a:pt x="58" y="75"/>
                    </a:lnTo>
                    <a:lnTo>
                      <a:pt x="58" y="79"/>
                    </a:lnTo>
                    <a:lnTo>
                      <a:pt x="56" y="85"/>
                    </a:lnTo>
                    <a:lnTo>
                      <a:pt x="48" y="95"/>
                    </a:lnTo>
                    <a:lnTo>
                      <a:pt x="46" y="98"/>
                    </a:lnTo>
                    <a:lnTo>
                      <a:pt x="44" y="104"/>
                    </a:lnTo>
                    <a:lnTo>
                      <a:pt x="40" y="108"/>
                    </a:lnTo>
                    <a:lnTo>
                      <a:pt x="35" y="11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6" name="Freeform 24"/>
              <p:cNvSpPr>
                <a:spLocks/>
              </p:cNvSpPr>
              <p:nvPr/>
            </p:nvSpPr>
            <p:spPr bwMode="gray">
              <a:xfrm>
                <a:off x="3686" y="2089"/>
                <a:ext cx="175" cy="128"/>
              </a:xfrm>
              <a:custGeom>
                <a:avLst/>
                <a:gdLst>
                  <a:gd name="T0" fmla="*/ 2 w 350"/>
                  <a:gd name="T1" fmla="*/ 43 h 258"/>
                  <a:gd name="T2" fmla="*/ 10 w 350"/>
                  <a:gd name="T3" fmla="*/ 48 h 258"/>
                  <a:gd name="T4" fmla="*/ 18 w 350"/>
                  <a:gd name="T5" fmla="*/ 29 h 258"/>
                  <a:gd name="T6" fmla="*/ 27 w 350"/>
                  <a:gd name="T7" fmla="*/ 31 h 258"/>
                  <a:gd name="T8" fmla="*/ 37 w 350"/>
                  <a:gd name="T9" fmla="*/ 41 h 258"/>
                  <a:gd name="T10" fmla="*/ 56 w 350"/>
                  <a:gd name="T11" fmla="*/ 64 h 258"/>
                  <a:gd name="T12" fmla="*/ 45 w 350"/>
                  <a:gd name="T13" fmla="*/ 75 h 258"/>
                  <a:gd name="T14" fmla="*/ 46 w 350"/>
                  <a:gd name="T15" fmla="*/ 81 h 258"/>
                  <a:gd name="T16" fmla="*/ 23 w 350"/>
                  <a:gd name="T17" fmla="*/ 79 h 258"/>
                  <a:gd name="T18" fmla="*/ 6 w 350"/>
                  <a:gd name="T19" fmla="*/ 87 h 258"/>
                  <a:gd name="T20" fmla="*/ 8 w 350"/>
                  <a:gd name="T21" fmla="*/ 108 h 258"/>
                  <a:gd name="T22" fmla="*/ 18 w 350"/>
                  <a:gd name="T23" fmla="*/ 106 h 258"/>
                  <a:gd name="T24" fmla="*/ 29 w 350"/>
                  <a:gd name="T25" fmla="*/ 102 h 258"/>
                  <a:gd name="T26" fmla="*/ 29 w 350"/>
                  <a:gd name="T27" fmla="*/ 104 h 258"/>
                  <a:gd name="T28" fmla="*/ 25 w 350"/>
                  <a:gd name="T29" fmla="*/ 114 h 258"/>
                  <a:gd name="T30" fmla="*/ 29 w 350"/>
                  <a:gd name="T31" fmla="*/ 116 h 258"/>
                  <a:gd name="T32" fmla="*/ 31 w 350"/>
                  <a:gd name="T33" fmla="*/ 127 h 258"/>
                  <a:gd name="T34" fmla="*/ 35 w 350"/>
                  <a:gd name="T35" fmla="*/ 135 h 258"/>
                  <a:gd name="T36" fmla="*/ 41 w 350"/>
                  <a:gd name="T37" fmla="*/ 156 h 258"/>
                  <a:gd name="T38" fmla="*/ 33 w 350"/>
                  <a:gd name="T39" fmla="*/ 189 h 258"/>
                  <a:gd name="T40" fmla="*/ 54 w 350"/>
                  <a:gd name="T41" fmla="*/ 179 h 258"/>
                  <a:gd name="T42" fmla="*/ 68 w 350"/>
                  <a:gd name="T43" fmla="*/ 162 h 258"/>
                  <a:gd name="T44" fmla="*/ 91 w 350"/>
                  <a:gd name="T45" fmla="*/ 160 h 258"/>
                  <a:gd name="T46" fmla="*/ 131 w 350"/>
                  <a:gd name="T47" fmla="*/ 162 h 258"/>
                  <a:gd name="T48" fmla="*/ 156 w 350"/>
                  <a:gd name="T49" fmla="*/ 166 h 258"/>
                  <a:gd name="T50" fmla="*/ 190 w 350"/>
                  <a:gd name="T51" fmla="*/ 183 h 258"/>
                  <a:gd name="T52" fmla="*/ 212 w 350"/>
                  <a:gd name="T53" fmla="*/ 196 h 258"/>
                  <a:gd name="T54" fmla="*/ 223 w 350"/>
                  <a:gd name="T55" fmla="*/ 217 h 258"/>
                  <a:gd name="T56" fmla="*/ 236 w 350"/>
                  <a:gd name="T57" fmla="*/ 231 h 258"/>
                  <a:gd name="T58" fmla="*/ 235 w 350"/>
                  <a:gd name="T59" fmla="*/ 254 h 258"/>
                  <a:gd name="T60" fmla="*/ 252 w 350"/>
                  <a:gd name="T61" fmla="*/ 252 h 258"/>
                  <a:gd name="T62" fmla="*/ 283 w 350"/>
                  <a:gd name="T63" fmla="*/ 244 h 258"/>
                  <a:gd name="T64" fmla="*/ 292 w 350"/>
                  <a:gd name="T65" fmla="*/ 219 h 258"/>
                  <a:gd name="T66" fmla="*/ 296 w 350"/>
                  <a:gd name="T67" fmla="*/ 194 h 258"/>
                  <a:gd name="T68" fmla="*/ 306 w 350"/>
                  <a:gd name="T69" fmla="*/ 183 h 258"/>
                  <a:gd name="T70" fmla="*/ 323 w 350"/>
                  <a:gd name="T71" fmla="*/ 190 h 258"/>
                  <a:gd name="T72" fmla="*/ 334 w 350"/>
                  <a:gd name="T73" fmla="*/ 179 h 258"/>
                  <a:gd name="T74" fmla="*/ 350 w 350"/>
                  <a:gd name="T75" fmla="*/ 164 h 258"/>
                  <a:gd name="T76" fmla="*/ 336 w 350"/>
                  <a:gd name="T77" fmla="*/ 158 h 258"/>
                  <a:gd name="T78" fmla="*/ 317 w 350"/>
                  <a:gd name="T79" fmla="*/ 152 h 258"/>
                  <a:gd name="T80" fmla="*/ 294 w 350"/>
                  <a:gd name="T81" fmla="*/ 146 h 258"/>
                  <a:gd name="T82" fmla="*/ 265 w 350"/>
                  <a:gd name="T83" fmla="*/ 121 h 258"/>
                  <a:gd name="T84" fmla="*/ 254 w 350"/>
                  <a:gd name="T85" fmla="*/ 100 h 258"/>
                  <a:gd name="T86" fmla="*/ 240 w 350"/>
                  <a:gd name="T87" fmla="*/ 71 h 258"/>
                  <a:gd name="T88" fmla="*/ 217 w 350"/>
                  <a:gd name="T89" fmla="*/ 60 h 258"/>
                  <a:gd name="T90" fmla="*/ 198 w 350"/>
                  <a:gd name="T91" fmla="*/ 64 h 258"/>
                  <a:gd name="T92" fmla="*/ 177 w 350"/>
                  <a:gd name="T93" fmla="*/ 67 h 258"/>
                  <a:gd name="T94" fmla="*/ 177 w 350"/>
                  <a:gd name="T95" fmla="*/ 56 h 258"/>
                  <a:gd name="T96" fmla="*/ 162 w 350"/>
                  <a:gd name="T97" fmla="*/ 39 h 258"/>
                  <a:gd name="T98" fmla="*/ 152 w 350"/>
                  <a:gd name="T99" fmla="*/ 6 h 258"/>
                  <a:gd name="T100" fmla="*/ 139 w 350"/>
                  <a:gd name="T101" fmla="*/ 0 h 258"/>
                  <a:gd name="T102" fmla="*/ 125 w 350"/>
                  <a:gd name="T103" fmla="*/ 19 h 258"/>
                  <a:gd name="T104" fmla="*/ 106 w 350"/>
                  <a:gd name="T105" fmla="*/ 23 h 258"/>
                  <a:gd name="T106" fmla="*/ 114 w 350"/>
                  <a:gd name="T107" fmla="*/ 39 h 258"/>
                  <a:gd name="T108" fmla="*/ 87 w 350"/>
                  <a:gd name="T109" fmla="*/ 41 h 258"/>
                  <a:gd name="T110" fmla="*/ 58 w 350"/>
                  <a:gd name="T111" fmla="*/ 31 h 258"/>
                  <a:gd name="T112" fmla="*/ 27 w 350"/>
                  <a:gd name="T113" fmla="*/ 14 h 258"/>
                  <a:gd name="T114" fmla="*/ 4 w 350"/>
                  <a:gd name="T115" fmla="*/ 27 h 25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50"/>
                  <a:gd name="T175" fmla="*/ 0 h 258"/>
                  <a:gd name="T176" fmla="*/ 350 w 350"/>
                  <a:gd name="T177" fmla="*/ 258 h 25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50" h="258">
                    <a:moveTo>
                      <a:pt x="2" y="29"/>
                    </a:moveTo>
                    <a:lnTo>
                      <a:pt x="2" y="43"/>
                    </a:lnTo>
                    <a:lnTo>
                      <a:pt x="0" y="48"/>
                    </a:lnTo>
                    <a:lnTo>
                      <a:pt x="10" y="48"/>
                    </a:lnTo>
                    <a:lnTo>
                      <a:pt x="10" y="37"/>
                    </a:lnTo>
                    <a:lnTo>
                      <a:pt x="18" y="29"/>
                    </a:lnTo>
                    <a:lnTo>
                      <a:pt x="23" y="29"/>
                    </a:lnTo>
                    <a:lnTo>
                      <a:pt x="27" y="31"/>
                    </a:lnTo>
                    <a:lnTo>
                      <a:pt x="37" y="33"/>
                    </a:lnTo>
                    <a:lnTo>
                      <a:pt x="37" y="41"/>
                    </a:lnTo>
                    <a:lnTo>
                      <a:pt x="43" y="46"/>
                    </a:lnTo>
                    <a:lnTo>
                      <a:pt x="56" y="64"/>
                    </a:lnTo>
                    <a:lnTo>
                      <a:pt x="52" y="75"/>
                    </a:lnTo>
                    <a:lnTo>
                      <a:pt x="45" y="75"/>
                    </a:lnTo>
                    <a:lnTo>
                      <a:pt x="45" y="77"/>
                    </a:lnTo>
                    <a:lnTo>
                      <a:pt x="46" y="81"/>
                    </a:lnTo>
                    <a:lnTo>
                      <a:pt x="48" y="83"/>
                    </a:lnTo>
                    <a:lnTo>
                      <a:pt x="23" y="79"/>
                    </a:lnTo>
                    <a:lnTo>
                      <a:pt x="14" y="69"/>
                    </a:lnTo>
                    <a:lnTo>
                      <a:pt x="6" y="87"/>
                    </a:lnTo>
                    <a:lnTo>
                      <a:pt x="6" y="108"/>
                    </a:lnTo>
                    <a:lnTo>
                      <a:pt x="8" y="108"/>
                    </a:lnTo>
                    <a:lnTo>
                      <a:pt x="12" y="104"/>
                    </a:lnTo>
                    <a:lnTo>
                      <a:pt x="18" y="106"/>
                    </a:lnTo>
                    <a:lnTo>
                      <a:pt x="20" y="104"/>
                    </a:lnTo>
                    <a:lnTo>
                      <a:pt x="29" y="102"/>
                    </a:lnTo>
                    <a:lnTo>
                      <a:pt x="37" y="102"/>
                    </a:lnTo>
                    <a:lnTo>
                      <a:pt x="29" y="104"/>
                    </a:lnTo>
                    <a:lnTo>
                      <a:pt x="23" y="108"/>
                    </a:lnTo>
                    <a:lnTo>
                      <a:pt x="25" y="114"/>
                    </a:lnTo>
                    <a:lnTo>
                      <a:pt x="25" y="117"/>
                    </a:lnTo>
                    <a:lnTo>
                      <a:pt x="29" y="116"/>
                    </a:lnTo>
                    <a:lnTo>
                      <a:pt x="29" y="121"/>
                    </a:lnTo>
                    <a:lnTo>
                      <a:pt x="31" y="127"/>
                    </a:lnTo>
                    <a:lnTo>
                      <a:pt x="29" y="131"/>
                    </a:lnTo>
                    <a:lnTo>
                      <a:pt x="35" y="135"/>
                    </a:lnTo>
                    <a:lnTo>
                      <a:pt x="43" y="144"/>
                    </a:lnTo>
                    <a:lnTo>
                      <a:pt x="41" y="156"/>
                    </a:lnTo>
                    <a:lnTo>
                      <a:pt x="33" y="156"/>
                    </a:lnTo>
                    <a:lnTo>
                      <a:pt x="33" y="189"/>
                    </a:lnTo>
                    <a:lnTo>
                      <a:pt x="48" y="189"/>
                    </a:lnTo>
                    <a:lnTo>
                      <a:pt x="54" y="179"/>
                    </a:lnTo>
                    <a:lnTo>
                      <a:pt x="56" y="173"/>
                    </a:lnTo>
                    <a:lnTo>
                      <a:pt x="68" y="162"/>
                    </a:lnTo>
                    <a:lnTo>
                      <a:pt x="81" y="164"/>
                    </a:lnTo>
                    <a:lnTo>
                      <a:pt x="91" y="160"/>
                    </a:lnTo>
                    <a:lnTo>
                      <a:pt x="104" y="156"/>
                    </a:lnTo>
                    <a:lnTo>
                      <a:pt x="131" y="162"/>
                    </a:lnTo>
                    <a:lnTo>
                      <a:pt x="148" y="164"/>
                    </a:lnTo>
                    <a:lnTo>
                      <a:pt x="156" y="166"/>
                    </a:lnTo>
                    <a:lnTo>
                      <a:pt x="173" y="175"/>
                    </a:lnTo>
                    <a:lnTo>
                      <a:pt x="190" y="183"/>
                    </a:lnTo>
                    <a:lnTo>
                      <a:pt x="204" y="190"/>
                    </a:lnTo>
                    <a:lnTo>
                      <a:pt x="212" y="196"/>
                    </a:lnTo>
                    <a:lnTo>
                      <a:pt x="217" y="206"/>
                    </a:lnTo>
                    <a:lnTo>
                      <a:pt x="223" y="217"/>
                    </a:lnTo>
                    <a:lnTo>
                      <a:pt x="236" y="219"/>
                    </a:lnTo>
                    <a:lnTo>
                      <a:pt x="236" y="231"/>
                    </a:lnTo>
                    <a:lnTo>
                      <a:pt x="240" y="242"/>
                    </a:lnTo>
                    <a:lnTo>
                      <a:pt x="235" y="254"/>
                    </a:lnTo>
                    <a:lnTo>
                      <a:pt x="246" y="258"/>
                    </a:lnTo>
                    <a:lnTo>
                      <a:pt x="252" y="252"/>
                    </a:lnTo>
                    <a:lnTo>
                      <a:pt x="261" y="258"/>
                    </a:lnTo>
                    <a:lnTo>
                      <a:pt x="283" y="244"/>
                    </a:lnTo>
                    <a:lnTo>
                      <a:pt x="279" y="235"/>
                    </a:lnTo>
                    <a:lnTo>
                      <a:pt x="292" y="219"/>
                    </a:lnTo>
                    <a:lnTo>
                      <a:pt x="296" y="210"/>
                    </a:lnTo>
                    <a:lnTo>
                      <a:pt x="296" y="194"/>
                    </a:lnTo>
                    <a:lnTo>
                      <a:pt x="302" y="189"/>
                    </a:lnTo>
                    <a:lnTo>
                      <a:pt x="306" y="183"/>
                    </a:lnTo>
                    <a:lnTo>
                      <a:pt x="315" y="185"/>
                    </a:lnTo>
                    <a:lnTo>
                      <a:pt x="323" y="190"/>
                    </a:lnTo>
                    <a:lnTo>
                      <a:pt x="334" y="190"/>
                    </a:lnTo>
                    <a:lnTo>
                      <a:pt x="334" y="179"/>
                    </a:lnTo>
                    <a:lnTo>
                      <a:pt x="336" y="171"/>
                    </a:lnTo>
                    <a:lnTo>
                      <a:pt x="350" y="164"/>
                    </a:lnTo>
                    <a:lnTo>
                      <a:pt x="346" y="160"/>
                    </a:lnTo>
                    <a:lnTo>
                      <a:pt x="336" y="158"/>
                    </a:lnTo>
                    <a:lnTo>
                      <a:pt x="329" y="152"/>
                    </a:lnTo>
                    <a:lnTo>
                      <a:pt x="317" y="152"/>
                    </a:lnTo>
                    <a:lnTo>
                      <a:pt x="307" y="144"/>
                    </a:lnTo>
                    <a:lnTo>
                      <a:pt x="294" y="146"/>
                    </a:lnTo>
                    <a:lnTo>
                      <a:pt x="275" y="127"/>
                    </a:lnTo>
                    <a:lnTo>
                      <a:pt x="265" y="121"/>
                    </a:lnTo>
                    <a:lnTo>
                      <a:pt x="258" y="114"/>
                    </a:lnTo>
                    <a:lnTo>
                      <a:pt x="254" y="100"/>
                    </a:lnTo>
                    <a:lnTo>
                      <a:pt x="238" y="85"/>
                    </a:lnTo>
                    <a:lnTo>
                      <a:pt x="240" y="71"/>
                    </a:lnTo>
                    <a:lnTo>
                      <a:pt x="229" y="58"/>
                    </a:lnTo>
                    <a:lnTo>
                      <a:pt x="217" y="60"/>
                    </a:lnTo>
                    <a:lnTo>
                      <a:pt x="204" y="60"/>
                    </a:lnTo>
                    <a:lnTo>
                      <a:pt x="198" y="64"/>
                    </a:lnTo>
                    <a:lnTo>
                      <a:pt x="185" y="69"/>
                    </a:lnTo>
                    <a:lnTo>
                      <a:pt x="177" y="67"/>
                    </a:lnTo>
                    <a:lnTo>
                      <a:pt x="171" y="62"/>
                    </a:lnTo>
                    <a:lnTo>
                      <a:pt x="177" y="56"/>
                    </a:lnTo>
                    <a:lnTo>
                      <a:pt x="173" y="43"/>
                    </a:lnTo>
                    <a:lnTo>
                      <a:pt x="162" y="39"/>
                    </a:lnTo>
                    <a:lnTo>
                      <a:pt x="156" y="19"/>
                    </a:lnTo>
                    <a:lnTo>
                      <a:pt x="152" y="6"/>
                    </a:lnTo>
                    <a:lnTo>
                      <a:pt x="144" y="4"/>
                    </a:lnTo>
                    <a:lnTo>
                      <a:pt x="139" y="0"/>
                    </a:lnTo>
                    <a:lnTo>
                      <a:pt x="131" y="10"/>
                    </a:lnTo>
                    <a:lnTo>
                      <a:pt x="125" y="19"/>
                    </a:lnTo>
                    <a:lnTo>
                      <a:pt x="112" y="18"/>
                    </a:lnTo>
                    <a:lnTo>
                      <a:pt x="106" y="23"/>
                    </a:lnTo>
                    <a:lnTo>
                      <a:pt x="108" y="33"/>
                    </a:lnTo>
                    <a:lnTo>
                      <a:pt x="114" y="39"/>
                    </a:lnTo>
                    <a:lnTo>
                      <a:pt x="112" y="44"/>
                    </a:lnTo>
                    <a:lnTo>
                      <a:pt x="87" y="41"/>
                    </a:lnTo>
                    <a:lnTo>
                      <a:pt x="64" y="41"/>
                    </a:lnTo>
                    <a:lnTo>
                      <a:pt x="58" y="31"/>
                    </a:lnTo>
                    <a:lnTo>
                      <a:pt x="46" y="19"/>
                    </a:lnTo>
                    <a:lnTo>
                      <a:pt x="27" y="14"/>
                    </a:lnTo>
                    <a:lnTo>
                      <a:pt x="12" y="18"/>
                    </a:lnTo>
                    <a:lnTo>
                      <a:pt x="4" y="27"/>
                    </a:lnTo>
                    <a:lnTo>
                      <a:pt x="2" y="29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7" name="Freeform 25"/>
              <p:cNvSpPr>
                <a:spLocks/>
              </p:cNvSpPr>
              <p:nvPr/>
            </p:nvSpPr>
            <p:spPr bwMode="gray">
              <a:xfrm>
                <a:off x="3558" y="2160"/>
                <a:ext cx="16" cy="12"/>
              </a:xfrm>
              <a:custGeom>
                <a:avLst/>
                <a:gdLst>
                  <a:gd name="T0" fmla="*/ 33 w 33"/>
                  <a:gd name="T1" fmla="*/ 0 h 25"/>
                  <a:gd name="T2" fmla="*/ 29 w 33"/>
                  <a:gd name="T3" fmla="*/ 16 h 25"/>
                  <a:gd name="T4" fmla="*/ 29 w 33"/>
                  <a:gd name="T5" fmla="*/ 25 h 25"/>
                  <a:gd name="T6" fmla="*/ 2 w 33"/>
                  <a:gd name="T7" fmla="*/ 25 h 25"/>
                  <a:gd name="T8" fmla="*/ 0 w 33"/>
                  <a:gd name="T9" fmla="*/ 18 h 25"/>
                  <a:gd name="T10" fmla="*/ 19 w 33"/>
                  <a:gd name="T11" fmla="*/ 6 h 25"/>
                  <a:gd name="T12" fmla="*/ 33 w 33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3"/>
                  <a:gd name="T22" fmla="*/ 0 h 25"/>
                  <a:gd name="T23" fmla="*/ 33 w 33"/>
                  <a:gd name="T24" fmla="*/ 25 h 2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3" h="25">
                    <a:moveTo>
                      <a:pt x="33" y="0"/>
                    </a:moveTo>
                    <a:lnTo>
                      <a:pt x="29" y="16"/>
                    </a:lnTo>
                    <a:lnTo>
                      <a:pt x="29" y="25"/>
                    </a:lnTo>
                    <a:lnTo>
                      <a:pt x="2" y="25"/>
                    </a:lnTo>
                    <a:lnTo>
                      <a:pt x="0" y="18"/>
                    </a:lnTo>
                    <a:lnTo>
                      <a:pt x="19" y="6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8" name="Freeform 26"/>
              <p:cNvSpPr>
                <a:spLocks/>
              </p:cNvSpPr>
              <p:nvPr/>
            </p:nvSpPr>
            <p:spPr bwMode="gray">
              <a:xfrm>
                <a:off x="3358" y="2104"/>
                <a:ext cx="236" cy="110"/>
              </a:xfrm>
              <a:custGeom>
                <a:avLst/>
                <a:gdLst>
                  <a:gd name="T0" fmla="*/ 253 w 472"/>
                  <a:gd name="T1" fmla="*/ 215 h 219"/>
                  <a:gd name="T2" fmla="*/ 267 w 472"/>
                  <a:gd name="T3" fmla="*/ 206 h 219"/>
                  <a:gd name="T4" fmla="*/ 267 w 472"/>
                  <a:gd name="T5" fmla="*/ 188 h 219"/>
                  <a:gd name="T6" fmla="*/ 284 w 472"/>
                  <a:gd name="T7" fmla="*/ 184 h 219"/>
                  <a:gd name="T8" fmla="*/ 315 w 472"/>
                  <a:gd name="T9" fmla="*/ 183 h 219"/>
                  <a:gd name="T10" fmla="*/ 361 w 472"/>
                  <a:gd name="T11" fmla="*/ 171 h 219"/>
                  <a:gd name="T12" fmla="*/ 393 w 472"/>
                  <a:gd name="T13" fmla="*/ 159 h 219"/>
                  <a:gd name="T14" fmla="*/ 409 w 472"/>
                  <a:gd name="T15" fmla="*/ 165 h 219"/>
                  <a:gd name="T16" fmla="*/ 426 w 472"/>
                  <a:gd name="T17" fmla="*/ 165 h 219"/>
                  <a:gd name="T18" fmla="*/ 447 w 472"/>
                  <a:gd name="T19" fmla="*/ 165 h 219"/>
                  <a:gd name="T20" fmla="*/ 459 w 472"/>
                  <a:gd name="T21" fmla="*/ 158 h 219"/>
                  <a:gd name="T22" fmla="*/ 445 w 472"/>
                  <a:gd name="T23" fmla="*/ 131 h 219"/>
                  <a:gd name="T24" fmla="*/ 451 w 472"/>
                  <a:gd name="T25" fmla="*/ 106 h 219"/>
                  <a:gd name="T26" fmla="*/ 455 w 472"/>
                  <a:gd name="T27" fmla="*/ 86 h 219"/>
                  <a:gd name="T28" fmla="*/ 472 w 472"/>
                  <a:gd name="T29" fmla="*/ 81 h 219"/>
                  <a:gd name="T30" fmla="*/ 440 w 472"/>
                  <a:gd name="T31" fmla="*/ 61 h 219"/>
                  <a:gd name="T32" fmla="*/ 441 w 472"/>
                  <a:gd name="T33" fmla="*/ 42 h 219"/>
                  <a:gd name="T34" fmla="*/ 436 w 472"/>
                  <a:gd name="T35" fmla="*/ 23 h 219"/>
                  <a:gd name="T36" fmla="*/ 416 w 472"/>
                  <a:gd name="T37" fmla="*/ 19 h 219"/>
                  <a:gd name="T38" fmla="*/ 393 w 472"/>
                  <a:gd name="T39" fmla="*/ 13 h 219"/>
                  <a:gd name="T40" fmla="*/ 367 w 472"/>
                  <a:gd name="T41" fmla="*/ 27 h 219"/>
                  <a:gd name="T42" fmla="*/ 324 w 472"/>
                  <a:gd name="T43" fmla="*/ 29 h 219"/>
                  <a:gd name="T44" fmla="*/ 297 w 472"/>
                  <a:gd name="T45" fmla="*/ 40 h 219"/>
                  <a:gd name="T46" fmla="*/ 267 w 472"/>
                  <a:gd name="T47" fmla="*/ 21 h 219"/>
                  <a:gd name="T48" fmla="*/ 244 w 472"/>
                  <a:gd name="T49" fmla="*/ 23 h 219"/>
                  <a:gd name="T50" fmla="*/ 225 w 472"/>
                  <a:gd name="T51" fmla="*/ 10 h 219"/>
                  <a:gd name="T52" fmla="*/ 171 w 472"/>
                  <a:gd name="T53" fmla="*/ 2 h 219"/>
                  <a:gd name="T54" fmla="*/ 140 w 472"/>
                  <a:gd name="T55" fmla="*/ 21 h 219"/>
                  <a:gd name="T56" fmla="*/ 127 w 472"/>
                  <a:gd name="T57" fmla="*/ 29 h 219"/>
                  <a:gd name="T58" fmla="*/ 71 w 472"/>
                  <a:gd name="T59" fmla="*/ 40 h 219"/>
                  <a:gd name="T60" fmla="*/ 75 w 472"/>
                  <a:gd name="T61" fmla="*/ 52 h 219"/>
                  <a:gd name="T62" fmla="*/ 29 w 472"/>
                  <a:gd name="T63" fmla="*/ 56 h 219"/>
                  <a:gd name="T64" fmla="*/ 67 w 472"/>
                  <a:gd name="T65" fmla="*/ 36 h 219"/>
                  <a:gd name="T66" fmla="*/ 44 w 472"/>
                  <a:gd name="T67" fmla="*/ 17 h 219"/>
                  <a:gd name="T68" fmla="*/ 33 w 472"/>
                  <a:gd name="T69" fmla="*/ 10 h 219"/>
                  <a:gd name="T70" fmla="*/ 17 w 472"/>
                  <a:gd name="T71" fmla="*/ 12 h 219"/>
                  <a:gd name="T72" fmla="*/ 29 w 472"/>
                  <a:gd name="T73" fmla="*/ 25 h 219"/>
                  <a:gd name="T74" fmla="*/ 12 w 472"/>
                  <a:gd name="T75" fmla="*/ 33 h 219"/>
                  <a:gd name="T76" fmla="*/ 2 w 472"/>
                  <a:gd name="T77" fmla="*/ 56 h 219"/>
                  <a:gd name="T78" fmla="*/ 10 w 472"/>
                  <a:gd name="T79" fmla="*/ 61 h 219"/>
                  <a:gd name="T80" fmla="*/ 6 w 472"/>
                  <a:gd name="T81" fmla="*/ 75 h 219"/>
                  <a:gd name="T82" fmla="*/ 6 w 472"/>
                  <a:gd name="T83" fmla="*/ 90 h 219"/>
                  <a:gd name="T84" fmla="*/ 17 w 472"/>
                  <a:gd name="T85" fmla="*/ 111 h 219"/>
                  <a:gd name="T86" fmla="*/ 25 w 472"/>
                  <a:gd name="T87" fmla="*/ 127 h 219"/>
                  <a:gd name="T88" fmla="*/ 8 w 472"/>
                  <a:gd name="T89" fmla="*/ 135 h 219"/>
                  <a:gd name="T90" fmla="*/ 21 w 472"/>
                  <a:gd name="T91" fmla="*/ 138 h 219"/>
                  <a:gd name="T92" fmla="*/ 31 w 472"/>
                  <a:gd name="T93" fmla="*/ 175 h 219"/>
                  <a:gd name="T94" fmla="*/ 48 w 472"/>
                  <a:gd name="T95" fmla="*/ 186 h 219"/>
                  <a:gd name="T96" fmla="*/ 90 w 472"/>
                  <a:gd name="T97" fmla="*/ 209 h 219"/>
                  <a:gd name="T98" fmla="*/ 119 w 472"/>
                  <a:gd name="T99" fmla="*/ 186 h 219"/>
                  <a:gd name="T100" fmla="*/ 182 w 472"/>
                  <a:gd name="T101" fmla="*/ 208 h 219"/>
                  <a:gd name="T102" fmla="*/ 217 w 472"/>
                  <a:gd name="T103" fmla="*/ 194 h 219"/>
                  <a:gd name="T104" fmla="*/ 236 w 472"/>
                  <a:gd name="T105" fmla="*/ 183 h 219"/>
                  <a:gd name="T106" fmla="*/ 232 w 472"/>
                  <a:gd name="T107" fmla="*/ 208 h 219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72"/>
                  <a:gd name="T163" fmla="*/ 0 h 219"/>
                  <a:gd name="T164" fmla="*/ 472 w 472"/>
                  <a:gd name="T165" fmla="*/ 219 h 219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72" h="219">
                    <a:moveTo>
                      <a:pt x="240" y="217"/>
                    </a:moveTo>
                    <a:lnTo>
                      <a:pt x="240" y="219"/>
                    </a:lnTo>
                    <a:lnTo>
                      <a:pt x="250" y="219"/>
                    </a:lnTo>
                    <a:lnTo>
                      <a:pt x="253" y="215"/>
                    </a:lnTo>
                    <a:lnTo>
                      <a:pt x="255" y="209"/>
                    </a:lnTo>
                    <a:lnTo>
                      <a:pt x="259" y="208"/>
                    </a:lnTo>
                    <a:lnTo>
                      <a:pt x="265" y="208"/>
                    </a:lnTo>
                    <a:lnTo>
                      <a:pt x="267" y="206"/>
                    </a:lnTo>
                    <a:lnTo>
                      <a:pt x="267" y="200"/>
                    </a:lnTo>
                    <a:lnTo>
                      <a:pt x="265" y="198"/>
                    </a:lnTo>
                    <a:lnTo>
                      <a:pt x="263" y="192"/>
                    </a:lnTo>
                    <a:lnTo>
                      <a:pt x="267" y="188"/>
                    </a:lnTo>
                    <a:lnTo>
                      <a:pt x="271" y="188"/>
                    </a:lnTo>
                    <a:lnTo>
                      <a:pt x="274" y="190"/>
                    </a:lnTo>
                    <a:lnTo>
                      <a:pt x="278" y="190"/>
                    </a:lnTo>
                    <a:lnTo>
                      <a:pt x="284" y="184"/>
                    </a:lnTo>
                    <a:lnTo>
                      <a:pt x="294" y="184"/>
                    </a:lnTo>
                    <a:lnTo>
                      <a:pt x="299" y="186"/>
                    </a:lnTo>
                    <a:lnTo>
                      <a:pt x="305" y="184"/>
                    </a:lnTo>
                    <a:lnTo>
                      <a:pt x="315" y="183"/>
                    </a:lnTo>
                    <a:lnTo>
                      <a:pt x="326" y="181"/>
                    </a:lnTo>
                    <a:lnTo>
                      <a:pt x="340" y="173"/>
                    </a:lnTo>
                    <a:lnTo>
                      <a:pt x="347" y="171"/>
                    </a:lnTo>
                    <a:lnTo>
                      <a:pt x="361" y="171"/>
                    </a:lnTo>
                    <a:lnTo>
                      <a:pt x="372" y="169"/>
                    </a:lnTo>
                    <a:lnTo>
                      <a:pt x="378" y="163"/>
                    </a:lnTo>
                    <a:lnTo>
                      <a:pt x="388" y="159"/>
                    </a:lnTo>
                    <a:lnTo>
                      <a:pt x="393" y="159"/>
                    </a:lnTo>
                    <a:lnTo>
                      <a:pt x="395" y="165"/>
                    </a:lnTo>
                    <a:lnTo>
                      <a:pt x="397" y="167"/>
                    </a:lnTo>
                    <a:lnTo>
                      <a:pt x="407" y="167"/>
                    </a:lnTo>
                    <a:lnTo>
                      <a:pt x="409" y="165"/>
                    </a:lnTo>
                    <a:lnTo>
                      <a:pt x="413" y="165"/>
                    </a:lnTo>
                    <a:lnTo>
                      <a:pt x="418" y="169"/>
                    </a:lnTo>
                    <a:lnTo>
                      <a:pt x="424" y="169"/>
                    </a:lnTo>
                    <a:lnTo>
                      <a:pt x="426" y="165"/>
                    </a:lnTo>
                    <a:lnTo>
                      <a:pt x="430" y="161"/>
                    </a:lnTo>
                    <a:lnTo>
                      <a:pt x="436" y="165"/>
                    </a:lnTo>
                    <a:lnTo>
                      <a:pt x="438" y="171"/>
                    </a:lnTo>
                    <a:lnTo>
                      <a:pt x="447" y="165"/>
                    </a:lnTo>
                    <a:lnTo>
                      <a:pt x="457" y="169"/>
                    </a:lnTo>
                    <a:lnTo>
                      <a:pt x="457" y="167"/>
                    </a:lnTo>
                    <a:lnTo>
                      <a:pt x="459" y="163"/>
                    </a:lnTo>
                    <a:lnTo>
                      <a:pt x="459" y="158"/>
                    </a:lnTo>
                    <a:lnTo>
                      <a:pt x="457" y="152"/>
                    </a:lnTo>
                    <a:lnTo>
                      <a:pt x="453" y="144"/>
                    </a:lnTo>
                    <a:lnTo>
                      <a:pt x="447" y="138"/>
                    </a:lnTo>
                    <a:lnTo>
                      <a:pt x="445" y="131"/>
                    </a:lnTo>
                    <a:lnTo>
                      <a:pt x="445" y="125"/>
                    </a:lnTo>
                    <a:lnTo>
                      <a:pt x="449" y="121"/>
                    </a:lnTo>
                    <a:lnTo>
                      <a:pt x="451" y="117"/>
                    </a:lnTo>
                    <a:lnTo>
                      <a:pt x="451" y="106"/>
                    </a:lnTo>
                    <a:lnTo>
                      <a:pt x="447" y="102"/>
                    </a:lnTo>
                    <a:lnTo>
                      <a:pt x="447" y="98"/>
                    </a:lnTo>
                    <a:lnTo>
                      <a:pt x="455" y="90"/>
                    </a:lnTo>
                    <a:lnTo>
                      <a:pt x="455" y="86"/>
                    </a:lnTo>
                    <a:lnTo>
                      <a:pt x="463" y="90"/>
                    </a:lnTo>
                    <a:lnTo>
                      <a:pt x="464" y="92"/>
                    </a:lnTo>
                    <a:lnTo>
                      <a:pt x="466" y="92"/>
                    </a:lnTo>
                    <a:lnTo>
                      <a:pt x="472" y="81"/>
                    </a:lnTo>
                    <a:lnTo>
                      <a:pt x="470" y="77"/>
                    </a:lnTo>
                    <a:lnTo>
                      <a:pt x="463" y="69"/>
                    </a:lnTo>
                    <a:lnTo>
                      <a:pt x="453" y="67"/>
                    </a:lnTo>
                    <a:lnTo>
                      <a:pt x="440" y="61"/>
                    </a:lnTo>
                    <a:lnTo>
                      <a:pt x="436" y="56"/>
                    </a:lnTo>
                    <a:lnTo>
                      <a:pt x="438" y="50"/>
                    </a:lnTo>
                    <a:lnTo>
                      <a:pt x="438" y="46"/>
                    </a:lnTo>
                    <a:lnTo>
                      <a:pt x="441" y="42"/>
                    </a:lnTo>
                    <a:lnTo>
                      <a:pt x="445" y="35"/>
                    </a:lnTo>
                    <a:lnTo>
                      <a:pt x="443" y="29"/>
                    </a:lnTo>
                    <a:lnTo>
                      <a:pt x="441" y="25"/>
                    </a:lnTo>
                    <a:lnTo>
                      <a:pt x="436" y="23"/>
                    </a:lnTo>
                    <a:lnTo>
                      <a:pt x="436" y="17"/>
                    </a:lnTo>
                    <a:lnTo>
                      <a:pt x="432" y="17"/>
                    </a:lnTo>
                    <a:lnTo>
                      <a:pt x="424" y="19"/>
                    </a:lnTo>
                    <a:lnTo>
                      <a:pt x="416" y="19"/>
                    </a:lnTo>
                    <a:lnTo>
                      <a:pt x="416" y="17"/>
                    </a:lnTo>
                    <a:lnTo>
                      <a:pt x="413" y="15"/>
                    </a:lnTo>
                    <a:lnTo>
                      <a:pt x="407" y="13"/>
                    </a:lnTo>
                    <a:lnTo>
                      <a:pt x="393" y="13"/>
                    </a:lnTo>
                    <a:lnTo>
                      <a:pt x="386" y="15"/>
                    </a:lnTo>
                    <a:lnTo>
                      <a:pt x="380" y="15"/>
                    </a:lnTo>
                    <a:lnTo>
                      <a:pt x="378" y="13"/>
                    </a:lnTo>
                    <a:lnTo>
                      <a:pt x="367" y="27"/>
                    </a:lnTo>
                    <a:lnTo>
                      <a:pt x="351" y="36"/>
                    </a:lnTo>
                    <a:lnTo>
                      <a:pt x="336" y="36"/>
                    </a:lnTo>
                    <a:lnTo>
                      <a:pt x="330" y="29"/>
                    </a:lnTo>
                    <a:lnTo>
                      <a:pt x="324" y="29"/>
                    </a:lnTo>
                    <a:lnTo>
                      <a:pt x="321" y="36"/>
                    </a:lnTo>
                    <a:lnTo>
                      <a:pt x="313" y="36"/>
                    </a:lnTo>
                    <a:lnTo>
                      <a:pt x="301" y="38"/>
                    </a:lnTo>
                    <a:lnTo>
                      <a:pt x="297" y="40"/>
                    </a:lnTo>
                    <a:lnTo>
                      <a:pt x="274" y="33"/>
                    </a:lnTo>
                    <a:lnTo>
                      <a:pt x="273" y="29"/>
                    </a:lnTo>
                    <a:lnTo>
                      <a:pt x="269" y="23"/>
                    </a:lnTo>
                    <a:lnTo>
                      <a:pt x="267" y="21"/>
                    </a:lnTo>
                    <a:lnTo>
                      <a:pt x="259" y="23"/>
                    </a:lnTo>
                    <a:lnTo>
                      <a:pt x="253" y="27"/>
                    </a:lnTo>
                    <a:lnTo>
                      <a:pt x="248" y="29"/>
                    </a:lnTo>
                    <a:lnTo>
                      <a:pt x="244" y="23"/>
                    </a:lnTo>
                    <a:lnTo>
                      <a:pt x="242" y="17"/>
                    </a:lnTo>
                    <a:lnTo>
                      <a:pt x="240" y="13"/>
                    </a:lnTo>
                    <a:lnTo>
                      <a:pt x="228" y="10"/>
                    </a:lnTo>
                    <a:lnTo>
                      <a:pt x="225" y="10"/>
                    </a:lnTo>
                    <a:lnTo>
                      <a:pt x="221" y="2"/>
                    </a:lnTo>
                    <a:lnTo>
                      <a:pt x="207" y="2"/>
                    </a:lnTo>
                    <a:lnTo>
                      <a:pt x="186" y="0"/>
                    </a:lnTo>
                    <a:lnTo>
                      <a:pt x="171" y="2"/>
                    </a:lnTo>
                    <a:lnTo>
                      <a:pt x="161" y="6"/>
                    </a:lnTo>
                    <a:lnTo>
                      <a:pt x="152" y="15"/>
                    </a:lnTo>
                    <a:lnTo>
                      <a:pt x="144" y="21"/>
                    </a:lnTo>
                    <a:lnTo>
                      <a:pt x="140" y="21"/>
                    </a:lnTo>
                    <a:lnTo>
                      <a:pt x="136" y="19"/>
                    </a:lnTo>
                    <a:lnTo>
                      <a:pt x="132" y="21"/>
                    </a:lnTo>
                    <a:lnTo>
                      <a:pt x="131" y="23"/>
                    </a:lnTo>
                    <a:lnTo>
                      <a:pt x="127" y="29"/>
                    </a:lnTo>
                    <a:lnTo>
                      <a:pt x="125" y="33"/>
                    </a:lnTo>
                    <a:lnTo>
                      <a:pt x="106" y="33"/>
                    </a:lnTo>
                    <a:lnTo>
                      <a:pt x="75" y="29"/>
                    </a:lnTo>
                    <a:lnTo>
                      <a:pt x="71" y="40"/>
                    </a:lnTo>
                    <a:lnTo>
                      <a:pt x="77" y="40"/>
                    </a:lnTo>
                    <a:lnTo>
                      <a:pt x="86" y="44"/>
                    </a:lnTo>
                    <a:lnTo>
                      <a:pt x="71" y="44"/>
                    </a:lnTo>
                    <a:lnTo>
                      <a:pt x="75" y="52"/>
                    </a:lnTo>
                    <a:lnTo>
                      <a:pt x="40" y="52"/>
                    </a:lnTo>
                    <a:lnTo>
                      <a:pt x="40" y="60"/>
                    </a:lnTo>
                    <a:lnTo>
                      <a:pt x="33" y="58"/>
                    </a:lnTo>
                    <a:lnTo>
                      <a:pt x="29" y="56"/>
                    </a:lnTo>
                    <a:lnTo>
                      <a:pt x="21" y="56"/>
                    </a:lnTo>
                    <a:lnTo>
                      <a:pt x="35" y="48"/>
                    </a:lnTo>
                    <a:lnTo>
                      <a:pt x="50" y="42"/>
                    </a:lnTo>
                    <a:lnTo>
                      <a:pt x="67" y="36"/>
                    </a:lnTo>
                    <a:lnTo>
                      <a:pt x="67" y="29"/>
                    </a:lnTo>
                    <a:lnTo>
                      <a:pt x="59" y="25"/>
                    </a:lnTo>
                    <a:lnTo>
                      <a:pt x="50" y="21"/>
                    </a:lnTo>
                    <a:lnTo>
                      <a:pt x="44" y="17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38" y="10"/>
                    </a:lnTo>
                    <a:lnTo>
                      <a:pt x="33" y="10"/>
                    </a:lnTo>
                    <a:lnTo>
                      <a:pt x="29" y="8"/>
                    </a:lnTo>
                    <a:lnTo>
                      <a:pt x="25" y="8"/>
                    </a:lnTo>
                    <a:lnTo>
                      <a:pt x="19" y="10"/>
                    </a:lnTo>
                    <a:lnTo>
                      <a:pt x="17" y="12"/>
                    </a:lnTo>
                    <a:lnTo>
                      <a:pt x="17" y="15"/>
                    </a:lnTo>
                    <a:lnTo>
                      <a:pt x="27" y="19"/>
                    </a:lnTo>
                    <a:lnTo>
                      <a:pt x="29" y="21"/>
                    </a:lnTo>
                    <a:lnTo>
                      <a:pt x="29" y="25"/>
                    </a:lnTo>
                    <a:lnTo>
                      <a:pt x="25" y="31"/>
                    </a:lnTo>
                    <a:lnTo>
                      <a:pt x="19" y="31"/>
                    </a:lnTo>
                    <a:lnTo>
                      <a:pt x="13" y="29"/>
                    </a:lnTo>
                    <a:lnTo>
                      <a:pt x="12" y="33"/>
                    </a:lnTo>
                    <a:lnTo>
                      <a:pt x="10" y="40"/>
                    </a:lnTo>
                    <a:lnTo>
                      <a:pt x="4" y="48"/>
                    </a:lnTo>
                    <a:lnTo>
                      <a:pt x="0" y="50"/>
                    </a:lnTo>
                    <a:lnTo>
                      <a:pt x="2" y="56"/>
                    </a:lnTo>
                    <a:lnTo>
                      <a:pt x="2" y="60"/>
                    </a:lnTo>
                    <a:lnTo>
                      <a:pt x="4" y="63"/>
                    </a:lnTo>
                    <a:lnTo>
                      <a:pt x="6" y="63"/>
                    </a:lnTo>
                    <a:lnTo>
                      <a:pt x="10" y="61"/>
                    </a:lnTo>
                    <a:lnTo>
                      <a:pt x="15" y="58"/>
                    </a:lnTo>
                    <a:lnTo>
                      <a:pt x="21" y="56"/>
                    </a:lnTo>
                    <a:lnTo>
                      <a:pt x="10" y="67"/>
                    </a:lnTo>
                    <a:lnTo>
                      <a:pt x="6" y="75"/>
                    </a:lnTo>
                    <a:lnTo>
                      <a:pt x="2" y="75"/>
                    </a:lnTo>
                    <a:lnTo>
                      <a:pt x="0" y="83"/>
                    </a:lnTo>
                    <a:lnTo>
                      <a:pt x="2" y="90"/>
                    </a:lnTo>
                    <a:lnTo>
                      <a:pt x="6" y="90"/>
                    </a:lnTo>
                    <a:lnTo>
                      <a:pt x="13" y="92"/>
                    </a:lnTo>
                    <a:lnTo>
                      <a:pt x="17" y="92"/>
                    </a:lnTo>
                    <a:lnTo>
                      <a:pt x="19" y="104"/>
                    </a:lnTo>
                    <a:lnTo>
                      <a:pt x="17" y="111"/>
                    </a:lnTo>
                    <a:lnTo>
                      <a:pt x="17" y="119"/>
                    </a:lnTo>
                    <a:lnTo>
                      <a:pt x="19" y="121"/>
                    </a:lnTo>
                    <a:lnTo>
                      <a:pt x="21" y="125"/>
                    </a:lnTo>
                    <a:lnTo>
                      <a:pt x="25" y="127"/>
                    </a:lnTo>
                    <a:lnTo>
                      <a:pt x="15" y="129"/>
                    </a:lnTo>
                    <a:lnTo>
                      <a:pt x="12" y="131"/>
                    </a:lnTo>
                    <a:lnTo>
                      <a:pt x="6" y="131"/>
                    </a:lnTo>
                    <a:lnTo>
                      <a:pt x="8" y="135"/>
                    </a:lnTo>
                    <a:lnTo>
                      <a:pt x="8" y="140"/>
                    </a:lnTo>
                    <a:lnTo>
                      <a:pt x="10" y="144"/>
                    </a:lnTo>
                    <a:lnTo>
                      <a:pt x="12" y="142"/>
                    </a:lnTo>
                    <a:lnTo>
                      <a:pt x="21" y="138"/>
                    </a:lnTo>
                    <a:lnTo>
                      <a:pt x="23" y="152"/>
                    </a:lnTo>
                    <a:lnTo>
                      <a:pt x="23" y="163"/>
                    </a:lnTo>
                    <a:lnTo>
                      <a:pt x="25" y="173"/>
                    </a:lnTo>
                    <a:lnTo>
                      <a:pt x="31" y="175"/>
                    </a:lnTo>
                    <a:lnTo>
                      <a:pt x="36" y="173"/>
                    </a:lnTo>
                    <a:lnTo>
                      <a:pt x="44" y="173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9" y="183"/>
                    </a:lnTo>
                    <a:lnTo>
                      <a:pt x="67" y="192"/>
                    </a:lnTo>
                    <a:lnTo>
                      <a:pt x="86" y="211"/>
                    </a:lnTo>
                    <a:lnTo>
                      <a:pt x="90" y="209"/>
                    </a:lnTo>
                    <a:lnTo>
                      <a:pt x="96" y="209"/>
                    </a:lnTo>
                    <a:lnTo>
                      <a:pt x="102" y="208"/>
                    </a:lnTo>
                    <a:lnTo>
                      <a:pt x="109" y="196"/>
                    </a:lnTo>
                    <a:lnTo>
                      <a:pt x="119" y="186"/>
                    </a:lnTo>
                    <a:lnTo>
                      <a:pt x="144" y="198"/>
                    </a:lnTo>
                    <a:lnTo>
                      <a:pt x="154" y="208"/>
                    </a:lnTo>
                    <a:lnTo>
                      <a:pt x="159" y="211"/>
                    </a:lnTo>
                    <a:lnTo>
                      <a:pt x="182" y="208"/>
                    </a:lnTo>
                    <a:lnTo>
                      <a:pt x="200" y="198"/>
                    </a:lnTo>
                    <a:lnTo>
                      <a:pt x="209" y="190"/>
                    </a:lnTo>
                    <a:lnTo>
                      <a:pt x="213" y="190"/>
                    </a:lnTo>
                    <a:lnTo>
                      <a:pt x="217" y="194"/>
                    </a:lnTo>
                    <a:lnTo>
                      <a:pt x="225" y="192"/>
                    </a:lnTo>
                    <a:lnTo>
                      <a:pt x="226" y="188"/>
                    </a:lnTo>
                    <a:lnTo>
                      <a:pt x="236" y="179"/>
                    </a:lnTo>
                    <a:lnTo>
                      <a:pt x="236" y="183"/>
                    </a:lnTo>
                    <a:lnTo>
                      <a:pt x="240" y="188"/>
                    </a:lnTo>
                    <a:lnTo>
                      <a:pt x="240" y="198"/>
                    </a:lnTo>
                    <a:lnTo>
                      <a:pt x="232" y="200"/>
                    </a:lnTo>
                    <a:lnTo>
                      <a:pt x="232" y="208"/>
                    </a:lnTo>
                    <a:lnTo>
                      <a:pt x="236" y="219"/>
                    </a:lnTo>
                    <a:lnTo>
                      <a:pt x="240" y="21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39" name="Freeform 27"/>
              <p:cNvSpPr>
                <a:spLocks/>
              </p:cNvSpPr>
              <p:nvPr/>
            </p:nvSpPr>
            <p:spPr bwMode="gray">
              <a:xfrm>
                <a:off x="3120" y="2187"/>
                <a:ext cx="53" cy="110"/>
              </a:xfrm>
              <a:custGeom>
                <a:avLst/>
                <a:gdLst>
                  <a:gd name="T0" fmla="*/ 102 w 106"/>
                  <a:gd name="T1" fmla="*/ 127 h 221"/>
                  <a:gd name="T2" fmla="*/ 96 w 106"/>
                  <a:gd name="T3" fmla="*/ 131 h 221"/>
                  <a:gd name="T4" fmla="*/ 83 w 106"/>
                  <a:gd name="T5" fmla="*/ 119 h 221"/>
                  <a:gd name="T6" fmla="*/ 79 w 106"/>
                  <a:gd name="T7" fmla="*/ 110 h 221"/>
                  <a:gd name="T8" fmla="*/ 81 w 106"/>
                  <a:gd name="T9" fmla="*/ 102 h 221"/>
                  <a:gd name="T10" fmla="*/ 90 w 106"/>
                  <a:gd name="T11" fmla="*/ 96 h 221"/>
                  <a:gd name="T12" fmla="*/ 96 w 106"/>
                  <a:gd name="T13" fmla="*/ 68 h 221"/>
                  <a:gd name="T14" fmla="*/ 94 w 106"/>
                  <a:gd name="T15" fmla="*/ 58 h 221"/>
                  <a:gd name="T16" fmla="*/ 86 w 106"/>
                  <a:gd name="T17" fmla="*/ 58 h 221"/>
                  <a:gd name="T18" fmla="*/ 86 w 106"/>
                  <a:gd name="T19" fmla="*/ 48 h 221"/>
                  <a:gd name="T20" fmla="*/ 92 w 106"/>
                  <a:gd name="T21" fmla="*/ 35 h 221"/>
                  <a:gd name="T22" fmla="*/ 106 w 106"/>
                  <a:gd name="T23" fmla="*/ 14 h 221"/>
                  <a:gd name="T24" fmla="*/ 88 w 106"/>
                  <a:gd name="T25" fmla="*/ 18 h 221"/>
                  <a:gd name="T26" fmla="*/ 83 w 106"/>
                  <a:gd name="T27" fmla="*/ 6 h 221"/>
                  <a:gd name="T28" fmla="*/ 73 w 106"/>
                  <a:gd name="T29" fmla="*/ 2 h 221"/>
                  <a:gd name="T30" fmla="*/ 61 w 106"/>
                  <a:gd name="T31" fmla="*/ 4 h 221"/>
                  <a:gd name="T32" fmla="*/ 44 w 106"/>
                  <a:gd name="T33" fmla="*/ 14 h 221"/>
                  <a:gd name="T34" fmla="*/ 25 w 106"/>
                  <a:gd name="T35" fmla="*/ 12 h 221"/>
                  <a:gd name="T36" fmla="*/ 17 w 106"/>
                  <a:gd name="T37" fmla="*/ 23 h 221"/>
                  <a:gd name="T38" fmla="*/ 23 w 106"/>
                  <a:gd name="T39" fmla="*/ 35 h 221"/>
                  <a:gd name="T40" fmla="*/ 27 w 106"/>
                  <a:gd name="T41" fmla="*/ 62 h 221"/>
                  <a:gd name="T42" fmla="*/ 27 w 106"/>
                  <a:gd name="T43" fmla="*/ 77 h 221"/>
                  <a:gd name="T44" fmla="*/ 19 w 106"/>
                  <a:gd name="T45" fmla="*/ 91 h 221"/>
                  <a:gd name="T46" fmla="*/ 10 w 106"/>
                  <a:gd name="T47" fmla="*/ 100 h 221"/>
                  <a:gd name="T48" fmla="*/ 2 w 106"/>
                  <a:gd name="T49" fmla="*/ 102 h 221"/>
                  <a:gd name="T50" fmla="*/ 2 w 106"/>
                  <a:gd name="T51" fmla="*/ 117 h 221"/>
                  <a:gd name="T52" fmla="*/ 6 w 106"/>
                  <a:gd name="T53" fmla="*/ 135 h 221"/>
                  <a:gd name="T54" fmla="*/ 15 w 106"/>
                  <a:gd name="T55" fmla="*/ 139 h 221"/>
                  <a:gd name="T56" fmla="*/ 21 w 106"/>
                  <a:gd name="T57" fmla="*/ 156 h 221"/>
                  <a:gd name="T58" fmla="*/ 36 w 106"/>
                  <a:gd name="T59" fmla="*/ 164 h 221"/>
                  <a:gd name="T60" fmla="*/ 50 w 106"/>
                  <a:gd name="T61" fmla="*/ 219 h 221"/>
                  <a:gd name="T62" fmla="*/ 59 w 106"/>
                  <a:gd name="T63" fmla="*/ 212 h 221"/>
                  <a:gd name="T64" fmla="*/ 65 w 106"/>
                  <a:gd name="T65" fmla="*/ 204 h 221"/>
                  <a:gd name="T66" fmla="*/ 63 w 106"/>
                  <a:gd name="T67" fmla="*/ 189 h 221"/>
                  <a:gd name="T68" fmla="*/ 65 w 106"/>
                  <a:gd name="T69" fmla="*/ 175 h 221"/>
                  <a:gd name="T70" fmla="*/ 75 w 106"/>
                  <a:gd name="T71" fmla="*/ 171 h 221"/>
                  <a:gd name="T72" fmla="*/ 96 w 106"/>
                  <a:gd name="T73" fmla="*/ 154 h 221"/>
                  <a:gd name="T74" fmla="*/ 102 w 106"/>
                  <a:gd name="T75" fmla="*/ 131 h 22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06"/>
                  <a:gd name="T115" fmla="*/ 0 h 221"/>
                  <a:gd name="T116" fmla="*/ 106 w 106"/>
                  <a:gd name="T117" fmla="*/ 221 h 22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06" h="221">
                    <a:moveTo>
                      <a:pt x="102" y="131"/>
                    </a:moveTo>
                    <a:lnTo>
                      <a:pt x="102" y="127"/>
                    </a:lnTo>
                    <a:lnTo>
                      <a:pt x="98" y="129"/>
                    </a:lnTo>
                    <a:lnTo>
                      <a:pt x="96" y="131"/>
                    </a:lnTo>
                    <a:lnTo>
                      <a:pt x="94" y="131"/>
                    </a:lnTo>
                    <a:lnTo>
                      <a:pt x="83" y="119"/>
                    </a:lnTo>
                    <a:lnTo>
                      <a:pt x="81" y="114"/>
                    </a:lnTo>
                    <a:lnTo>
                      <a:pt x="79" y="110"/>
                    </a:lnTo>
                    <a:lnTo>
                      <a:pt x="79" y="104"/>
                    </a:lnTo>
                    <a:lnTo>
                      <a:pt x="81" y="102"/>
                    </a:lnTo>
                    <a:lnTo>
                      <a:pt x="86" y="100"/>
                    </a:lnTo>
                    <a:lnTo>
                      <a:pt x="90" y="96"/>
                    </a:lnTo>
                    <a:lnTo>
                      <a:pt x="92" y="85"/>
                    </a:lnTo>
                    <a:lnTo>
                      <a:pt x="96" y="68"/>
                    </a:lnTo>
                    <a:lnTo>
                      <a:pt x="98" y="58"/>
                    </a:lnTo>
                    <a:lnTo>
                      <a:pt x="94" y="58"/>
                    </a:lnTo>
                    <a:lnTo>
                      <a:pt x="88" y="60"/>
                    </a:lnTo>
                    <a:lnTo>
                      <a:pt x="86" y="58"/>
                    </a:lnTo>
                    <a:lnTo>
                      <a:pt x="84" y="54"/>
                    </a:lnTo>
                    <a:lnTo>
                      <a:pt x="86" y="48"/>
                    </a:lnTo>
                    <a:lnTo>
                      <a:pt x="86" y="43"/>
                    </a:lnTo>
                    <a:lnTo>
                      <a:pt x="92" y="35"/>
                    </a:lnTo>
                    <a:lnTo>
                      <a:pt x="98" y="23"/>
                    </a:lnTo>
                    <a:lnTo>
                      <a:pt x="106" y="14"/>
                    </a:lnTo>
                    <a:lnTo>
                      <a:pt x="98" y="14"/>
                    </a:lnTo>
                    <a:lnTo>
                      <a:pt x="88" y="18"/>
                    </a:lnTo>
                    <a:lnTo>
                      <a:pt x="83" y="18"/>
                    </a:lnTo>
                    <a:lnTo>
                      <a:pt x="83" y="6"/>
                    </a:lnTo>
                    <a:lnTo>
                      <a:pt x="77" y="4"/>
                    </a:lnTo>
                    <a:lnTo>
                      <a:pt x="73" y="2"/>
                    </a:lnTo>
                    <a:lnTo>
                      <a:pt x="71" y="0"/>
                    </a:lnTo>
                    <a:lnTo>
                      <a:pt x="61" y="4"/>
                    </a:lnTo>
                    <a:lnTo>
                      <a:pt x="52" y="10"/>
                    </a:lnTo>
                    <a:lnTo>
                      <a:pt x="44" y="14"/>
                    </a:lnTo>
                    <a:lnTo>
                      <a:pt x="35" y="14"/>
                    </a:lnTo>
                    <a:lnTo>
                      <a:pt x="25" y="12"/>
                    </a:lnTo>
                    <a:lnTo>
                      <a:pt x="17" y="8"/>
                    </a:lnTo>
                    <a:lnTo>
                      <a:pt x="17" y="23"/>
                    </a:lnTo>
                    <a:lnTo>
                      <a:pt x="19" y="31"/>
                    </a:lnTo>
                    <a:lnTo>
                      <a:pt x="23" y="35"/>
                    </a:lnTo>
                    <a:lnTo>
                      <a:pt x="23" y="46"/>
                    </a:lnTo>
                    <a:lnTo>
                      <a:pt x="27" y="62"/>
                    </a:lnTo>
                    <a:lnTo>
                      <a:pt x="29" y="71"/>
                    </a:lnTo>
                    <a:lnTo>
                      <a:pt x="27" y="77"/>
                    </a:lnTo>
                    <a:lnTo>
                      <a:pt x="21" y="83"/>
                    </a:lnTo>
                    <a:lnTo>
                      <a:pt x="19" y="91"/>
                    </a:lnTo>
                    <a:lnTo>
                      <a:pt x="15" y="96"/>
                    </a:lnTo>
                    <a:lnTo>
                      <a:pt x="10" y="100"/>
                    </a:lnTo>
                    <a:lnTo>
                      <a:pt x="6" y="100"/>
                    </a:lnTo>
                    <a:lnTo>
                      <a:pt x="2" y="102"/>
                    </a:lnTo>
                    <a:lnTo>
                      <a:pt x="0" y="108"/>
                    </a:lnTo>
                    <a:lnTo>
                      <a:pt x="2" y="117"/>
                    </a:lnTo>
                    <a:lnTo>
                      <a:pt x="4" y="129"/>
                    </a:lnTo>
                    <a:lnTo>
                      <a:pt x="6" y="135"/>
                    </a:lnTo>
                    <a:lnTo>
                      <a:pt x="12" y="135"/>
                    </a:lnTo>
                    <a:lnTo>
                      <a:pt x="15" y="139"/>
                    </a:lnTo>
                    <a:lnTo>
                      <a:pt x="19" y="148"/>
                    </a:lnTo>
                    <a:lnTo>
                      <a:pt x="21" y="156"/>
                    </a:lnTo>
                    <a:lnTo>
                      <a:pt x="21" y="160"/>
                    </a:lnTo>
                    <a:lnTo>
                      <a:pt x="36" y="164"/>
                    </a:lnTo>
                    <a:lnTo>
                      <a:pt x="44" y="221"/>
                    </a:lnTo>
                    <a:lnTo>
                      <a:pt x="50" y="219"/>
                    </a:lnTo>
                    <a:lnTo>
                      <a:pt x="58" y="215"/>
                    </a:lnTo>
                    <a:lnTo>
                      <a:pt x="59" y="212"/>
                    </a:lnTo>
                    <a:lnTo>
                      <a:pt x="61" y="206"/>
                    </a:lnTo>
                    <a:lnTo>
                      <a:pt x="65" y="204"/>
                    </a:lnTo>
                    <a:lnTo>
                      <a:pt x="65" y="198"/>
                    </a:lnTo>
                    <a:lnTo>
                      <a:pt x="63" y="189"/>
                    </a:lnTo>
                    <a:lnTo>
                      <a:pt x="63" y="175"/>
                    </a:lnTo>
                    <a:lnTo>
                      <a:pt x="65" y="175"/>
                    </a:lnTo>
                    <a:lnTo>
                      <a:pt x="69" y="171"/>
                    </a:lnTo>
                    <a:lnTo>
                      <a:pt x="75" y="171"/>
                    </a:lnTo>
                    <a:lnTo>
                      <a:pt x="81" y="169"/>
                    </a:lnTo>
                    <a:lnTo>
                      <a:pt x="96" y="154"/>
                    </a:lnTo>
                    <a:lnTo>
                      <a:pt x="96" y="144"/>
                    </a:lnTo>
                    <a:lnTo>
                      <a:pt x="102" y="13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0" name="Freeform 28"/>
              <p:cNvSpPr>
                <a:spLocks/>
              </p:cNvSpPr>
              <p:nvPr/>
            </p:nvSpPr>
            <p:spPr bwMode="gray">
              <a:xfrm>
                <a:off x="3027" y="2597"/>
                <a:ext cx="27" cy="97"/>
              </a:xfrm>
              <a:custGeom>
                <a:avLst/>
                <a:gdLst>
                  <a:gd name="T0" fmla="*/ 52 w 54"/>
                  <a:gd name="T1" fmla="*/ 175 h 194"/>
                  <a:gd name="T2" fmla="*/ 52 w 54"/>
                  <a:gd name="T3" fmla="*/ 173 h 194"/>
                  <a:gd name="T4" fmla="*/ 50 w 54"/>
                  <a:gd name="T5" fmla="*/ 171 h 194"/>
                  <a:gd name="T6" fmla="*/ 46 w 54"/>
                  <a:gd name="T7" fmla="*/ 163 h 194"/>
                  <a:gd name="T8" fmla="*/ 46 w 54"/>
                  <a:gd name="T9" fmla="*/ 152 h 194"/>
                  <a:gd name="T10" fmla="*/ 44 w 54"/>
                  <a:gd name="T11" fmla="*/ 144 h 194"/>
                  <a:gd name="T12" fmla="*/ 42 w 54"/>
                  <a:gd name="T13" fmla="*/ 138 h 194"/>
                  <a:gd name="T14" fmla="*/ 42 w 54"/>
                  <a:gd name="T15" fmla="*/ 134 h 194"/>
                  <a:gd name="T16" fmla="*/ 46 w 54"/>
                  <a:gd name="T17" fmla="*/ 127 h 194"/>
                  <a:gd name="T18" fmla="*/ 46 w 54"/>
                  <a:gd name="T19" fmla="*/ 100 h 194"/>
                  <a:gd name="T20" fmla="*/ 44 w 54"/>
                  <a:gd name="T21" fmla="*/ 92 h 194"/>
                  <a:gd name="T22" fmla="*/ 48 w 54"/>
                  <a:gd name="T23" fmla="*/ 73 h 194"/>
                  <a:gd name="T24" fmla="*/ 48 w 54"/>
                  <a:gd name="T25" fmla="*/ 67 h 194"/>
                  <a:gd name="T26" fmla="*/ 46 w 54"/>
                  <a:gd name="T27" fmla="*/ 63 h 194"/>
                  <a:gd name="T28" fmla="*/ 44 w 54"/>
                  <a:gd name="T29" fmla="*/ 57 h 194"/>
                  <a:gd name="T30" fmla="*/ 44 w 54"/>
                  <a:gd name="T31" fmla="*/ 38 h 194"/>
                  <a:gd name="T32" fmla="*/ 42 w 54"/>
                  <a:gd name="T33" fmla="*/ 34 h 194"/>
                  <a:gd name="T34" fmla="*/ 25 w 54"/>
                  <a:gd name="T35" fmla="*/ 31 h 194"/>
                  <a:gd name="T36" fmla="*/ 27 w 54"/>
                  <a:gd name="T37" fmla="*/ 4 h 194"/>
                  <a:gd name="T38" fmla="*/ 19 w 54"/>
                  <a:gd name="T39" fmla="*/ 4 h 194"/>
                  <a:gd name="T40" fmla="*/ 9 w 54"/>
                  <a:gd name="T41" fmla="*/ 2 h 194"/>
                  <a:gd name="T42" fmla="*/ 6 w 54"/>
                  <a:gd name="T43" fmla="*/ 2 h 194"/>
                  <a:gd name="T44" fmla="*/ 4 w 54"/>
                  <a:gd name="T45" fmla="*/ 0 h 194"/>
                  <a:gd name="T46" fmla="*/ 2 w 54"/>
                  <a:gd name="T47" fmla="*/ 6 h 194"/>
                  <a:gd name="T48" fmla="*/ 0 w 54"/>
                  <a:gd name="T49" fmla="*/ 17 h 194"/>
                  <a:gd name="T50" fmla="*/ 2 w 54"/>
                  <a:gd name="T51" fmla="*/ 23 h 194"/>
                  <a:gd name="T52" fmla="*/ 9 w 54"/>
                  <a:gd name="T53" fmla="*/ 31 h 194"/>
                  <a:gd name="T54" fmla="*/ 11 w 54"/>
                  <a:gd name="T55" fmla="*/ 38 h 194"/>
                  <a:gd name="T56" fmla="*/ 11 w 54"/>
                  <a:gd name="T57" fmla="*/ 56 h 194"/>
                  <a:gd name="T58" fmla="*/ 9 w 54"/>
                  <a:gd name="T59" fmla="*/ 63 h 194"/>
                  <a:gd name="T60" fmla="*/ 9 w 54"/>
                  <a:gd name="T61" fmla="*/ 67 h 194"/>
                  <a:gd name="T62" fmla="*/ 13 w 54"/>
                  <a:gd name="T63" fmla="*/ 71 h 194"/>
                  <a:gd name="T64" fmla="*/ 13 w 54"/>
                  <a:gd name="T65" fmla="*/ 75 h 194"/>
                  <a:gd name="T66" fmla="*/ 11 w 54"/>
                  <a:gd name="T67" fmla="*/ 81 h 194"/>
                  <a:gd name="T68" fmla="*/ 9 w 54"/>
                  <a:gd name="T69" fmla="*/ 88 h 194"/>
                  <a:gd name="T70" fmla="*/ 11 w 54"/>
                  <a:gd name="T71" fmla="*/ 96 h 194"/>
                  <a:gd name="T72" fmla="*/ 19 w 54"/>
                  <a:gd name="T73" fmla="*/ 107 h 194"/>
                  <a:gd name="T74" fmla="*/ 19 w 54"/>
                  <a:gd name="T75" fmla="*/ 121 h 194"/>
                  <a:gd name="T76" fmla="*/ 15 w 54"/>
                  <a:gd name="T77" fmla="*/ 138 h 194"/>
                  <a:gd name="T78" fmla="*/ 15 w 54"/>
                  <a:gd name="T79" fmla="*/ 146 h 194"/>
                  <a:gd name="T80" fmla="*/ 17 w 54"/>
                  <a:gd name="T81" fmla="*/ 150 h 194"/>
                  <a:gd name="T82" fmla="*/ 17 w 54"/>
                  <a:gd name="T83" fmla="*/ 152 h 194"/>
                  <a:gd name="T84" fmla="*/ 15 w 54"/>
                  <a:gd name="T85" fmla="*/ 154 h 194"/>
                  <a:gd name="T86" fmla="*/ 17 w 54"/>
                  <a:gd name="T87" fmla="*/ 157 h 194"/>
                  <a:gd name="T88" fmla="*/ 23 w 54"/>
                  <a:gd name="T89" fmla="*/ 165 h 194"/>
                  <a:gd name="T90" fmla="*/ 29 w 54"/>
                  <a:gd name="T91" fmla="*/ 177 h 194"/>
                  <a:gd name="T92" fmla="*/ 32 w 54"/>
                  <a:gd name="T93" fmla="*/ 182 h 194"/>
                  <a:gd name="T94" fmla="*/ 32 w 54"/>
                  <a:gd name="T95" fmla="*/ 194 h 194"/>
                  <a:gd name="T96" fmla="*/ 38 w 54"/>
                  <a:gd name="T97" fmla="*/ 192 h 194"/>
                  <a:gd name="T98" fmla="*/ 42 w 54"/>
                  <a:gd name="T99" fmla="*/ 188 h 194"/>
                  <a:gd name="T100" fmla="*/ 48 w 54"/>
                  <a:gd name="T101" fmla="*/ 180 h 194"/>
                  <a:gd name="T102" fmla="*/ 54 w 54"/>
                  <a:gd name="T103" fmla="*/ 175 h 194"/>
                  <a:gd name="T104" fmla="*/ 52 w 54"/>
                  <a:gd name="T105" fmla="*/ 175 h 19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4"/>
                  <a:gd name="T160" fmla="*/ 0 h 194"/>
                  <a:gd name="T161" fmla="*/ 54 w 54"/>
                  <a:gd name="T162" fmla="*/ 194 h 19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4" h="194">
                    <a:moveTo>
                      <a:pt x="52" y="175"/>
                    </a:moveTo>
                    <a:lnTo>
                      <a:pt x="52" y="173"/>
                    </a:lnTo>
                    <a:lnTo>
                      <a:pt x="50" y="171"/>
                    </a:lnTo>
                    <a:lnTo>
                      <a:pt x="46" y="163"/>
                    </a:lnTo>
                    <a:lnTo>
                      <a:pt x="46" y="152"/>
                    </a:lnTo>
                    <a:lnTo>
                      <a:pt x="44" y="144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27"/>
                    </a:lnTo>
                    <a:lnTo>
                      <a:pt x="46" y="100"/>
                    </a:lnTo>
                    <a:lnTo>
                      <a:pt x="44" y="92"/>
                    </a:lnTo>
                    <a:lnTo>
                      <a:pt x="48" y="73"/>
                    </a:lnTo>
                    <a:lnTo>
                      <a:pt x="48" y="67"/>
                    </a:lnTo>
                    <a:lnTo>
                      <a:pt x="46" y="63"/>
                    </a:lnTo>
                    <a:lnTo>
                      <a:pt x="44" y="57"/>
                    </a:lnTo>
                    <a:lnTo>
                      <a:pt x="44" y="38"/>
                    </a:lnTo>
                    <a:lnTo>
                      <a:pt x="42" y="34"/>
                    </a:lnTo>
                    <a:lnTo>
                      <a:pt x="25" y="31"/>
                    </a:lnTo>
                    <a:lnTo>
                      <a:pt x="27" y="4"/>
                    </a:lnTo>
                    <a:lnTo>
                      <a:pt x="19" y="4"/>
                    </a:lnTo>
                    <a:lnTo>
                      <a:pt x="9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6"/>
                    </a:lnTo>
                    <a:lnTo>
                      <a:pt x="0" y="17"/>
                    </a:lnTo>
                    <a:lnTo>
                      <a:pt x="2" y="23"/>
                    </a:lnTo>
                    <a:lnTo>
                      <a:pt x="9" y="31"/>
                    </a:lnTo>
                    <a:lnTo>
                      <a:pt x="11" y="38"/>
                    </a:lnTo>
                    <a:lnTo>
                      <a:pt x="11" y="56"/>
                    </a:lnTo>
                    <a:lnTo>
                      <a:pt x="9" y="63"/>
                    </a:lnTo>
                    <a:lnTo>
                      <a:pt x="9" y="67"/>
                    </a:lnTo>
                    <a:lnTo>
                      <a:pt x="13" y="71"/>
                    </a:lnTo>
                    <a:lnTo>
                      <a:pt x="13" y="75"/>
                    </a:lnTo>
                    <a:lnTo>
                      <a:pt x="11" y="81"/>
                    </a:lnTo>
                    <a:lnTo>
                      <a:pt x="9" y="88"/>
                    </a:lnTo>
                    <a:lnTo>
                      <a:pt x="11" y="96"/>
                    </a:lnTo>
                    <a:lnTo>
                      <a:pt x="19" y="107"/>
                    </a:lnTo>
                    <a:lnTo>
                      <a:pt x="19" y="121"/>
                    </a:lnTo>
                    <a:lnTo>
                      <a:pt x="15" y="138"/>
                    </a:lnTo>
                    <a:lnTo>
                      <a:pt x="15" y="146"/>
                    </a:lnTo>
                    <a:lnTo>
                      <a:pt x="17" y="150"/>
                    </a:lnTo>
                    <a:lnTo>
                      <a:pt x="17" y="152"/>
                    </a:lnTo>
                    <a:lnTo>
                      <a:pt x="15" y="154"/>
                    </a:lnTo>
                    <a:lnTo>
                      <a:pt x="17" y="157"/>
                    </a:lnTo>
                    <a:lnTo>
                      <a:pt x="23" y="165"/>
                    </a:lnTo>
                    <a:lnTo>
                      <a:pt x="29" y="177"/>
                    </a:lnTo>
                    <a:lnTo>
                      <a:pt x="32" y="182"/>
                    </a:lnTo>
                    <a:lnTo>
                      <a:pt x="32" y="194"/>
                    </a:lnTo>
                    <a:lnTo>
                      <a:pt x="38" y="192"/>
                    </a:lnTo>
                    <a:lnTo>
                      <a:pt x="42" y="188"/>
                    </a:lnTo>
                    <a:lnTo>
                      <a:pt x="48" y="180"/>
                    </a:lnTo>
                    <a:lnTo>
                      <a:pt x="54" y="175"/>
                    </a:lnTo>
                    <a:lnTo>
                      <a:pt x="52" y="17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1" name="Freeform 29"/>
              <p:cNvSpPr>
                <a:spLocks/>
              </p:cNvSpPr>
              <p:nvPr/>
            </p:nvSpPr>
            <p:spPr bwMode="gray">
              <a:xfrm>
                <a:off x="4250" y="2470"/>
                <a:ext cx="97" cy="230"/>
              </a:xfrm>
              <a:custGeom>
                <a:avLst/>
                <a:gdLst>
                  <a:gd name="T0" fmla="*/ 31 w 196"/>
                  <a:gd name="T1" fmla="*/ 286 h 459"/>
                  <a:gd name="T2" fmla="*/ 29 w 196"/>
                  <a:gd name="T3" fmla="*/ 294 h 459"/>
                  <a:gd name="T4" fmla="*/ 27 w 196"/>
                  <a:gd name="T5" fmla="*/ 329 h 459"/>
                  <a:gd name="T6" fmla="*/ 15 w 196"/>
                  <a:gd name="T7" fmla="*/ 342 h 459"/>
                  <a:gd name="T8" fmla="*/ 27 w 196"/>
                  <a:gd name="T9" fmla="*/ 375 h 459"/>
                  <a:gd name="T10" fmla="*/ 61 w 196"/>
                  <a:gd name="T11" fmla="*/ 421 h 459"/>
                  <a:gd name="T12" fmla="*/ 63 w 196"/>
                  <a:gd name="T13" fmla="*/ 434 h 459"/>
                  <a:gd name="T14" fmla="*/ 71 w 196"/>
                  <a:gd name="T15" fmla="*/ 438 h 459"/>
                  <a:gd name="T16" fmla="*/ 83 w 196"/>
                  <a:gd name="T17" fmla="*/ 459 h 459"/>
                  <a:gd name="T18" fmla="*/ 92 w 196"/>
                  <a:gd name="T19" fmla="*/ 452 h 459"/>
                  <a:gd name="T20" fmla="*/ 102 w 196"/>
                  <a:gd name="T21" fmla="*/ 442 h 459"/>
                  <a:gd name="T22" fmla="*/ 98 w 196"/>
                  <a:gd name="T23" fmla="*/ 423 h 459"/>
                  <a:gd name="T24" fmla="*/ 88 w 196"/>
                  <a:gd name="T25" fmla="*/ 406 h 459"/>
                  <a:gd name="T26" fmla="*/ 73 w 196"/>
                  <a:gd name="T27" fmla="*/ 400 h 459"/>
                  <a:gd name="T28" fmla="*/ 65 w 196"/>
                  <a:gd name="T29" fmla="*/ 388 h 459"/>
                  <a:gd name="T30" fmla="*/ 61 w 196"/>
                  <a:gd name="T31" fmla="*/ 367 h 459"/>
                  <a:gd name="T32" fmla="*/ 46 w 196"/>
                  <a:gd name="T33" fmla="*/ 358 h 459"/>
                  <a:gd name="T34" fmla="*/ 40 w 196"/>
                  <a:gd name="T35" fmla="*/ 344 h 459"/>
                  <a:gd name="T36" fmla="*/ 38 w 196"/>
                  <a:gd name="T37" fmla="*/ 313 h 459"/>
                  <a:gd name="T38" fmla="*/ 56 w 196"/>
                  <a:gd name="T39" fmla="*/ 256 h 459"/>
                  <a:gd name="T40" fmla="*/ 54 w 196"/>
                  <a:gd name="T41" fmla="*/ 217 h 459"/>
                  <a:gd name="T42" fmla="*/ 65 w 196"/>
                  <a:gd name="T43" fmla="*/ 213 h 459"/>
                  <a:gd name="T44" fmla="*/ 73 w 196"/>
                  <a:gd name="T45" fmla="*/ 217 h 459"/>
                  <a:gd name="T46" fmla="*/ 81 w 196"/>
                  <a:gd name="T47" fmla="*/ 231 h 459"/>
                  <a:gd name="T48" fmla="*/ 90 w 196"/>
                  <a:gd name="T49" fmla="*/ 237 h 459"/>
                  <a:gd name="T50" fmla="*/ 102 w 196"/>
                  <a:gd name="T51" fmla="*/ 233 h 459"/>
                  <a:gd name="T52" fmla="*/ 102 w 196"/>
                  <a:gd name="T53" fmla="*/ 240 h 459"/>
                  <a:gd name="T54" fmla="*/ 113 w 196"/>
                  <a:gd name="T55" fmla="*/ 248 h 459"/>
                  <a:gd name="T56" fmla="*/ 119 w 196"/>
                  <a:gd name="T57" fmla="*/ 263 h 459"/>
                  <a:gd name="T58" fmla="*/ 121 w 196"/>
                  <a:gd name="T59" fmla="*/ 242 h 459"/>
                  <a:gd name="T60" fmla="*/ 111 w 196"/>
                  <a:gd name="T61" fmla="*/ 212 h 459"/>
                  <a:gd name="T62" fmla="*/ 121 w 196"/>
                  <a:gd name="T63" fmla="*/ 192 h 459"/>
                  <a:gd name="T64" fmla="*/ 150 w 196"/>
                  <a:gd name="T65" fmla="*/ 187 h 459"/>
                  <a:gd name="T66" fmla="*/ 167 w 196"/>
                  <a:gd name="T67" fmla="*/ 171 h 459"/>
                  <a:gd name="T68" fmla="*/ 192 w 196"/>
                  <a:gd name="T69" fmla="*/ 165 h 459"/>
                  <a:gd name="T70" fmla="*/ 194 w 196"/>
                  <a:gd name="T71" fmla="*/ 150 h 459"/>
                  <a:gd name="T72" fmla="*/ 188 w 196"/>
                  <a:gd name="T73" fmla="*/ 127 h 459"/>
                  <a:gd name="T74" fmla="*/ 177 w 196"/>
                  <a:gd name="T75" fmla="*/ 114 h 459"/>
                  <a:gd name="T76" fmla="*/ 171 w 196"/>
                  <a:gd name="T77" fmla="*/ 79 h 459"/>
                  <a:gd name="T78" fmla="*/ 152 w 196"/>
                  <a:gd name="T79" fmla="*/ 62 h 459"/>
                  <a:gd name="T80" fmla="*/ 136 w 196"/>
                  <a:gd name="T81" fmla="*/ 44 h 459"/>
                  <a:gd name="T82" fmla="*/ 121 w 196"/>
                  <a:gd name="T83" fmla="*/ 50 h 459"/>
                  <a:gd name="T84" fmla="*/ 108 w 196"/>
                  <a:gd name="T85" fmla="*/ 62 h 459"/>
                  <a:gd name="T86" fmla="*/ 96 w 196"/>
                  <a:gd name="T87" fmla="*/ 60 h 459"/>
                  <a:gd name="T88" fmla="*/ 75 w 196"/>
                  <a:gd name="T89" fmla="*/ 44 h 459"/>
                  <a:gd name="T90" fmla="*/ 73 w 196"/>
                  <a:gd name="T91" fmla="*/ 31 h 459"/>
                  <a:gd name="T92" fmla="*/ 81 w 196"/>
                  <a:gd name="T93" fmla="*/ 10 h 459"/>
                  <a:gd name="T94" fmla="*/ 65 w 196"/>
                  <a:gd name="T95" fmla="*/ 12 h 459"/>
                  <a:gd name="T96" fmla="*/ 65 w 196"/>
                  <a:gd name="T97" fmla="*/ 4 h 459"/>
                  <a:gd name="T98" fmla="*/ 38 w 196"/>
                  <a:gd name="T99" fmla="*/ 0 h 459"/>
                  <a:gd name="T100" fmla="*/ 27 w 196"/>
                  <a:gd name="T101" fmla="*/ 10 h 459"/>
                  <a:gd name="T102" fmla="*/ 21 w 196"/>
                  <a:gd name="T103" fmla="*/ 19 h 459"/>
                  <a:gd name="T104" fmla="*/ 4 w 196"/>
                  <a:gd name="T105" fmla="*/ 31 h 459"/>
                  <a:gd name="T106" fmla="*/ 6 w 196"/>
                  <a:gd name="T107" fmla="*/ 54 h 459"/>
                  <a:gd name="T108" fmla="*/ 0 w 196"/>
                  <a:gd name="T109" fmla="*/ 83 h 459"/>
                  <a:gd name="T110" fmla="*/ 15 w 196"/>
                  <a:gd name="T111" fmla="*/ 119 h 459"/>
                  <a:gd name="T112" fmla="*/ 27 w 196"/>
                  <a:gd name="T113" fmla="*/ 142 h 459"/>
                  <a:gd name="T114" fmla="*/ 19 w 196"/>
                  <a:gd name="T115" fmla="*/ 173 h 459"/>
                  <a:gd name="T116" fmla="*/ 38 w 196"/>
                  <a:gd name="T117" fmla="*/ 208 h 459"/>
                  <a:gd name="T118" fmla="*/ 44 w 196"/>
                  <a:gd name="T119" fmla="*/ 244 h 459"/>
                  <a:gd name="T120" fmla="*/ 33 w 196"/>
                  <a:gd name="T121" fmla="*/ 283 h 45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96"/>
                  <a:gd name="T184" fmla="*/ 0 h 459"/>
                  <a:gd name="T185" fmla="*/ 196 w 196"/>
                  <a:gd name="T186" fmla="*/ 459 h 45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96" h="459">
                    <a:moveTo>
                      <a:pt x="29" y="283"/>
                    </a:moveTo>
                    <a:lnTo>
                      <a:pt x="31" y="286"/>
                    </a:lnTo>
                    <a:lnTo>
                      <a:pt x="31" y="290"/>
                    </a:lnTo>
                    <a:lnTo>
                      <a:pt x="29" y="294"/>
                    </a:lnTo>
                    <a:lnTo>
                      <a:pt x="27" y="294"/>
                    </a:lnTo>
                    <a:lnTo>
                      <a:pt x="27" y="329"/>
                    </a:lnTo>
                    <a:lnTo>
                      <a:pt x="21" y="335"/>
                    </a:lnTo>
                    <a:lnTo>
                      <a:pt x="15" y="342"/>
                    </a:lnTo>
                    <a:lnTo>
                      <a:pt x="13" y="356"/>
                    </a:lnTo>
                    <a:lnTo>
                      <a:pt x="27" y="375"/>
                    </a:lnTo>
                    <a:lnTo>
                      <a:pt x="46" y="398"/>
                    </a:lnTo>
                    <a:lnTo>
                      <a:pt x="61" y="421"/>
                    </a:lnTo>
                    <a:lnTo>
                      <a:pt x="61" y="429"/>
                    </a:lnTo>
                    <a:lnTo>
                      <a:pt x="63" y="434"/>
                    </a:lnTo>
                    <a:lnTo>
                      <a:pt x="63" y="442"/>
                    </a:lnTo>
                    <a:lnTo>
                      <a:pt x="71" y="438"/>
                    </a:lnTo>
                    <a:lnTo>
                      <a:pt x="83" y="446"/>
                    </a:lnTo>
                    <a:lnTo>
                      <a:pt x="83" y="459"/>
                    </a:lnTo>
                    <a:lnTo>
                      <a:pt x="90" y="458"/>
                    </a:lnTo>
                    <a:lnTo>
                      <a:pt x="92" y="452"/>
                    </a:lnTo>
                    <a:lnTo>
                      <a:pt x="100" y="452"/>
                    </a:lnTo>
                    <a:lnTo>
                      <a:pt x="102" y="442"/>
                    </a:lnTo>
                    <a:lnTo>
                      <a:pt x="102" y="431"/>
                    </a:lnTo>
                    <a:lnTo>
                      <a:pt x="98" y="423"/>
                    </a:lnTo>
                    <a:lnTo>
                      <a:pt x="94" y="413"/>
                    </a:lnTo>
                    <a:lnTo>
                      <a:pt x="88" y="406"/>
                    </a:lnTo>
                    <a:lnTo>
                      <a:pt x="81" y="402"/>
                    </a:lnTo>
                    <a:lnTo>
                      <a:pt x="73" y="400"/>
                    </a:lnTo>
                    <a:lnTo>
                      <a:pt x="67" y="398"/>
                    </a:lnTo>
                    <a:lnTo>
                      <a:pt x="65" y="388"/>
                    </a:lnTo>
                    <a:lnTo>
                      <a:pt x="63" y="377"/>
                    </a:lnTo>
                    <a:lnTo>
                      <a:pt x="61" y="367"/>
                    </a:lnTo>
                    <a:lnTo>
                      <a:pt x="48" y="367"/>
                    </a:lnTo>
                    <a:lnTo>
                      <a:pt x="46" y="358"/>
                    </a:lnTo>
                    <a:lnTo>
                      <a:pt x="44" y="350"/>
                    </a:lnTo>
                    <a:lnTo>
                      <a:pt x="40" y="344"/>
                    </a:lnTo>
                    <a:lnTo>
                      <a:pt x="38" y="344"/>
                    </a:lnTo>
                    <a:lnTo>
                      <a:pt x="38" y="313"/>
                    </a:lnTo>
                    <a:lnTo>
                      <a:pt x="48" y="281"/>
                    </a:lnTo>
                    <a:lnTo>
                      <a:pt x="56" y="256"/>
                    </a:lnTo>
                    <a:lnTo>
                      <a:pt x="54" y="225"/>
                    </a:lnTo>
                    <a:lnTo>
                      <a:pt x="54" y="217"/>
                    </a:lnTo>
                    <a:lnTo>
                      <a:pt x="58" y="215"/>
                    </a:lnTo>
                    <a:lnTo>
                      <a:pt x="65" y="213"/>
                    </a:lnTo>
                    <a:lnTo>
                      <a:pt x="73" y="213"/>
                    </a:lnTo>
                    <a:lnTo>
                      <a:pt x="73" y="217"/>
                    </a:lnTo>
                    <a:lnTo>
                      <a:pt x="81" y="217"/>
                    </a:lnTo>
                    <a:lnTo>
                      <a:pt x="81" y="231"/>
                    </a:lnTo>
                    <a:lnTo>
                      <a:pt x="84" y="237"/>
                    </a:lnTo>
                    <a:lnTo>
                      <a:pt x="90" y="237"/>
                    </a:lnTo>
                    <a:lnTo>
                      <a:pt x="98" y="235"/>
                    </a:lnTo>
                    <a:lnTo>
                      <a:pt x="102" y="233"/>
                    </a:lnTo>
                    <a:lnTo>
                      <a:pt x="104" y="237"/>
                    </a:lnTo>
                    <a:lnTo>
                      <a:pt x="102" y="240"/>
                    </a:lnTo>
                    <a:lnTo>
                      <a:pt x="102" y="244"/>
                    </a:lnTo>
                    <a:lnTo>
                      <a:pt x="113" y="248"/>
                    </a:lnTo>
                    <a:lnTo>
                      <a:pt x="119" y="252"/>
                    </a:lnTo>
                    <a:lnTo>
                      <a:pt x="119" y="263"/>
                    </a:lnTo>
                    <a:lnTo>
                      <a:pt x="121" y="263"/>
                    </a:lnTo>
                    <a:lnTo>
                      <a:pt x="121" y="242"/>
                    </a:lnTo>
                    <a:lnTo>
                      <a:pt x="113" y="231"/>
                    </a:lnTo>
                    <a:lnTo>
                      <a:pt x="111" y="212"/>
                    </a:lnTo>
                    <a:lnTo>
                      <a:pt x="115" y="196"/>
                    </a:lnTo>
                    <a:lnTo>
                      <a:pt x="121" y="192"/>
                    </a:lnTo>
                    <a:lnTo>
                      <a:pt x="132" y="187"/>
                    </a:lnTo>
                    <a:lnTo>
                      <a:pt x="150" y="187"/>
                    </a:lnTo>
                    <a:lnTo>
                      <a:pt x="163" y="177"/>
                    </a:lnTo>
                    <a:lnTo>
                      <a:pt x="167" y="171"/>
                    </a:lnTo>
                    <a:lnTo>
                      <a:pt x="184" y="171"/>
                    </a:lnTo>
                    <a:lnTo>
                      <a:pt x="192" y="165"/>
                    </a:lnTo>
                    <a:lnTo>
                      <a:pt x="196" y="154"/>
                    </a:lnTo>
                    <a:lnTo>
                      <a:pt x="194" y="150"/>
                    </a:lnTo>
                    <a:lnTo>
                      <a:pt x="190" y="137"/>
                    </a:lnTo>
                    <a:lnTo>
                      <a:pt x="188" y="127"/>
                    </a:lnTo>
                    <a:lnTo>
                      <a:pt x="184" y="119"/>
                    </a:lnTo>
                    <a:lnTo>
                      <a:pt x="177" y="114"/>
                    </a:lnTo>
                    <a:lnTo>
                      <a:pt x="171" y="104"/>
                    </a:lnTo>
                    <a:lnTo>
                      <a:pt x="171" y="79"/>
                    </a:lnTo>
                    <a:lnTo>
                      <a:pt x="159" y="60"/>
                    </a:lnTo>
                    <a:lnTo>
                      <a:pt x="152" y="62"/>
                    </a:lnTo>
                    <a:lnTo>
                      <a:pt x="144" y="54"/>
                    </a:lnTo>
                    <a:lnTo>
                      <a:pt x="136" y="44"/>
                    </a:lnTo>
                    <a:lnTo>
                      <a:pt x="125" y="44"/>
                    </a:lnTo>
                    <a:lnTo>
                      <a:pt x="121" y="50"/>
                    </a:lnTo>
                    <a:lnTo>
                      <a:pt x="109" y="52"/>
                    </a:lnTo>
                    <a:lnTo>
                      <a:pt x="108" y="62"/>
                    </a:lnTo>
                    <a:lnTo>
                      <a:pt x="100" y="65"/>
                    </a:lnTo>
                    <a:lnTo>
                      <a:pt x="96" y="60"/>
                    </a:lnTo>
                    <a:lnTo>
                      <a:pt x="77" y="56"/>
                    </a:lnTo>
                    <a:lnTo>
                      <a:pt x="75" y="44"/>
                    </a:lnTo>
                    <a:lnTo>
                      <a:pt x="71" y="39"/>
                    </a:lnTo>
                    <a:lnTo>
                      <a:pt x="73" y="31"/>
                    </a:lnTo>
                    <a:lnTo>
                      <a:pt x="83" y="19"/>
                    </a:lnTo>
                    <a:lnTo>
                      <a:pt x="81" y="10"/>
                    </a:lnTo>
                    <a:lnTo>
                      <a:pt x="71" y="12"/>
                    </a:lnTo>
                    <a:lnTo>
                      <a:pt x="65" y="12"/>
                    </a:lnTo>
                    <a:lnTo>
                      <a:pt x="65" y="2"/>
                    </a:lnTo>
                    <a:lnTo>
                      <a:pt x="65" y="4"/>
                    </a:lnTo>
                    <a:lnTo>
                      <a:pt x="46" y="4"/>
                    </a:lnTo>
                    <a:lnTo>
                      <a:pt x="38" y="0"/>
                    </a:lnTo>
                    <a:lnTo>
                      <a:pt x="33" y="0"/>
                    </a:lnTo>
                    <a:lnTo>
                      <a:pt x="27" y="10"/>
                    </a:lnTo>
                    <a:lnTo>
                      <a:pt x="29" y="17"/>
                    </a:lnTo>
                    <a:lnTo>
                      <a:pt x="21" y="19"/>
                    </a:lnTo>
                    <a:lnTo>
                      <a:pt x="13" y="29"/>
                    </a:lnTo>
                    <a:lnTo>
                      <a:pt x="4" y="31"/>
                    </a:lnTo>
                    <a:lnTo>
                      <a:pt x="2" y="41"/>
                    </a:lnTo>
                    <a:lnTo>
                      <a:pt x="6" y="54"/>
                    </a:lnTo>
                    <a:lnTo>
                      <a:pt x="6" y="65"/>
                    </a:lnTo>
                    <a:lnTo>
                      <a:pt x="0" y="83"/>
                    </a:lnTo>
                    <a:lnTo>
                      <a:pt x="6" y="106"/>
                    </a:lnTo>
                    <a:lnTo>
                      <a:pt x="15" y="119"/>
                    </a:lnTo>
                    <a:lnTo>
                      <a:pt x="27" y="129"/>
                    </a:lnTo>
                    <a:lnTo>
                      <a:pt x="27" y="142"/>
                    </a:lnTo>
                    <a:lnTo>
                      <a:pt x="13" y="148"/>
                    </a:lnTo>
                    <a:lnTo>
                      <a:pt x="19" y="173"/>
                    </a:lnTo>
                    <a:lnTo>
                      <a:pt x="27" y="194"/>
                    </a:lnTo>
                    <a:lnTo>
                      <a:pt x="38" y="208"/>
                    </a:lnTo>
                    <a:lnTo>
                      <a:pt x="44" y="227"/>
                    </a:lnTo>
                    <a:lnTo>
                      <a:pt x="44" y="244"/>
                    </a:lnTo>
                    <a:lnTo>
                      <a:pt x="35" y="273"/>
                    </a:lnTo>
                    <a:lnTo>
                      <a:pt x="33" y="283"/>
                    </a:lnTo>
                    <a:lnTo>
                      <a:pt x="29" y="28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2" name="Freeform 30"/>
              <p:cNvSpPr>
                <a:spLocks/>
              </p:cNvSpPr>
              <p:nvPr/>
            </p:nvSpPr>
            <p:spPr bwMode="gray">
              <a:xfrm>
                <a:off x="3438" y="2901"/>
                <a:ext cx="4" cy="5"/>
              </a:xfrm>
              <a:custGeom>
                <a:avLst/>
                <a:gdLst>
                  <a:gd name="T0" fmla="*/ 4 w 10"/>
                  <a:gd name="T1" fmla="*/ 0 h 12"/>
                  <a:gd name="T2" fmla="*/ 8 w 10"/>
                  <a:gd name="T3" fmla="*/ 6 h 12"/>
                  <a:gd name="T4" fmla="*/ 10 w 10"/>
                  <a:gd name="T5" fmla="*/ 12 h 12"/>
                  <a:gd name="T6" fmla="*/ 4 w 10"/>
                  <a:gd name="T7" fmla="*/ 12 h 12"/>
                  <a:gd name="T8" fmla="*/ 2 w 10"/>
                  <a:gd name="T9" fmla="*/ 8 h 12"/>
                  <a:gd name="T10" fmla="*/ 0 w 10"/>
                  <a:gd name="T11" fmla="*/ 2 h 12"/>
                  <a:gd name="T12" fmla="*/ 4 w 1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2"/>
                  <a:gd name="T23" fmla="*/ 10 w 10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2">
                    <a:moveTo>
                      <a:pt x="4" y="0"/>
                    </a:moveTo>
                    <a:lnTo>
                      <a:pt x="8" y="6"/>
                    </a:lnTo>
                    <a:lnTo>
                      <a:pt x="10" y="12"/>
                    </a:lnTo>
                    <a:lnTo>
                      <a:pt x="4" y="12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3" name="Freeform 31"/>
              <p:cNvSpPr>
                <a:spLocks/>
              </p:cNvSpPr>
              <p:nvPr/>
            </p:nvSpPr>
            <p:spPr bwMode="gray">
              <a:xfrm>
                <a:off x="3397" y="2808"/>
                <a:ext cx="135" cy="162"/>
              </a:xfrm>
              <a:custGeom>
                <a:avLst/>
                <a:gdLst>
                  <a:gd name="T0" fmla="*/ 215 w 268"/>
                  <a:gd name="T1" fmla="*/ 65 h 322"/>
                  <a:gd name="T2" fmla="*/ 205 w 268"/>
                  <a:gd name="T3" fmla="*/ 44 h 322"/>
                  <a:gd name="T4" fmla="*/ 121 w 268"/>
                  <a:gd name="T5" fmla="*/ 0 h 322"/>
                  <a:gd name="T6" fmla="*/ 109 w 268"/>
                  <a:gd name="T7" fmla="*/ 13 h 322"/>
                  <a:gd name="T8" fmla="*/ 123 w 268"/>
                  <a:gd name="T9" fmla="*/ 27 h 322"/>
                  <a:gd name="T10" fmla="*/ 119 w 268"/>
                  <a:gd name="T11" fmla="*/ 30 h 322"/>
                  <a:gd name="T12" fmla="*/ 107 w 268"/>
                  <a:gd name="T13" fmla="*/ 34 h 322"/>
                  <a:gd name="T14" fmla="*/ 103 w 268"/>
                  <a:gd name="T15" fmla="*/ 38 h 322"/>
                  <a:gd name="T16" fmla="*/ 80 w 268"/>
                  <a:gd name="T17" fmla="*/ 30 h 322"/>
                  <a:gd name="T18" fmla="*/ 73 w 268"/>
                  <a:gd name="T19" fmla="*/ 40 h 322"/>
                  <a:gd name="T20" fmla="*/ 61 w 268"/>
                  <a:gd name="T21" fmla="*/ 50 h 322"/>
                  <a:gd name="T22" fmla="*/ 55 w 268"/>
                  <a:gd name="T23" fmla="*/ 2 h 322"/>
                  <a:gd name="T24" fmla="*/ 40 w 268"/>
                  <a:gd name="T25" fmla="*/ 17 h 322"/>
                  <a:gd name="T26" fmla="*/ 40 w 268"/>
                  <a:gd name="T27" fmla="*/ 36 h 322"/>
                  <a:gd name="T28" fmla="*/ 36 w 268"/>
                  <a:gd name="T29" fmla="*/ 50 h 322"/>
                  <a:gd name="T30" fmla="*/ 48 w 268"/>
                  <a:gd name="T31" fmla="*/ 57 h 322"/>
                  <a:gd name="T32" fmla="*/ 44 w 268"/>
                  <a:gd name="T33" fmla="*/ 69 h 322"/>
                  <a:gd name="T34" fmla="*/ 32 w 268"/>
                  <a:gd name="T35" fmla="*/ 76 h 322"/>
                  <a:gd name="T36" fmla="*/ 0 w 268"/>
                  <a:gd name="T37" fmla="*/ 96 h 322"/>
                  <a:gd name="T38" fmla="*/ 19 w 268"/>
                  <a:gd name="T39" fmla="*/ 149 h 322"/>
                  <a:gd name="T40" fmla="*/ 32 w 268"/>
                  <a:gd name="T41" fmla="*/ 192 h 322"/>
                  <a:gd name="T42" fmla="*/ 53 w 268"/>
                  <a:gd name="T43" fmla="*/ 211 h 322"/>
                  <a:gd name="T44" fmla="*/ 59 w 268"/>
                  <a:gd name="T45" fmla="*/ 217 h 322"/>
                  <a:gd name="T46" fmla="*/ 69 w 268"/>
                  <a:gd name="T47" fmla="*/ 230 h 322"/>
                  <a:gd name="T48" fmla="*/ 84 w 268"/>
                  <a:gd name="T49" fmla="*/ 240 h 322"/>
                  <a:gd name="T50" fmla="*/ 111 w 268"/>
                  <a:gd name="T51" fmla="*/ 248 h 322"/>
                  <a:gd name="T52" fmla="*/ 121 w 268"/>
                  <a:gd name="T53" fmla="*/ 265 h 322"/>
                  <a:gd name="T54" fmla="*/ 121 w 268"/>
                  <a:gd name="T55" fmla="*/ 301 h 322"/>
                  <a:gd name="T56" fmla="*/ 119 w 268"/>
                  <a:gd name="T57" fmla="*/ 319 h 322"/>
                  <a:gd name="T58" fmla="*/ 140 w 268"/>
                  <a:gd name="T59" fmla="*/ 313 h 322"/>
                  <a:gd name="T60" fmla="*/ 149 w 268"/>
                  <a:gd name="T61" fmla="*/ 311 h 322"/>
                  <a:gd name="T62" fmla="*/ 161 w 268"/>
                  <a:gd name="T63" fmla="*/ 322 h 322"/>
                  <a:gd name="T64" fmla="*/ 180 w 268"/>
                  <a:gd name="T65" fmla="*/ 319 h 322"/>
                  <a:gd name="T66" fmla="*/ 197 w 268"/>
                  <a:gd name="T67" fmla="*/ 313 h 322"/>
                  <a:gd name="T68" fmla="*/ 209 w 268"/>
                  <a:gd name="T69" fmla="*/ 307 h 322"/>
                  <a:gd name="T70" fmla="*/ 217 w 268"/>
                  <a:gd name="T71" fmla="*/ 307 h 322"/>
                  <a:gd name="T72" fmla="*/ 230 w 268"/>
                  <a:gd name="T73" fmla="*/ 299 h 322"/>
                  <a:gd name="T74" fmla="*/ 255 w 268"/>
                  <a:gd name="T75" fmla="*/ 292 h 322"/>
                  <a:gd name="T76" fmla="*/ 268 w 268"/>
                  <a:gd name="T77" fmla="*/ 278 h 322"/>
                  <a:gd name="T78" fmla="*/ 249 w 268"/>
                  <a:gd name="T79" fmla="*/ 253 h 322"/>
                  <a:gd name="T80" fmla="*/ 240 w 268"/>
                  <a:gd name="T81" fmla="*/ 205 h 322"/>
                  <a:gd name="T82" fmla="*/ 247 w 268"/>
                  <a:gd name="T83" fmla="*/ 178 h 322"/>
                  <a:gd name="T84" fmla="*/ 232 w 268"/>
                  <a:gd name="T85" fmla="*/ 155 h 322"/>
                  <a:gd name="T86" fmla="*/ 238 w 268"/>
                  <a:gd name="T87" fmla="*/ 105 h 32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68"/>
                  <a:gd name="T133" fmla="*/ 0 h 322"/>
                  <a:gd name="T134" fmla="*/ 268 w 268"/>
                  <a:gd name="T135" fmla="*/ 322 h 322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68" h="322">
                    <a:moveTo>
                      <a:pt x="245" y="86"/>
                    </a:moveTo>
                    <a:lnTo>
                      <a:pt x="218" y="69"/>
                    </a:lnTo>
                    <a:lnTo>
                      <a:pt x="215" y="65"/>
                    </a:lnTo>
                    <a:lnTo>
                      <a:pt x="207" y="61"/>
                    </a:lnTo>
                    <a:lnTo>
                      <a:pt x="205" y="57"/>
                    </a:lnTo>
                    <a:lnTo>
                      <a:pt x="205" y="44"/>
                    </a:lnTo>
                    <a:lnTo>
                      <a:pt x="203" y="40"/>
                    </a:lnTo>
                    <a:lnTo>
                      <a:pt x="201" y="38"/>
                    </a:lnTo>
                    <a:lnTo>
                      <a:pt x="121" y="0"/>
                    </a:lnTo>
                    <a:lnTo>
                      <a:pt x="119" y="11"/>
                    </a:lnTo>
                    <a:lnTo>
                      <a:pt x="113" y="11"/>
                    </a:lnTo>
                    <a:lnTo>
                      <a:pt x="109" y="13"/>
                    </a:lnTo>
                    <a:lnTo>
                      <a:pt x="107" y="15"/>
                    </a:lnTo>
                    <a:lnTo>
                      <a:pt x="111" y="19"/>
                    </a:lnTo>
                    <a:lnTo>
                      <a:pt x="123" y="27"/>
                    </a:lnTo>
                    <a:lnTo>
                      <a:pt x="121" y="32"/>
                    </a:lnTo>
                    <a:lnTo>
                      <a:pt x="121" y="34"/>
                    </a:lnTo>
                    <a:lnTo>
                      <a:pt x="119" y="30"/>
                    </a:lnTo>
                    <a:lnTo>
                      <a:pt x="113" y="32"/>
                    </a:lnTo>
                    <a:lnTo>
                      <a:pt x="111" y="34"/>
                    </a:lnTo>
                    <a:lnTo>
                      <a:pt x="107" y="34"/>
                    </a:lnTo>
                    <a:lnTo>
                      <a:pt x="107" y="53"/>
                    </a:lnTo>
                    <a:lnTo>
                      <a:pt x="103" y="50"/>
                    </a:lnTo>
                    <a:lnTo>
                      <a:pt x="103" y="38"/>
                    </a:lnTo>
                    <a:lnTo>
                      <a:pt x="94" y="36"/>
                    </a:lnTo>
                    <a:lnTo>
                      <a:pt x="86" y="34"/>
                    </a:lnTo>
                    <a:lnTo>
                      <a:pt x="80" y="30"/>
                    </a:lnTo>
                    <a:lnTo>
                      <a:pt x="80" y="38"/>
                    </a:lnTo>
                    <a:lnTo>
                      <a:pt x="76" y="40"/>
                    </a:lnTo>
                    <a:lnTo>
                      <a:pt x="73" y="40"/>
                    </a:lnTo>
                    <a:lnTo>
                      <a:pt x="69" y="38"/>
                    </a:lnTo>
                    <a:lnTo>
                      <a:pt x="73" y="50"/>
                    </a:lnTo>
                    <a:lnTo>
                      <a:pt x="61" y="50"/>
                    </a:lnTo>
                    <a:lnTo>
                      <a:pt x="53" y="34"/>
                    </a:lnTo>
                    <a:lnTo>
                      <a:pt x="53" y="19"/>
                    </a:lnTo>
                    <a:lnTo>
                      <a:pt x="55" y="2"/>
                    </a:lnTo>
                    <a:lnTo>
                      <a:pt x="32" y="2"/>
                    </a:lnTo>
                    <a:lnTo>
                      <a:pt x="40" y="15"/>
                    </a:lnTo>
                    <a:lnTo>
                      <a:pt x="40" y="17"/>
                    </a:lnTo>
                    <a:lnTo>
                      <a:pt x="38" y="23"/>
                    </a:lnTo>
                    <a:lnTo>
                      <a:pt x="38" y="30"/>
                    </a:lnTo>
                    <a:lnTo>
                      <a:pt x="40" y="36"/>
                    </a:lnTo>
                    <a:lnTo>
                      <a:pt x="38" y="38"/>
                    </a:lnTo>
                    <a:lnTo>
                      <a:pt x="36" y="42"/>
                    </a:lnTo>
                    <a:lnTo>
                      <a:pt x="36" y="50"/>
                    </a:lnTo>
                    <a:lnTo>
                      <a:pt x="40" y="55"/>
                    </a:lnTo>
                    <a:lnTo>
                      <a:pt x="46" y="57"/>
                    </a:lnTo>
                    <a:lnTo>
                      <a:pt x="48" y="57"/>
                    </a:lnTo>
                    <a:lnTo>
                      <a:pt x="48" y="59"/>
                    </a:lnTo>
                    <a:lnTo>
                      <a:pt x="46" y="65"/>
                    </a:lnTo>
                    <a:lnTo>
                      <a:pt x="44" y="69"/>
                    </a:lnTo>
                    <a:lnTo>
                      <a:pt x="40" y="73"/>
                    </a:lnTo>
                    <a:lnTo>
                      <a:pt x="34" y="76"/>
                    </a:lnTo>
                    <a:lnTo>
                      <a:pt x="32" y="76"/>
                    </a:lnTo>
                    <a:lnTo>
                      <a:pt x="30" y="92"/>
                    </a:lnTo>
                    <a:lnTo>
                      <a:pt x="23" y="96"/>
                    </a:lnTo>
                    <a:lnTo>
                      <a:pt x="0" y="96"/>
                    </a:lnTo>
                    <a:lnTo>
                      <a:pt x="0" y="142"/>
                    </a:lnTo>
                    <a:lnTo>
                      <a:pt x="9" y="148"/>
                    </a:lnTo>
                    <a:lnTo>
                      <a:pt x="19" y="149"/>
                    </a:lnTo>
                    <a:lnTo>
                      <a:pt x="27" y="157"/>
                    </a:lnTo>
                    <a:lnTo>
                      <a:pt x="27" y="184"/>
                    </a:lnTo>
                    <a:lnTo>
                      <a:pt x="32" y="192"/>
                    </a:lnTo>
                    <a:lnTo>
                      <a:pt x="42" y="201"/>
                    </a:lnTo>
                    <a:lnTo>
                      <a:pt x="50" y="211"/>
                    </a:lnTo>
                    <a:lnTo>
                      <a:pt x="53" y="211"/>
                    </a:lnTo>
                    <a:lnTo>
                      <a:pt x="59" y="213"/>
                    </a:lnTo>
                    <a:lnTo>
                      <a:pt x="61" y="213"/>
                    </a:lnTo>
                    <a:lnTo>
                      <a:pt x="59" y="217"/>
                    </a:lnTo>
                    <a:lnTo>
                      <a:pt x="59" y="223"/>
                    </a:lnTo>
                    <a:lnTo>
                      <a:pt x="65" y="228"/>
                    </a:lnTo>
                    <a:lnTo>
                      <a:pt x="69" y="230"/>
                    </a:lnTo>
                    <a:lnTo>
                      <a:pt x="73" y="234"/>
                    </a:lnTo>
                    <a:lnTo>
                      <a:pt x="78" y="238"/>
                    </a:lnTo>
                    <a:lnTo>
                      <a:pt x="84" y="240"/>
                    </a:lnTo>
                    <a:lnTo>
                      <a:pt x="92" y="240"/>
                    </a:lnTo>
                    <a:lnTo>
                      <a:pt x="109" y="248"/>
                    </a:lnTo>
                    <a:lnTo>
                      <a:pt x="111" y="248"/>
                    </a:lnTo>
                    <a:lnTo>
                      <a:pt x="119" y="255"/>
                    </a:lnTo>
                    <a:lnTo>
                      <a:pt x="119" y="259"/>
                    </a:lnTo>
                    <a:lnTo>
                      <a:pt x="121" y="265"/>
                    </a:lnTo>
                    <a:lnTo>
                      <a:pt x="123" y="276"/>
                    </a:lnTo>
                    <a:lnTo>
                      <a:pt x="123" y="288"/>
                    </a:lnTo>
                    <a:lnTo>
                      <a:pt x="121" y="301"/>
                    </a:lnTo>
                    <a:lnTo>
                      <a:pt x="121" y="309"/>
                    </a:lnTo>
                    <a:lnTo>
                      <a:pt x="119" y="313"/>
                    </a:lnTo>
                    <a:lnTo>
                      <a:pt x="119" y="319"/>
                    </a:lnTo>
                    <a:lnTo>
                      <a:pt x="123" y="319"/>
                    </a:lnTo>
                    <a:lnTo>
                      <a:pt x="130" y="317"/>
                    </a:lnTo>
                    <a:lnTo>
                      <a:pt x="140" y="313"/>
                    </a:lnTo>
                    <a:lnTo>
                      <a:pt x="144" y="311"/>
                    </a:lnTo>
                    <a:lnTo>
                      <a:pt x="146" y="309"/>
                    </a:lnTo>
                    <a:lnTo>
                      <a:pt x="149" y="311"/>
                    </a:lnTo>
                    <a:lnTo>
                      <a:pt x="153" y="315"/>
                    </a:lnTo>
                    <a:lnTo>
                      <a:pt x="155" y="321"/>
                    </a:lnTo>
                    <a:lnTo>
                      <a:pt x="161" y="322"/>
                    </a:lnTo>
                    <a:lnTo>
                      <a:pt x="169" y="321"/>
                    </a:lnTo>
                    <a:lnTo>
                      <a:pt x="174" y="319"/>
                    </a:lnTo>
                    <a:lnTo>
                      <a:pt x="180" y="319"/>
                    </a:lnTo>
                    <a:lnTo>
                      <a:pt x="186" y="317"/>
                    </a:lnTo>
                    <a:lnTo>
                      <a:pt x="192" y="317"/>
                    </a:lnTo>
                    <a:lnTo>
                      <a:pt x="197" y="313"/>
                    </a:lnTo>
                    <a:lnTo>
                      <a:pt x="201" y="311"/>
                    </a:lnTo>
                    <a:lnTo>
                      <a:pt x="205" y="307"/>
                    </a:lnTo>
                    <a:lnTo>
                      <a:pt x="209" y="307"/>
                    </a:lnTo>
                    <a:lnTo>
                      <a:pt x="211" y="309"/>
                    </a:lnTo>
                    <a:lnTo>
                      <a:pt x="213" y="309"/>
                    </a:lnTo>
                    <a:lnTo>
                      <a:pt x="217" y="307"/>
                    </a:lnTo>
                    <a:lnTo>
                      <a:pt x="222" y="305"/>
                    </a:lnTo>
                    <a:lnTo>
                      <a:pt x="226" y="301"/>
                    </a:lnTo>
                    <a:lnTo>
                      <a:pt x="230" y="299"/>
                    </a:lnTo>
                    <a:lnTo>
                      <a:pt x="238" y="299"/>
                    </a:lnTo>
                    <a:lnTo>
                      <a:pt x="243" y="297"/>
                    </a:lnTo>
                    <a:lnTo>
                      <a:pt x="255" y="292"/>
                    </a:lnTo>
                    <a:lnTo>
                      <a:pt x="265" y="292"/>
                    </a:lnTo>
                    <a:lnTo>
                      <a:pt x="266" y="284"/>
                    </a:lnTo>
                    <a:lnTo>
                      <a:pt x="268" y="278"/>
                    </a:lnTo>
                    <a:lnTo>
                      <a:pt x="268" y="272"/>
                    </a:lnTo>
                    <a:lnTo>
                      <a:pt x="261" y="263"/>
                    </a:lnTo>
                    <a:lnTo>
                      <a:pt x="249" y="253"/>
                    </a:lnTo>
                    <a:lnTo>
                      <a:pt x="242" y="242"/>
                    </a:lnTo>
                    <a:lnTo>
                      <a:pt x="242" y="230"/>
                    </a:lnTo>
                    <a:lnTo>
                      <a:pt x="240" y="205"/>
                    </a:lnTo>
                    <a:lnTo>
                      <a:pt x="242" y="188"/>
                    </a:lnTo>
                    <a:lnTo>
                      <a:pt x="243" y="184"/>
                    </a:lnTo>
                    <a:lnTo>
                      <a:pt x="247" y="178"/>
                    </a:lnTo>
                    <a:lnTo>
                      <a:pt x="249" y="173"/>
                    </a:lnTo>
                    <a:lnTo>
                      <a:pt x="243" y="165"/>
                    </a:lnTo>
                    <a:lnTo>
                      <a:pt x="232" y="155"/>
                    </a:lnTo>
                    <a:lnTo>
                      <a:pt x="226" y="146"/>
                    </a:lnTo>
                    <a:lnTo>
                      <a:pt x="228" y="125"/>
                    </a:lnTo>
                    <a:lnTo>
                      <a:pt x="238" y="105"/>
                    </a:lnTo>
                    <a:lnTo>
                      <a:pt x="245" y="88"/>
                    </a:lnTo>
                    <a:lnTo>
                      <a:pt x="245" y="8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4" name="Freeform 32"/>
              <p:cNvSpPr>
                <a:spLocks/>
              </p:cNvSpPr>
              <p:nvPr/>
            </p:nvSpPr>
            <p:spPr bwMode="gray">
              <a:xfrm>
                <a:off x="3867" y="2117"/>
                <a:ext cx="92" cy="92"/>
              </a:xfrm>
              <a:custGeom>
                <a:avLst/>
                <a:gdLst>
                  <a:gd name="T0" fmla="*/ 148 w 184"/>
                  <a:gd name="T1" fmla="*/ 83 h 182"/>
                  <a:gd name="T2" fmla="*/ 171 w 184"/>
                  <a:gd name="T3" fmla="*/ 83 h 182"/>
                  <a:gd name="T4" fmla="*/ 173 w 184"/>
                  <a:gd name="T5" fmla="*/ 94 h 182"/>
                  <a:gd name="T6" fmla="*/ 177 w 184"/>
                  <a:gd name="T7" fmla="*/ 119 h 182"/>
                  <a:gd name="T8" fmla="*/ 184 w 184"/>
                  <a:gd name="T9" fmla="*/ 136 h 182"/>
                  <a:gd name="T10" fmla="*/ 175 w 184"/>
                  <a:gd name="T11" fmla="*/ 148 h 182"/>
                  <a:gd name="T12" fmla="*/ 138 w 184"/>
                  <a:gd name="T13" fmla="*/ 146 h 182"/>
                  <a:gd name="T14" fmla="*/ 113 w 184"/>
                  <a:gd name="T15" fmla="*/ 157 h 182"/>
                  <a:gd name="T16" fmla="*/ 98 w 184"/>
                  <a:gd name="T17" fmla="*/ 169 h 182"/>
                  <a:gd name="T18" fmla="*/ 73 w 184"/>
                  <a:gd name="T19" fmla="*/ 182 h 182"/>
                  <a:gd name="T20" fmla="*/ 65 w 184"/>
                  <a:gd name="T21" fmla="*/ 154 h 182"/>
                  <a:gd name="T22" fmla="*/ 65 w 184"/>
                  <a:gd name="T23" fmla="*/ 136 h 182"/>
                  <a:gd name="T24" fmla="*/ 52 w 184"/>
                  <a:gd name="T25" fmla="*/ 125 h 182"/>
                  <a:gd name="T26" fmla="*/ 29 w 184"/>
                  <a:gd name="T27" fmla="*/ 140 h 182"/>
                  <a:gd name="T28" fmla="*/ 12 w 184"/>
                  <a:gd name="T29" fmla="*/ 142 h 182"/>
                  <a:gd name="T30" fmla="*/ 19 w 184"/>
                  <a:gd name="T31" fmla="*/ 125 h 182"/>
                  <a:gd name="T32" fmla="*/ 29 w 184"/>
                  <a:gd name="T33" fmla="*/ 119 h 182"/>
                  <a:gd name="T34" fmla="*/ 29 w 184"/>
                  <a:gd name="T35" fmla="*/ 111 h 182"/>
                  <a:gd name="T36" fmla="*/ 23 w 184"/>
                  <a:gd name="T37" fmla="*/ 102 h 182"/>
                  <a:gd name="T38" fmla="*/ 29 w 184"/>
                  <a:gd name="T39" fmla="*/ 90 h 182"/>
                  <a:gd name="T40" fmla="*/ 23 w 184"/>
                  <a:gd name="T41" fmla="*/ 86 h 182"/>
                  <a:gd name="T42" fmla="*/ 8 w 184"/>
                  <a:gd name="T43" fmla="*/ 84 h 182"/>
                  <a:gd name="T44" fmla="*/ 2 w 184"/>
                  <a:gd name="T45" fmla="*/ 67 h 182"/>
                  <a:gd name="T46" fmla="*/ 18 w 184"/>
                  <a:gd name="T47" fmla="*/ 63 h 182"/>
                  <a:gd name="T48" fmla="*/ 21 w 184"/>
                  <a:gd name="T49" fmla="*/ 67 h 182"/>
                  <a:gd name="T50" fmla="*/ 35 w 184"/>
                  <a:gd name="T51" fmla="*/ 58 h 182"/>
                  <a:gd name="T52" fmla="*/ 41 w 184"/>
                  <a:gd name="T53" fmla="*/ 50 h 182"/>
                  <a:gd name="T54" fmla="*/ 39 w 184"/>
                  <a:gd name="T55" fmla="*/ 42 h 182"/>
                  <a:gd name="T56" fmla="*/ 48 w 184"/>
                  <a:gd name="T57" fmla="*/ 34 h 182"/>
                  <a:gd name="T58" fmla="*/ 42 w 184"/>
                  <a:gd name="T59" fmla="*/ 23 h 182"/>
                  <a:gd name="T60" fmla="*/ 44 w 184"/>
                  <a:gd name="T61" fmla="*/ 13 h 182"/>
                  <a:gd name="T62" fmla="*/ 52 w 184"/>
                  <a:gd name="T63" fmla="*/ 11 h 182"/>
                  <a:gd name="T64" fmla="*/ 62 w 184"/>
                  <a:gd name="T65" fmla="*/ 17 h 182"/>
                  <a:gd name="T66" fmla="*/ 69 w 184"/>
                  <a:gd name="T67" fmla="*/ 13 h 182"/>
                  <a:gd name="T68" fmla="*/ 73 w 184"/>
                  <a:gd name="T69" fmla="*/ 4 h 182"/>
                  <a:gd name="T70" fmla="*/ 79 w 184"/>
                  <a:gd name="T71" fmla="*/ 0 h 182"/>
                  <a:gd name="T72" fmla="*/ 73 w 184"/>
                  <a:gd name="T73" fmla="*/ 23 h 182"/>
                  <a:gd name="T74" fmla="*/ 81 w 184"/>
                  <a:gd name="T75" fmla="*/ 34 h 182"/>
                  <a:gd name="T76" fmla="*/ 67 w 184"/>
                  <a:gd name="T77" fmla="*/ 38 h 182"/>
                  <a:gd name="T78" fmla="*/ 62 w 184"/>
                  <a:gd name="T79" fmla="*/ 56 h 182"/>
                  <a:gd name="T80" fmla="*/ 79 w 184"/>
                  <a:gd name="T81" fmla="*/ 56 h 182"/>
                  <a:gd name="T82" fmla="*/ 85 w 184"/>
                  <a:gd name="T83" fmla="*/ 61 h 182"/>
                  <a:gd name="T84" fmla="*/ 96 w 184"/>
                  <a:gd name="T85" fmla="*/ 58 h 182"/>
                  <a:gd name="T86" fmla="*/ 106 w 184"/>
                  <a:gd name="T87" fmla="*/ 63 h 182"/>
                  <a:gd name="T88" fmla="*/ 121 w 184"/>
                  <a:gd name="T89" fmla="*/ 65 h 182"/>
                  <a:gd name="T90" fmla="*/ 135 w 184"/>
                  <a:gd name="T91" fmla="*/ 61 h 182"/>
                  <a:gd name="T92" fmla="*/ 148 w 184"/>
                  <a:gd name="T93" fmla="*/ 61 h 1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84"/>
                  <a:gd name="T142" fmla="*/ 0 h 182"/>
                  <a:gd name="T143" fmla="*/ 184 w 184"/>
                  <a:gd name="T144" fmla="*/ 182 h 18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84" h="182">
                    <a:moveTo>
                      <a:pt x="148" y="61"/>
                    </a:moveTo>
                    <a:lnTo>
                      <a:pt x="148" y="83"/>
                    </a:lnTo>
                    <a:lnTo>
                      <a:pt x="154" y="90"/>
                    </a:lnTo>
                    <a:lnTo>
                      <a:pt x="171" y="83"/>
                    </a:lnTo>
                    <a:lnTo>
                      <a:pt x="175" y="86"/>
                    </a:lnTo>
                    <a:lnTo>
                      <a:pt x="173" y="94"/>
                    </a:lnTo>
                    <a:lnTo>
                      <a:pt x="171" y="106"/>
                    </a:lnTo>
                    <a:lnTo>
                      <a:pt x="177" y="119"/>
                    </a:lnTo>
                    <a:lnTo>
                      <a:pt x="179" y="132"/>
                    </a:lnTo>
                    <a:lnTo>
                      <a:pt x="184" y="136"/>
                    </a:lnTo>
                    <a:lnTo>
                      <a:pt x="184" y="146"/>
                    </a:lnTo>
                    <a:lnTo>
                      <a:pt x="175" y="148"/>
                    </a:lnTo>
                    <a:lnTo>
                      <a:pt x="158" y="152"/>
                    </a:lnTo>
                    <a:lnTo>
                      <a:pt x="138" y="146"/>
                    </a:lnTo>
                    <a:lnTo>
                      <a:pt x="131" y="148"/>
                    </a:lnTo>
                    <a:lnTo>
                      <a:pt x="113" y="157"/>
                    </a:lnTo>
                    <a:lnTo>
                      <a:pt x="104" y="159"/>
                    </a:lnTo>
                    <a:lnTo>
                      <a:pt x="98" y="169"/>
                    </a:lnTo>
                    <a:lnTo>
                      <a:pt x="85" y="179"/>
                    </a:lnTo>
                    <a:lnTo>
                      <a:pt x="73" y="182"/>
                    </a:lnTo>
                    <a:lnTo>
                      <a:pt x="62" y="171"/>
                    </a:lnTo>
                    <a:lnTo>
                      <a:pt x="65" y="154"/>
                    </a:lnTo>
                    <a:lnTo>
                      <a:pt x="71" y="144"/>
                    </a:lnTo>
                    <a:lnTo>
                      <a:pt x="65" y="136"/>
                    </a:lnTo>
                    <a:lnTo>
                      <a:pt x="60" y="127"/>
                    </a:lnTo>
                    <a:lnTo>
                      <a:pt x="52" y="125"/>
                    </a:lnTo>
                    <a:lnTo>
                      <a:pt x="41" y="136"/>
                    </a:lnTo>
                    <a:lnTo>
                      <a:pt x="29" y="140"/>
                    </a:lnTo>
                    <a:lnTo>
                      <a:pt x="21" y="140"/>
                    </a:lnTo>
                    <a:lnTo>
                      <a:pt x="12" y="142"/>
                    </a:lnTo>
                    <a:lnTo>
                      <a:pt x="16" y="132"/>
                    </a:lnTo>
                    <a:lnTo>
                      <a:pt x="19" y="125"/>
                    </a:lnTo>
                    <a:lnTo>
                      <a:pt x="23" y="123"/>
                    </a:lnTo>
                    <a:lnTo>
                      <a:pt x="29" y="119"/>
                    </a:lnTo>
                    <a:lnTo>
                      <a:pt x="31" y="115"/>
                    </a:lnTo>
                    <a:lnTo>
                      <a:pt x="29" y="111"/>
                    </a:lnTo>
                    <a:lnTo>
                      <a:pt x="25" y="108"/>
                    </a:lnTo>
                    <a:lnTo>
                      <a:pt x="23" y="102"/>
                    </a:lnTo>
                    <a:lnTo>
                      <a:pt x="25" y="96"/>
                    </a:lnTo>
                    <a:lnTo>
                      <a:pt x="29" y="90"/>
                    </a:lnTo>
                    <a:lnTo>
                      <a:pt x="29" y="86"/>
                    </a:lnTo>
                    <a:lnTo>
                      <a:pt x="23" y="86"/>
                    </a:lnTo>
                    <a:lnTo>
                      <a:pt x="16" y="88"/>
                    </a:lnTo>
                    <a:lnTo>
                      <a:pt x="8" y="84"/>
                    </a:lnTo>
                    <a:lnTo>
                      <a:pt x="0" y="73"/>
                    </a:lnTo>
                    <a:lnTo>
                      <a:pt x="2" y="67"/>
                    </a:lnTo>
                    <a:lnTo>
                      <a:pt x="14" y="63"/>
                    </a:lnTo>
                    <a:lnTo>
                      <a:pt x="18" y="63"/>
                    </a:lnTo>
                    <a:lnTo>
                      <a:pt x="19" y="67"/>
                    </a:lnTo>
                    <a:lnTo>
                      <a:pt x="21" y="67"/>
                    </a:lnTo>
                    <a:lnTo>
                      <a:pt x="29" y="61"/>
                    </a:lnTo>
                    <a:lnTo>
                      <a:pt x="35" y="58"/>
                    </a:lnTo>
                    <a:lnTo>
                      <a:pt x="39" y="54"/>
                    </a:lnTo>
                    <a:lnTo>
                      <a:pt x="41" y="50"/>
                    </a:lnTo>
                    <a:lnTo>
                      <a:pt x="37" y="50"/>
                    </a:lnTo>
                    <a:lnTo>
                      <a:pt x="39" y="42"/>
                    </a:lnTo>
                    <a:lnTo>
                      <a:pt x="44" y="36"/>
                    </a:lnTo>
                    <a:lnTo>
                      <a:pt x="48" y="34"/>
                    </a:lnTo>
                    <a:lnTo>
                      <a:pt x="48" y="29"/>
                    </a:lnTo>
                    <a:lnTo>
                      <a:pt x="42" y="23"/>
                    </a:lnTo>
                    <a:lnTo>
                      <a:pt x="42" y="17"/>
                    </a:lnTo>
                    <a:lnTo>
                      <a:pt x="44" y="13"/>
                    </a:lnTo>
                    <a:lnTo>
                      <a:pt x="50" y="13"/>
                    </a:lnTo>
                    <a:lnTo>
                      <a:pt x="52" y="11"/>
                    </a:lnTo>
                    <a:lnTo>
                      <a:pt x="56" y="15"/>
                    </a:lnTo>
                    <a:lnTo>
                      <a:pt x="62" y="17"/>
                    </a:lnTo>
                    <a:lnTo>
                      <a:pt x="67" y="17"/>
                    </a:lnTo>
                    <a:lnTo>
                      <a:pt x="69" y="13"/>
                    </a:lnTo>
                    <a:lnTo>
                      <a:pt x="69" y="11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79" y="0"/>
                    </a:lnTo>
                    <a:lnTo>
                      <a:pt x="85" y="15"/>
                    </a:lnTo>
                    <a:lnTo>
                      <a:pt x="73" y="23"/>
                    </a:lnTo>
                    <a:lnTo>
                      <a:pt x="73" y="29"/>
                    </a:lnTo>
                    <a:lnTo>
                      <a:pt x="81" y="34"/>
                    </a:lnTo>
                    <a:lnTo>
                      <a:pt x="77" y="44"/>
                    </a:lnTo>
                    <a:lnTo>
                      <a:pt x="67" y="38"/>
                    </a:lnTo>
                    <a:lnTo>
                      <a:pt x="54" y="44"/>
                    </a:lnTo>
                    <a:lnTo>
                      <a:pt x="62" y="56"/>
                    </a:lnTo>
                    <a:lnTo>
                      <a:pt x="77" y="54"/>
                    </a:lnTo>
                    <a:lnTo>
                      <a:pt x="79" y="56"/>
                    </a:lnTo>
                    <a:lnTo>
                      <a:pt x="81" y="59"/>
                    </a:lnTo>
                    <a:lnTo>
                      <a:pt x="85" y="61"/>
                    </a:lnTo>
                    <a:lnTo>
                      <a:pt x="92" y="59"/>
                    </a:lnTo>
                    <a:lnTo>
                      <a:pt x="96" y="58"/>
                    </a:lnTo>
                    <a:lnTo>
                      <a:pt x="102" y="59"/>
                    </a:lnTo>
                    <a:lnTo>
                      <a:pt x="106" y="63"/>
                    </a:lnTo>
                    <a:lnTo>
                      <a:pt x="115" y="63"/>
                    </a:lnTo>
                    <a:lnTo>
                      <a:pt x="121" y="65"/>
                    </a:lnTo>
                    <a:lnTo>
                      <a:pt x="127" y="63"/>
                    </a:lnTo>
                    <a:lnTo>
                      <a:pt x="135" y="61"/>
                    </a:lnTo>
                    <a:lnTo>
                      <a:pt x="140" y="59"/>
                    </a:lnTo>
                    <a:lnTo>
                      <a:pt x="148" y="6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5" name="Freeform 33"/>
              <p:cNvSpPr>
                <a:spLocks/>
              </p:cNvSpPr>
              <p:nvPr/>
            </p:nvSpPr>
            <p:spPr bwMode="gray">
              <a:xfrm>
                <a:off x="4523" y="2388"/>
                <a:ext cx="20" cy="50"/>
              </a:xfrm>
              <a:custGeom>
                <a:avLst/>
                <a:gdLst>
                  <a:gd name="T0" fmla="*/ 31 w 40"/>
                  <a:gd name="T1" fmla="*/ 0 h 100"/>
                  <a:gd name="T2" fmla="*/ 10 w 40"/>
                  <a:gd name="T3" fmla="*/ 34 h 100"/>
                  <a:gd name="T4" fmla="*/ 4 w 40"/>
                  <a:gd name="T5" fmla="*/ 54 h 100"/>
                  <a:gd name="T6" fmla="*/ 0 w 40"/>
                  <a:gd name="T7" fmla="*/ 75 h 100"/>
                  <a:gd name="T8" fmla="*/ 4 w 40"/>
                  <a:gd name="T9" fmla="*/ 86 h 100"/>
                  <a:gd name="T10" fmla="*/ 12 w 40"/>
                  <a:gd name="T11" fmla="*/ 100 h 100"/>
                  <a:gd name="T12" fmla="*/ 17 w 40"/>
                  <a:gd name="T13" fmla="*/ 100 h 100"/>
                  <a:gd name="T14" fmla="*/ 31 w 40"/>
                  <a:gd name="T15" fmla="*/ 67 h 100"/>
                  <a:gd name="T16" fmla="*/ 37 w 40"/>
                  <a:gd name="T17" fmla="*/ 32 h 100"/>
                  <a:gd name="T18" fmla="*/ 40 w 40"/>
                  <a:gd name="T19" fmla="*/ 0 h 100"/>
                  <a:gd name="T20" fmla="*/ 31 w 40"/>
                  <a:gd name="T21" fmla="*/ 0 h 10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100"/>
                  <a:gd name="T35" fmla="*/ 40 w 40"/>
                  <a:gd name="T36" fmla="*/ 100 h 10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100">
                    <a:moveTo>
                      <a:pt x="31" y="0"/>
                    </a:moveTo>
                    <a:lnTo>
                      <a:pt x="10" y="34"/>
                    </a:lnTo>
                    <a:lnTo>
                      <a:pt x="4" y="54"/>
                    </a:lnTo>
                    <a:lnTo>
                      <a:pt x="0" y="75"/>
                    </a:lnTo>
                    <a:lnTo>
                      <a:pt x="4" y="86"/>
                    </a:lnTo>
                    <a:lnTo>
                      <a:pt x="12" y="100"/>
                    </a:lnTo>
                    <a:lnTo>
                      <a:pt x="17" y="100"/>
                    </a:lnTo>
                    <a:lnTo>
                      <a:pt x="31" y="67"/>
                    </a:lnTo>
                    <a:lnTo>
                      <a:pt x="37" y="32"/>
                    </a:lnTo>
                    <a:lnTo>
                      <a:pt x="40" y="0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6" name="Freeform 34"/>
              <p:cNvSpPr>
                <a:spLocks/>
              </p:cNvSpPr>
              <p:nvPr/>
            </p:nvSpPr>
            <p:spPr bwMode="gray">
              <a:xfrm>
                <a:off x="3476" y="2184"/>
                <a:ext cx="83" cy="86"/>
              </a:xfrm>
              <a:custGeom>
                <a:avLst/>
                <a:gdLst>
                  <a:gd name="T0" fmla="*/ 10 w 165"/>
                  <a:gd name="T1" fmla="*/ 102 h 173"/>
                  <a:gd name="T2" fmla="*/ 19 w 165"/>
                  <a:gd name="T3" fmla="*/ 93 h 173"/>
                  <a:gd name="T4" fmla="*/ 35 w 165"/>
                  <a:gd name="T5" fmla="*/ 95 h 173"/>
                  <a:gd name="T6" fmla="*/ 29 w 165"/>
                  <a:gd name="T7" fmla="*/ 112 h 173"/>
                  <a:gd name="T8" fmla="*/ 23 w 165"/>
                  <a:gd name="T9" fmla="*/ 123 h 173"/>
                  <a:gd name="T10" fmla="*/ 21 w 165"/>
                  <a:gd name="T11" fmla="*/ 137 h 173"/>
                  <a:gd name="T12" fmla="*/ 15 w 165"/>
                  <a:gd name="T13" fmla="*/ 141 h 173"/>
                  <a:gd name="T14" fmla="*/ 10 w 165"/>
                  <a:gd name="T15" fmla="*/ 147 h 173"/>
                  <a:gd name="T16" fmla="*/ 8 w 165"/>
                  <a:gd name="T17" fmla="*/ 150 h 173"/>
                  <a:gd name="T18" fmla="*/ 4 w 165"/>
                  <a:gd name="T19" fmla="*/ 156 h 173"/>
                  <a:gd name="T20" fmla="*/ 6 w 165"/>
                  <a:gd name="T21" fmla="*/ 172 h 173"/>
                  <a:gd name="T22" fmla="*/ 8 w 165"/>
                  <a:gd name="T23" fmla="*/ 173 h 173"/>
                  <a:gd name="T24" fmla="*/ 17 w 165"/>
                  <a:gd name="T25" fmla="*/ 168 h 173"/>
                  <a:gd name="T26" fmla="*/ 31 w 165"/>
                  <a:gd name="T27" fmla="*/ 172 h 173"/>
                  <a:gd name="T28" fmla="*/ 44 w 165"/>
                  <a:gd name="T29" fmla="*/ 173 h 173"/>
                  <a:gd name="T30" fmla="*/ 134 w 165"/>
                  <a:gd name="T31" fmla="*/ 104 h 173"/>
                  <a:gd name="T32" fmla="*/ 140 w 165"/>
                  <a:gd name="T33" fmla="*/ 97 h 173"/>
                  <a:gd name="T34" fmla="*/ 144 w 165"/>
                  <a:gd name="T35" fmla="*/ 81 h 173"/>
                  <a:gd name="T36" fmla="*/ 148 w 165"/>
                  <a:gd name="T37" fmla="*/ 75 h 173"/>
                  <a:gd name="T38" fmla="*/ 144 w 165"/>
                  <a:gd name="T39" fmla="*/ 62 h 173"/>
                  <a:gd name="T40" fmla="*/ 150 w 165"/>
                  <a:gd name="T41" fmla="*/ 52 h 173"/>
                  <a:gd name="T42" fmla="*/ 148 w 165"/>
                  <a:gd name="T43" fmla="*/ 45 h 173"/>
                  <a:gd name="T44" fmla="*/ 150 w 165"/>
                  <a:gd name="T45" fmla="*/ 33 h 173"/>
                  <a:gd name="T46" fmla="*/ 159 w 165"/>
                  <a:gd name="T47" fmla="*/ 25 h 173"/>
                  <a:gd name="T48" fmla="*/ 165 w 165"/>
                  <a:gd name="T49" fmla="*/ 12 h 173"/>
                  <a:gd name="T50" fmla="*/ 159 w 165"/>
                  <a:gd name="T51" fmla="*/ 8 h 173"/>
                  <a:gd name="T52" fmla="*/ 157 w 165"/>
                  <a:gd name="T53" fmla="*/ 0 h 173"/>
                  <a:gd name="T54" fmla="*/ 142 w 165"/>
                  <a:gd name="T55" fmla="*/ 4 h 173"/>
                  <a:gd name="T56" fmla="*/ 125 w 165"/>
                  <a:gd name="T57" fmla="*/ 12 h 173"/>
                  <a:gd name="T58" fmla="*/ 104 w 165"/>
                  <a:gd name="T59" fmla="*/ 14 h 173"/>
                  <a:gd name="T60" fmla="*/ 79 w 165"/>
                  <a:gd name="T61" fmla="*/ 24 h 173"/>
                  <a:gd name="T62" fmla="*/ 63 w 165"/>
                  <a:gd name="T63" fmla="*/ 27 h 173"/>
                  <a:gd name="T64" fmla="*/ 48 w 165"/>
                  <a:gd name="T65" fmla="*/ 25 h 173"/>
                  <a:gd name="T66" fmla="*/ 38 w 165"/>
                  <a:gd name="T67" fmla="*/ 31 h 173"/>
                  <a:gd name="T68" fmla="*/ 31 w 165"/>
                  <a:gd name="T69" fmla="*/ 29 h 173"/>
                  <a:gd name="T70" fmla="*/ 29 w 165"/>
                  <a:gd name="T71" fmla="*/ 39 h 173"/>
                  <a:gd name="T72" fmla="*/ 31 w 165"/>
                  <a:gd name="T73" fmla="*/ 47 h 173"/>
                  <a:gd name="T74" fmla="*/ 23 w 165"/>
                  <a:gd name="T75" fmla="*/ 49 h 173"/>
                  <a:gd name="T76" fmla="*/ 17 w 165"/>
                  <a:gd name="T77" fmla="*/ 56 h 173"/>
                  <a:gd name="T78" fmla="*/ 4 w 165"/>
                  <a:gd name="T79" fmla="*/ 60 h 173"/>
                  <a:gd name="T80" fmla="*/ 0 w 165"/>
                  <a:gd name="T81" fmla="*/ 60 h 173"/>
                  <a:gd name="T82" fmla="*/ 4 w 165"/>
                  <a:gd name="T83" fmla="*/ 75 h 173"/>
                  <a:gd name="T84" fmla="*/ 0 w 165"/>
                  <a:gd name="T85" fmla="*/ 91 h 173"/>
                  <a:gd name="T86" fmla="*/ 2 w 165"/>
                  <a:gd name="T87" fmla="*/ 97 h 173"/>
                  <a:gd name="T88" fmla="*/ 8 w 165"/>
                  <a:gd name="T89" fmla="*/ 100 h 17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65"/>
                  <a:gd name="T136" fmla="*/ 0 h 173"/>
                  <a:gd name="T137" fmla="*/ 165 w 165"/>
                  <a:gd name="T138" fmla="*/ 173 h 17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65" h="173">
                    <a:moveTo>
                      <a:pt x="8" y="104"/>
                    </a:moveTo>
                    <a:lnTo>
                      <a:pt x="10" y="102"/>
                    </a:lnTo>
                    <a:lnTo>
                      <a:pt x="14" y="95"/>
                    </a:lnTo>
                    <a:lnTo>
                      <a:pt x="19" y="93"/>
                    </a:lnTo>
                    <a:lnTo>
                      <a:pt x="33" y="93"/>
                    </a:lnTo>
                    <a:lnTo>
                      <a:pt x="35" y="95"/>
                    </a:lnTo>
                    <a:lnTo>
                      <a:pt x="33" y="102"/>
                    </a:lnTo>
                    <a:lnTo>
                      <a:pt x="29" y="112"/>
                    </a:lnTo>
                    <a:lnTo>
                      <a:pt x="23" y="120"/>
                    </a:lnTo>
                    <a:lnTo>
                      <a:pt x="23" y="123"/>
                    </a:lnTo>
                    <a:lnTo>
                      <a:pt x="21" y="131"/>
                    </a:lnTo>
                    <a:lnTo>
                      <a:pt x="21" y="137"/>
                    </a:lnTo>
                    <a:lnTo>
                      <a:pt x="17" y="139"/>
                    </a:lnTo>
                    <a:lnTo>
                      <a:pt x="15" y="141"/>
                    </a:lnTo>
                    <a:lnTo>
                      <a:pt x="12" y="143"/>
                    </a:lnTo>
                    <a:lnTo>
                      <a:pt x="10" y="147"/>
                    </a:lnTo>
                    <a:lnTo>
                      <a:pt x="10" y="150"/>
                    </a:lnTo>
                    <a:lnTo>
                      <a:pt x="8" y="150"/>
                    </a:lnTo>
                    <a:lnTo>
                      <a:pt x="4" y="152"/>
                    </a:lnTo>
                    <a:lnTo>
                      <a:pt x="4" y="156"/>
                    </a:lnTo>
                    <a:lnTo>
                      <a:pt x="6" y="164"/>
                    </a:lnTo>
                    <a:lnTo>
                      <a:pt x="6" y="172"/>
                    </a:lnTo>
                    <a:lnTo>
                      <a:pt x="8" y="172"/>
                    </a:lnTo>
                    <a:lnTo>
                      <a:pt x="8" y="173"/>
                    </a:lnTo>
                    <a:lnTo>
                      <a:pt x="12" y="170"/>
                    </a:lnTo>
                    <a:lnTo>
                      <a:pt x="17" y="168"/>
                    </a:lnTo>
                    <a:lnTo>
                      <a:pt x="23" y="168"/>
                    </a:lnTo>
                    <a:lnTo>
                      <a:pt x="31" y="172"/>
                    </a:lnTo>
                    <a:lnTo>
                      <a:pt x="38" y="172"/>
                    </a:lnTo>
                    <a:lnTo>
                      <a:pt x="44" y="173"/>
                    </a:lnTo>
                    <a:lnTo>
                      <a:pt x="83" y="145"/>
                    </a:lnTo>
                    <a:lnTo>
                      <a:pt x="134" y="104"/>
                    </a:lnTo>
                    <a:lnTo>
                      <a:pt x="136" y="100"/>
                    </a:lnTo>
                    <a:lnTo>
                      <a:pt x="140" y="97"/>
                    </a:lnTo>
                    <a:lnTo>
                      <a:pt x="142" y="87"/>
                    </a:lnTo>
                    <a:lnTo>
                      <a:pt x="144" y="81"/>
                    </a:lnTo>
                    <a:lnTo>
                      <a:pt x="148" y="77"/>
                    </a:lnTo>
                    <a:lnTo>
                      <a:pt x="148" y="75"/>
                    </a:lnTo>
                    <a:lnTo>
                      <a:pt x="144" y="68"/>
                    </a:lnTo>
                    <a:lnTo>
                      <a:pt x="144" y="62"/>
                    </a:lnTo>
                    <a:lnTo>
                      <a:pt x="148" y="58"/>
                    </a:lnTo>
                    <a:lnTo>
                      <a:pt x="150" y="52"/>
                    </a:lnTo>
                    <a:lnTo>
                      <a:pt x="150" y="49"/>
                    </a:lnTo>
                    <a:lnTo>
                      <a:pt x="148" y="45"/>
                    </a:lnTo>
                    <a:lnTo>
                      <a:pt x="148" y="41"/>
                    </a:lnTo>
                    <a:lnTo>
                      <a:pt x="150" y="33"/>
                    </a:lnTo>
                    <a:lnTo>
                      <a:pt x="154" y="29"/>
                    </a:lnTo>
                    <a:lnTo>
                      <a:pt x="159" y="25"/>
                    </a:lnTo>
                    <a:lnTo>
                      <a:pt x="163" y="20"/>
                    </a:lnTo>
                    <a:lnTo>
                      <a:pt x="165" y="12"/>
                    </a:lnTo>
                    <a:lnTo>
                      <a:pt x="165" y="8"/>
                    </a:lnTo>
                    <a:lnTo>
                      <a:pt x="159" y="8"/>
                    </a:lnTo>
                    <a:lnTo>
                      <a:pt x="159" y="6"/>
                    </a:lnTo>
                    <a:lnTo>
                      <a:pt x="157" y="0"/>
                    </a:lnTo>
                    <a:lnTo>
                      <a:pt x="152" y="0"/>
                    </a:lnTo>
                    <a:lnTo>
                      <a:pt x="142" y="4"/>
                    </a:lnTo>
                    <a:lnTo>
                      <a:pt x="136" y="10"/>
                    </a:lnTo>
                    <a:lnTo>
                      <a:pt x="125" y="12"/>
                    </a:lnTo>
                    <a:lnTo>
                      <a:pt x="111" y="12"/>
                    </a:lnTo>
                    <a:lnTo>
                      <a:pt x="104" y="14"/>
                    </a:lnTo>
                    <a:lnTo>
                      <a:pt x="90" y="22"/>
                    </a:lnTo>
                    <a:lnTo>
                      <a:pt x="79" y="24"/>
                    </a:lnTo>
                    <a:lnTo>
                      <a:pt x="69" y="25"/>
                    </a:lnTo>
                    <a:lnTo>
                      <a:pt x="63" y="27"/>
                    </a:lnTo>
                    <a:lnTo>
                      <a:pt x="58" y="25"/>
                    </a:lnTo>
                    <a:lnTo>
                      <a:pt x="48" y="25"/>
                    </a:lnTo>
                    <a:lnTo>
                      <a:pt x="42" y="31"/>
                    </a:lnTo>
                    <a:lnTo>
                      <a:pt x="38" y="31"/>
                    </a:lnTo>
                    <a:lnTo>
                      <a:pt x="35" y="29"/>
                    </a:lnTo>
                    <a:lnTo>
                      <a:pt x="31" y="29"/>
                    </a:lnTo>
                    <a:lnTo>
                      <a:pt x="27" y="33"/>
                    </a:lnTo>
                    <a:lnTo>
                      <a:pt x="29" y="39"/>
                    </a:lnTo>
                    <a:lnTo>
                      <a:pt x="31" y="41"/>
                    </a:lnTo>
                    <a:lnTo>
                      <a:pt x="31" y="47"/>
                    </a:lnTo>
                    <a:lnTo>
                      <a:pt x="29" y="49"/>
                    </a:lnTo>
                    <a:lnTo>
                      <a:pt x="23" y="49"/>
                    </a:lnTo>
                    <a:lnTo>
                      <a:pt x="19" y="50"/>
                    </a:lnTo>
                    <a:lnTo>
                      <a:pt x="17" y="56"/>
                    </a:lnTo>
                    <a:lnTo>
                      <a:pt x="1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0" y="60"/>
                    </a:lnTo>
                    <a:lnTo>
                      <a:pt x="0" y="64"/>
                    </a:lnTo>
                    <a:lnTo>
                      <a:pt x="4" y="75"/>
                    </a:lnTo>
                    <a:lnTo>
                      <a:pt x="2" y="85"/>
                    </a:lnTo>
                    <a:lnTo>
                      <a:pt x="0" y="91"/>
                    </a:lnTo>
                    <a:lnTo>
                      <a:pt x="0" y="95"/>
                    </a:lnTo>
                    <a:lnTo>
                      <a:pt x="2" y="97"/>
                    </a:lnTo>
                    <a:lnTo>
                      <a:pt x="6" y="98"/>
                    </a:lnTo>
                    <a:lnTo>
                      <a:pt x="8" y="100"/>
                    </a:lnTo>
                    <a:lnTo>
                      <a:pt x="8" y="10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7" name="Freeform 35"/>
              <p:cNvSpPr>
                <a:spLocks/>
              </p:cNvSpPr>
              <p:nvPr/>
            </p:nvSpPr>
            <p:spPr bwMode="gray">
              <a:xfrm>
                <a:off x="3105" y="1998"/>
                <a:ext cx="56" cy="42"/>
              </a:xfrm>
              <a:custGeom>
                <a:avLst/>
                <a:gdLst>
                  <a:gd name="T0" fmla="*/ 114 w 114"/>
                  <a:gd name="T1" fmla="*/ 34 h 82"/>
                  <a:gd name="T2" fmla="*/ 104 w 114"/>
                  <a:gd name="T3" fmla="*/ 23 h 82"/>
                  <a:gd name="T4" fmla="*/ 87 w 114"/>
                  <a:gd name="T5" fmla="*/ 5 h 82"/>
                  <a:gd name="T6" fmla="*/ 71 w 114"/>
                  <a:gd name="T7" fmla="*/ 0 h 82"/>
                  <a:gd name="T8" fmla="*/ 66 w 114"/>
                  <a:gd name="T9" fmla="*/ 3 h 82"/>
                  <a:gd name="T10" fmla="*/ 56 w 114"/>
                  <a:gd name="T11" fmla="*/ 9 h 82"/>
                  <a:gd name="T12" fmla="*/ 54 w 114"/>
                  <a:gd name="T13" fmla="*/ 11 h 82"/>
                  <a:gd name="T14" fmla="*/ 46 w 114"/>
                  <a:gd name="T15" fmla="*/ 11 h 82"/>
                  <a:gd name="T16" fmla="*/ 43 w 114"/>
                  <a:gd name="T17" fmla="*/ 19 h 82"/>
                  <a:gd name="T18" fmla="*/ 35 w 114"/>
                  <a:gd name="T19" fmla="*/ 23 h 82"/>
                  <a:gd name="T20" fmla="*/ 21 w 114"/>
                  <a:gd name="T21" fmla="*/ 34 h 82"/>
                  <a:gd name="T22" fmla="*/ 14 w 114"/>
                  <a:gd name="T23" fmla="*/ 48 h 82"/>
                  <a:gd name="T24" fmla="*/ 4 w 114"/>
                  <a:gd name="T25" fmla="*/ 57 h 82"/>
                  <a:gd name="T26" fmla="*/ 0 w 114"/>
                  <a:gd name="T27" fmla="*/ 71 h 82"/>
                  <a:gd name="T28" fmla="*/ 14 w 114"/>
                  <a:gd name="T29" fmla="*/ 65 h 82"/>
                  <a:gd name="T30" fmla="*/ 18 w 114"/>
                  <a:gd name="T31" fmla="*/ 71 h 82"/>
                  <a:gd name="T32" fmla="*/ 27 w 114"/>
                  <a:gd name="T33" fmla="*/ 76 h 82"/>
                  <a:gd name="T34" fmla="*/ 35 w 114"/>
                  <a:gd name="T35" fmla="*/ 82 h 82"/>
                  <a:gd name="T36" fmla="*/ 39 w 114"/>
                  <a:gd name="T37" fmla="*/ 80 h 82"/>
                  <a:gd name="T38" fmla="*/ 52 w 114"/>
                  <a:gd name="T39" fmla="*/ 75 h 82"/>
                  <a:gd name="T40" fmla="*/ 56 w 114"/>
                  <a:gd name="T41" fmla="*/ 61 h 82"/>
                  <a:gd name="T42" fmla="*/ 64 w 114"/>
                  <a:gd name="T43" fmla="*/ 69 h 82"/>
                  <a:gd name="T44" fmla="*/ 69 w 114"/>
                  <a:gd name="T45" fmla="*/ 73 h 82"/>
                  <a:gd name="T46" fmla="*/ 79 w 114"/>
                  <a:gd name="T47" fmla="*/ 76 h 82"/>
                  <a:gd name="T48" fmla="*/ 85 w 114"/>
                  <a:gd name="T49" fmla="*/ 73 h 82"/>
                  <a:gd name="T50" fmla="*/ 83 w 114"/>
                  <a:gd name="T51" fmla="*/ 67 h 82"/>
                  <a:gd name="T52" fmla="*/ 90 w 114"/>
                  <a:gd name="T53" fmla="*/ 61 h 82"/>
                  <a:gd name="T54" fmla="*/ 100 w 114"/>
                  <a:gd name="T55" fmla="*/ 50 h 82"/>
                  <a:gd name="T56" fmla="*/ 108 w 114"/>
                  <a:gd name="T57" fmla="*/ 53 h 82"/>
                  <a:gd name="T58" fmla="*/ 114 w 114"/>
                  <a:gd name="T59" fmla="*/ 50 h 82"/>
                  <a:gd name="T60" fmla="*/ 110 w 114"/>
                  <a:gd name="T61" fmla="*/ 46 h 82"/>
                  <a:gd name="T62" fmla="*/ 112 w 114"/>
                  <a:gd name="T63" fmla="*/ 42 h 82"/>
                  <a:gd name="T64" fmla="*/ 114 w 114"/>
                  <a:gd name="T65" fmla="*/ 40 h 8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4"/>
                  <a:gd name="T100" fmla="*/ 0 h 82"/>
                  <a:gd name="T101" fmla="*/ 114 w 114"/>
                  <a:gd name="T102" fmla="*/ 82 h 8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4" h="82">
                    <a:moveTo>
                      <a:pt x="114" y="40"/>
                    </a:moveTo>
                    <a:lnTo>
                      <a:pt x="114" y="34"/>
                    </a:lnTo>
                    <a:lnTo>
                      <a:pt x="106" y="27"/>
                    </a:lnTo>
                    <a:lnTo>
                      <a:pt x="104" y="23"/>
                    </a:lnTo>
                    <a:lnTo>
                      <a:pt x="106" y="19"/>
                    </a:lnTo>
                    <a:lnTo>
                      <a:pt x="87" y="5"/>
                    </a:lnTo>
                    <a:lnTo>
                      <a:pt x="77" y="0"/>
                    </a:lnTo>
                    <a:lnTo>
                      <a:pt x="71" y="0"/>
                    </a:lnTo>
                    <a:lnTo>
                      <a:pt x="69" y="2"/>
                    </a:lnTo>
                    <a:lnTo>
                      <a:pt x="66" y="3"/>
                    </a:lnTo>
                    <a:lnTo>
                      <a:pt x="62" y="7"/>
                    </a:lnTo>
                    <a:lnTo>
                      <a:pt x="56" y="9"/>
                    </a:lnTo>
                    <a:lnTo>
                      <a:pt x="54" y="9"/>
                    </a:lnTo>
                    <a:lnTo>
                      <a:pt x="54" y="11"/>
                    </a:lnTo>
                    <a:lnTo>
                      <a:pt x="50" y="13"/>
                    </a:lnTo>
                    <a:lnTo>
                      <a:pt x="46" y="11"/>
                    </a:lnTo>
                    <a:lnTo>
                      <a:pt x="43" y="11"/>
                    </a:lnTo>
                    <a:lnTo>
                      <a:pt x="43" y="19"/>
                    </a:lnTo>
                    <a:lnTo>
                      <a:pt x="41" y="21"/>
                    </a:lnTo>
                    <a:lnTo>
                      <a:pt x="35" y="23"/>
                    </a:lnTo>
                    <a:lnTo>
                      <a:pt x="27" y="27"/>
                    </a:lnTo>
                    <a:lnTo>
                      <a:pt x="21" y="34"/>
                    </a:lnTo>
                    <a:lnTo>
                      <a:pt x="18" y="42"/>
                    </a:lnTo>
                    <a:lnTo>
                      <a:pt x="14" y="48"/>
                    </a:lnTo>
                    <a:lnTo>
                      <a:pt x="8" y="51"/>
                    </a:lnTo>
                    <a:lnTo>
                      <a:pt x="4" y="57"/>
                    </a:lnTo>
                    <a:lnTo>
                      <a:pt x="0" y="65"/>
                    </a:lnTo>
                    <a:lnTo>
                      <a:pt x="0" y="71"/>
                    </a:lnTo>
                    <a:lnTo>
                      <a:pt x="6" y="69"/>
                    </a:lnTo>
                    <a:lnTo>
                      <a:pt x="14" y="65"/>
                    </a:lnTo>
                    <a:lnTo>
                      <a:pt x="18" y="69"/>
                    </a:lnTo>
                    <a:lnTo>
                      <a:pt x="18" y="71"/>
                    </a:lnTo>
                    <a:lnTo>
                      <a:pt x="21" y="75"/>
                    </a:lnTo>
                    <a:lnTo>
                      <a:pt x="27" y="76"/>
                    </a:lnTo>
                    <a:lnTo>
                      <a:pt x="31" y="78"/>
                    </a:lnTo>
                    <a:lnTo>
                      <a:pt x="35" y="82"/>
                    </a:lnTo>
                    <a:lnTo>
                      <a:pt x="37" y="82"/>
                    </a:lnTo>
                    <a:lnTo>
                      <a:pt x="39" y="80"/>
                    </a:lnTo>
                    <a:lnTo>
                      <a:pt x="44" y="76"/>
                    </a:lnTo>
                    <a:lnTo>
                      <a:pt x="52" y="75"/>
                    </a:lnTo>
                    <a:lnTo>
                      <a:pt x="56" y="71"/>
                    </a:lnTo>
                    <a:lnTo>
                      <a:pt x="56" y="61"/>
                    </a:lnTo>
                    <a:lnTo>
                      <a:pt x="60" y="63"/>
                    </a:lnTo>
                    <a:lnTo>
                      <a:pt x="64" y="69"/>
                    </a:lnTo>
                    <a:lnTo>
                      <a:pt x="66" y="71"/>
                    </a:lnTo>
                    <a:lnTo>
                      <a:pt x="69" y="73"/>
                    </a:lnTo>
                    <a:lnTo>
                      <a:pt x="75" y="75"/>
                    </a:lnTo>
                    <a:lnTo>
                      <a:pt x="79" y="76"/>
                    </a:lnTo>
                    <a:lnTo>
                      <a:pt x="83" y="75"/>
                    </a:lnTo>
                    <a:lnTo>
                      <a:pt x="85" y="73"/>
                    </a:lnTo>
                    <a:lnTo>
                      <a:pt x="85" y="71"/>
                    </a:lnTo>
                    <a:lnTo>
                      <a:pt x="83" y="67"/>
                    </a:lnTo>
                    <a:lnTo>
                      <a:pt x="85" y="61"/>
                    </a:lnTo>
                    <a:lnTo>
                      <a:pt x="90" y="61"/>
                    </a:lnTo>
                    <a:lnTo>
                      <a:pt x="92" y="57"/>
                    </a:lnTo>
                    <a:lnTo>
                      <a:pt x="100" y="50"/>
                    </a:lnTo>
                    <a:lnTo>
                      <a:pt x="106" y="51"/>
                    </a:lnTo>
                    <a:lnTo>
                      <a:pt x="108" y="53"/>
                    </a:lnTo>
                    <a:lnTo>
                      <a:pt x="110" y="53"/>
                    </a:lnTo>
                    <a:lnTo>
                      <a:pt x="114" y="50"/>
                    </a:lnTo>
                    <a:lnTo>
                      <a:pt x="114" y="46"/>
                    </a:lnTo>
                    <a:lnTo>
                      <a:pt x="110" y="46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12" y="40"/>
                    </a:lnTo>
                    <a:lnTo>
                      <a:pt x="114" y="4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8" name="Freeform 36"/>
              <p:cNvSpPr>
                <a:spLocks/>
              </p:cNvSpPr>
              <p:nvPr/>
            </p:nvSpPr>
            <p:spPr bwMode="gray">
              <a:xfrm>
                <a:off x="3188" y="1767"/>
                <a:ext cx="20" cy="23"/>
              </a:xfrm>
              <a:custGeom>
                <a:avLst/>
                <a:gdLst>
                  <a:gd name="T0" fmla="*/ 23 w 41"/>
                  <a:gd name="T1" fmla="*/ 0 h 47"/>
                  <a:gd name="T2" fmla="*/ 41 w 41"/>
                  <a:gd name="T3" fmla="*/ 20 h 47"/>
                  <a:gd name="T4" fmla="*/ 29 w 41"/>
                  <a:gd name="T5" fmla="*/ 35 h 47"/>
                  <a:gd name="T6" fmla="*/ 0 w 41"/>
                  <a:gd name="T7" fmla="*/ 47 h 47"/>
                  <a:gd name="T8" fmla="*/ 0 w 41"/>
                  <a:gd name="T9" fmla="*/ 27 h 47"/>
                  <a:gd name="T10" fmla="*/ 8 w 41"/>
                  <a:gd name="T11" fmla="*/ 24 h 47"/>
                  <a:gd name="T12" fmla="*/ 12 w 41"/>
                  <a:gd name="T13" fmla="*/ 20 h 47"/>
                  <a:gd name="T14" fmla="*/ 16 w 41"/>
                  <a:gd name="T15" fmla="*/ 18 h 47"/>
                  <a:gd name="T16" fmla="*/ 18 w 41"/>
                  <a:gd name="T17" fmla="*/ 16 h 47"/>
                  <a:gd name="T18" fmla="*/ 19 w 41"/>
                  <a:gd name="T19" fmla="*/ 10 h 47"/>
                  <a:gd name="T20" fmla="*/ 23 w 41"/>
                  <a:gd name="T21" fmla="*/ 0 h 4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1"/>
                  <a:gd name="T34" fmla="*/ 0 h 47"/>
                  <a:gd name="T35" fmla="*/ 41 w 41"/>
                  <a:gd name="T36" fmla="*/ 47 h 4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1" h="47">
                    <a:moveTo>
                      <a:pt x="23" y="0"/>
                    </a:moveTo>
                    <a:lnTo>
                      <a:pt x="41" y="20"/>
                    </a:lnTo>
                    <a:lnTo>
                      <a:pt x="29" y="35"/>
                    </a:lnTo>
                    <a:lnTo>
                      <a:pt x="0" y="47"/>
                    </a:lnTo>
                    <a:lnTo>
                      <a:pt x="0" y="27"/>
                    </a:lnTo>
                    <a:lnTo>
                      <a:pt x="8" y="24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19" y="1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49" name="Freeform 37"/>
              <p:cNvSpPr>
                <a:spLocks/>
              </p:cNvSpPr>
              <p:nvPr/>
            </p:nvSpPr>
            <p:spPr bwMode="gray">
              <a:xfrm>
                <a:off x="3245" y="1767"/>
                <a:ext cx="8" cy="5"/>
              </a:xfrm>
              <a:custGeom>
                <a:avLst/>
                <a:gdLst>
                  <a:gd name="T0" fmla="*/ 5 w 17"/>
                  <a:gd name="T1" fmla="*/ 0 h 10"/>
                  <a:gd name="T2" fmla="*/ 15 w 17"/>
                  <a:gd name="T3" fmla="*/ 6 h 10"/>
                  <a:gd name="T4" fmla="*/ 17 w 17"/>
                  <a:gd name="T5" fmla="*/ 10 h 10"/>
                  <a:gd name="T6" fmla="*/ 5 w 17"/>
                  <a:gd name="T7" fmla="*/ 8 h 10"/>
                  <a:gd name="T8" fmla="*/ 1 w 17"/>
                  <a:gd name="T9" fmla="*/ 6 h 10"/>
                  <a:gd name="T10" fmla="*/ 0 w 17"/>
                  <a:gd name="T11" fmla="*/ 2 h 10"/>
                  <a:gd name="T12" fmla="*/ 5 w 17"/>
                  <a:gd name="T13" fmla="*/ 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"/>
                  <a:gd name="T22" fmla="*/ 0 h 10"/>
                  <a:gd name="T23" fmla="*/ 17 w 17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" h="10">
                    <a:moveTo>
                      <a:pt x="5" y="0"/>
                    </a:moveTo>
                    <a:lnTo>
                      <a:pt x="15" y="6"/>
                    </a:lnTo>
                    <a:lnTo>
                      <a:pt x="17" y="10"/>
                    </a:lnTo>
                    <a:lnTo>
                      <a:pt x="5" y="8"/>
                    </a:lnTo>
                    <a:lnTo>
                      <a:pt x="1" y="6"/>
                    </a:lnTo>
                    <a:lnTo>
                      <a:pt x="0" y="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0" name="Freeform 38"/>
              <p:cNvSpPr>
                <a:spLocks/>
              </p:cNvSpPr>
              <p:nvPr/>
            </p:nvSpPr>
            <p:spPr bwMode="gray">
              <a:xfrm>
                <a:off x="3211" y="1794"/>
                <a:ext cx="3" cy="3"/>
              </a:xfrm>
              <a:custGeom>
                <a:avLst/>
                <a:gdLst>
                  <a:gd name="T0" fmla="*/ 4 w 6"/>
                  <a:gd name="T1" fmla="*/ 0 h 8"/>
                  <a:gd name="T2" fmla="*/ 6 w 6"/>
                  <a:gd name="T3" fmla="*/ 4 h 8"/>
                  <a:gd name="T4" fmla="*/ 2 w 6"/>
                  <a:gd name="T5" fmla="*/ 6 h 8"/>
                  <a:gd name="T6" fmla="*/ 0 w 6"/>
                  <a:gd name="T7" fmla="*/ 8 h 8"/>
                  <a:gd name="T8" fmla="*/ 0 w 6"/>
                  <a:gd name="T9" fmla="*/ 0 h 8"/>
                  <a:gd name="T10" fmla="*/ 4 w 6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8"/>
                  <a:gd name="T20" fmla="*/ 6 w 6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8">
                    <a:moveTo>
                      <a:pt x="4" y="0"/>
                    </a:moveTo>
                    <a:lnTo>
                      <a:pt x="6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1" name="Freeform 39"/>
              <p:cNvSpPr>
                <a:spLocks/>
              </p:cNvSpPr>
              <p:nvPr/>
            </p:nvSpPr>
            <p:spPr bwMode="gray">
              <a:xfrm>
                <a:off x="3257" y="1803"/>
                <a:ext cx="13" cy="23"/>
              </a:xfrm>
              <a:custGeom>
                <a:avLst/>
                <a:gdLst>
                  <a:gd name="T0" fmla="*/ 23 w 25"/>
                  <a:gd name="T1" fmla="*/ 0 h 47"/>
                  <a:gd name="T2" fmla="*/ 23 w 25"/>
                  <a:gd name="T3" fmla="*/ 8 h 47"/>
                  <a:gd name="T4" fmla="*/ 12 w 25"/>
                  <a:gd name="T5" fmla="*/ 8 h 47"/>
                  <a:gd name="T6" fmla="*/ 6 w 25"/>
                  <a:gd name="T7" fmla="*/ 20 h 47"/>
                  <a:gd name="T8" fmla="*/ 4 w 25"/>
                  <a:gd name="T9" fmla="*/ 29 h 47"/>
                  <a:gd name="T10" fmla="*/ 0 w 25"/>
                  <a:gd name="T11" fmla="*/ 43 h 47"/>
                  <a:gd name="T12" fmla="*/ 12 w 25"/>
                  <a:gd name="T13" fmla="*/ 47 h 47"/>
                  <a:gd name="T14" fmla="*/ 18 w 25"/>
                  <a:gd name="T15" fmla="*/ 29 h 47"/>
                  <a:gd name="T16" fmla="*/ 25 w 25"/>
                  <a:gd name="T17" fmla="*/ 8 h 47"/>
                  <a:gd name="T18" fmla="*/ 23 w 25"/>
                  <a:gd name="T19" fmla="*/ 0 h 4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5"/>
                  <a:gd name="T31" fmla="*/ 0 h 47"/>
                  <a:gd name="T32" fmla="*/ 25 w 25"/>
                  <a:gd name="T33" fmla="*/ 47 h 4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5" h="47">
                    <a:moveTo>
                      <a:pt x="23" y="0"/>
                    </a:moveTo>
                    <a:lnTo>
                      <a:pt x="23" y="8"/>
                    </a:lnTo>
                    <a:lnTo>
                      <a:pt x="12" y="8"/>
                    </a:lnTo>
                    <a:lnTo>
                      <a:pt x="6" y="20"/>
                    </a:lnTo>
                    <a:lnTo>
                      <a:pt x="4" y="29"/>
                    </a:lnTo>
                    <a:lnTo>
                      <a:pt x="0" y="43"/>
                    </a:lnTo>
                    <a:lnTo>
                      <a:pt x="12" y="47"/>
                    </a:lnTo>
                    <a:lnTo>
                      <a:pt x="18" y="29"/>
                    </a:lnTo>
                    <a:lnTo>
                      <a:pt x="25" y="8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2" name="Freeform 40"/>
              <p:cNvSpPr>
                <a:spLocks/>
              </p:cNvSpPr>
              <p:nvPr/>
            </p:nvSpPr>
            <p:spPr bwMode="gray">
              <a:xfrm>
                <a:off x="3212" y="1782"/>
                <a:ext cx="5" cy="10"/>
              </a:xfrm>
              <a:custGeom>
                <a:avLst/>
                <a:gdLst>
                  <a:gd name="T0" fmla="*/ 10 w 10"/>
                  <a:gd name="T1" fmla="*/ 0 h 19"/>
                  <a:gd name="T2" fmla="*/ 8 w 10"/>
                  <a:gd name="T3" fmla="*/ 6 h 19"/>
                  <a:gd name="T4" fmla="*/ 8 w 10"/>
                  <a:gd name="T5" fmla="*/ 14 h 19"/>
                  <a:gd name="T6" fmla="*/ 6 w 10"/>
                  <a:gd name="T7" fmla="*/ 19 h 19"/>
                  <a:gd name="T8" fmla="*/ 0 w 10"/>
                  <a:gd name="T9" fmla="*/ 19 h 19"/>
                  <a:gd name="T10" fmla="*/ 4 w 10"/>
                  <a:gd name="T11" fmla="*/ 8 h 19"/>
                  <a:gd name="T12" fmla="*/ 1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10" y="0"/>
                    </a:moveTo>
                    <a:lnTo>
                      <a:pt x="8" y="6"/>
                    </a:lnTo>
                    <a:lnTo>
                      <a:pt x="8" y="14"/>
                    </a:lnTo>
                    <a:lnTo>
                      <a:pt x="6" y="19"/>
                    </a:lnTo>
                    <a:lnTo>
                      <a:pt x="0" y="19"/>
                    </a:lnTo>
                    <a:lnTo>
                      <a:pt x="4" y="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3" name="Freeform 41"/>
              <p:cNvSpPr>
                <a:spLocks/>
              </p:cNvSpPr>
              <p:nvPr/>
            </p:nvSpPr>
            <p:spPr bwMode="gray">
              <a:xfrm>
                <a:off x="3174" y="1562"/>
                <a:ext cx="154" cy="291"/>
              </a:xfrm>
              <a:custGeom>
                <a:avLst/>
                <a:gdLst>
                  <a:gd name="T0" fmla="*/ 10 w 309"/>
                  <a:gd name="T1" fmla="*/ 477 h 582"/>
                  <a:gd name="T2" fmla="*/ 31 w 309"/>
                  <a:gd name="T3" fmla="*/ 521 h 582"/>
                  <a:gd name="T4" fmla="*/ 37 w 309"/>
                  <a:gd name="T5" fmla="*/ 548 h 582"/>
                  <a:gd name="T6" fmla="*/ 35 w 309"/>
                  <a:gd name="T7" fmla="*/ 567 h 582"/>
                  <a:gd name="T8" fmla="*/ 71 w 309"/>
                  <a:gd name="T9" fmla="*/ 582 h 582"/>
                  <a:gd name="T10" fmla="*/ 73 w 309"/>
                  <a:gd name="T11" fmla="*/ 556 h 582"/>
                  <a:gd name="T12" fmla="*/ 114 w 309"/>
                  <a:gd name="T13" fmla="*/ 548 h 582"/>
                  <a:gd name="T14" fmla="*/ 137 w 309"/>
                  <a:gd name="T15" fmla="*/ 525 h 582"/>
                  <a:gd name="T16" fmla="*/ 125 w 309"/>
                  <a:gd name="T17" fmla="*/ 527 h 582"/>
                  <a:gd name="T18" fmla="*/ 137 w 309"/>
                  <a:gd name="T19" fmla="*/ 469 h 582"/>
                  <a:gd name="T20" fmla="*/ 141 w 309"/>
                  <a:gd name="T21" fmla="*/ 444 h 582"/>
                  <a:gd name="T22" fmla="*/ 179 w 309"/>
                  <a:gd name="T23" fmla="*/ 429 h 582"/>
                  <a:gd name="T24" fmla="*/ 179 w 309"/>
                  <a:gd name="T25" fmla="*/ 417 h 582"/>
                  <a:gd name="T26" fmla="*/ 194 w 309"/>
                  <a:gd name="T27" fmla="*/ 402 h 582"/>
                  <a:gd name="T28" fmla="*/ 148 w 309"/>
                  <a:gd name="T29" fmla="*/ 348 h 582"/>
                  <a:gd name="T30" fmla="*/ 152 w 309"/>
                  <a:gd name="T31" fmla="*/ 298 h 582"/>
                  <a:gd name="T32" fmla="*/ 152 w 309"/>
                  <a:gd name="T33" fmla="*/ 283 h 582"/>
                  <a:gd name="T34" fmla="*/ 167 w 309"/>
                  <a:gd name="T35" fmla="*/ 267 h 582"/>
                  <a:gd name="T36" fmla="*/ 183 w 309"/>
                  <a:gd name="T37" fmla="*/ 260 h 582"/>
                  <a:gd name="T38" fmla="*/ 202 w 309"/>
                  <a:gd name="T39" fmla="*/ 229 h 582"/>
                  <a:gd name="T40" fmla="*/ 240 w 309"/>
                  <a:gd name="T41" fmla="*/ 208 h 582"/>
                  <a:gd name="T42" fmla="*/ 248 w 309"/>
                  <a:gd name="T43" fmla="*/ 181 h 582"/>
                  <a:gd name="T44" fmla="*/ 260 w 309"/>
                  <a:gd name="T45" fmla="*/ 146 h 582"/>
                  <a:gd name="T46" fmla="*/ 279 w 309"/>
                  <a:gd name="T47" fmla="*/ 131 h 582"/>
                  <a:gd name="T48" fmla="*/ 298 w 309"/>
                  <a:gd name="T49" fmla="*/ 131 h 582"/>
                  <a:gd name="T50" fmla="*/ 304 w 309"/>
                  <a:gd name="T51" fmla="*/ 110 h 582"/>
                  <a:gd name="T52" fmla="*/ 306 w 309"/>
                  <a:gd name="T53" fmla="*/ 87 h 582"/>
                  <a:gd name="T54" fmla="*/ 302 w 309"/>
                  <a:gd name="T55" fmla="*/ 65 h 582"/>
                  <a:gd name="T56" fmla="*/ 294 w 309"/>
                  <a:gd name="T57" fmla="*/ 42 h 582"/>
                  <a:gd name="T58" fmla="*/ 260 w 309"/>
                  <a:gd name="T59" fmla="*/ 21 h 582"/>
                  <a:gd name="T60" fmla="*/ 235 w 309"/>
                  <a:gd name="T61" fmla="*/ 0 h 582"/>
                  <a:gd name="T62" fmla="*/ 219 w 309"/>
                  <a:gd name="T63" fmla="*/ 35 h 582"/>
                  <a:gd name="T64" fmla="*/ 196 w 309"/>
                  <a:gd name="T65" fmla="*/ 33 h 582"/>
                  <a:gd name="T66" fmla="*/ 189 w 309"/>
                  <a:gd name="T67" fmla="*/ 54 h 582"/>
                  <a:gd name="T68" fmla="*/ 164 w 309"/>
                  <a:gd name="T69" fmla="*/ 44 h 582"/>
                  <a:gd name="T70" fmla="*/ 154 w 309"/>
                  <a:gd name="T71" fmla="*/ 73 h 582"/>
                  <a:gd name="T72" fmla="*/ 133 w 309"/>
                  <a:gd name="T73" fmla="*/ 96 h 582"/>
                  <a:gd name="T74" fmla="*/ 118 w 309"/>
                  <a:gd name="T75" fmla="*/ 110 h 582"/>
                  <a:gd name="T76" fmla="*/ 106 w 309"/>
                  <a:gd name="T77" fmla="*/ 148 h 582"/>
                  <a:gd name="T78" fmla="*/ 91 w 309"/>
                  <a:gd name="T79" fmla="*/ 167 h 582"/>
                  <a:gd name="T80" fmla="*/ 83 w 309"/>
                  <a:gd name="T81" fmla="*/ 202 h 582"/>
                  <a:gd name="T82" fmla="*/ 50 w 309"/>
                  <a:gd name="T83" fmla="*/ 200 h 582"/>
                  <a:gd name="T84" fmla="*/ 33 w 309"/>
                  <a:gd name="T85" fmla="*/ 227 h 582"/>
                  <a:gd name="T86" fmla="*/ 24 w 309"/>
                  <a:gd name="T87" fmla="*/ 258 h 582"/>
                  <a:gd name="T88" fmla="*/ 24 w 309"/>
                  <a:gd name="T89" fmla="*/ 290 h 582"/>
                  <a:gd name="T90" fmla="*/ 20 w 309"/>
                  <a:gd name="T91" fmla="*/ 317 h 582"/>
                  <a:gd name="T92" fmla="*/ 29 w 309"/>
                  <a:gd name="T93" fmla="*/ 344 h 582"/>
                  <a:gd name="T94" fmla="*/ 18 w 309"/>
                  <a:gd name="T95" fmla="*/ 367 h 582"/>
                  <a:gd name="T96" fmla="*/ 22 w 309"/>
                  <a:gd name="T97" fmla="*/ 386 h 582"/>
                  <a:gd name="T98" fmla="*/ 10 w 309"/>
                  <a:gd name="T99" fmla="*/ 406 h 582"/>
                  <a:gd name="T100" fmla="*/ 10 w 309"/>
                  <a:gd name="T101" fmla="*/ 419 h 582"/>
                  <a:gd name="T102" fmla="*/ 8 w 309"/>
                  <a:gd name="T103" fmla="*/ 442 h 58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09"/>
                  <a:gd name="T157" fmla="*/ 0 h 582"/>
                  <a:gd name="T158" fmla="*/ 309 w 309"/>
                  <a:gd name="T159" fmla="*/ 582 h 58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09" h="582">
                    <a:moveTo>
                      <a:pt x="2" y="444"/>
                    </a:moveTo>
                    <a:lnTo>
                      <a:pt x="2" y="467"/>
                    </a:lnTo>
                    <a:lnTo>
                      <a:pt x="10" y="467"/>
                    </a:lnTo>
                    <a:lnTo>
                      <a:pt x="10" y="477"/>
                    </a:lnTo>
                    <a:lnTo>
                      <a:pt x="6" y="482"/>
                    </a:lnTo>
                    <a:lnTo>
                      <a:pt x="6" y="490"/>
                    </a:lnTo>
                    <a:lnTo>
                      <a:pt x="14" y="502"/>
                    </a:lnTo>
                    <a:lnTo>
                      <a:pt x="31" y="521"/>
                    </a:lnTo>
                    <a:lnTo>
                      <a:pt x="45" y="532"/>
                    </a:lnTo>
                    <a:lnTo>
                      <a:pt x="41" y="538"/>
                    </a:lnTo>
                    <a:lnTo>
                      <a:pt x="39" y="542"/>
                    </a:lnTo>
                    <a:lnTo>
                      <a:pt x="37" y="548"/>
                    </a:lnTo>
                    <a:lnTo>
                      <a:pt x="29" y="548"/>
                    </a:lnTo>
                    <a:lnTo>
                      <a:pt x="29" y="565"/>
                    </a:lnTo>
                    <a:lnTo>
                      <a:pt x="31" y="565"/>
                    </a:lnTo>
                    <a:lnTo>
                      <a:pt x="35" y="567"/>
                    </a:lnTo>
                    <a:lnTo>
                      <a:pt x="37" y="569"/>
                    </a:lnTo>
                    <a:lnTo>
                      <a:pt x="37" y="575"/>
                    </a:lnTo>
                    <a:lnTo>
                      <a:pt x="33" y="582"/>
                    </a:lnTo>
                    <a:lnTo>
                      <a:pt x="71" y="582"/>
                    </a:lnTo>
                    <a:lnTo>
                      <a:pt x="71" y="575"/>
                    </a:lnTo>
                    <a:lnTo>
                      <a:pt x="70" y="567"/>
                    </a:lnTo>
                    <a:lnTo>
                      <a:pt x="71" y="561"/>
                    </a:lnTo>
                    <a:lnTo>
                      <a:pt x="73" y="556"/>
                    </a:lnTo>
                    <a:lnTo>
                      <a:pt x="79" y="550"/>
                    </a:lnTo>
                    <a:lnTo>
                      <a:pt x="83" y="544"/>
                    </a:lnTo>
                    <a:lnTo>
                      <a:pt x="98" y="548"/>
                    </a:lnTo>
                    <a:lnTo>
                      <a:pt x="114" y="548"/>
                    </a:lnTo>
                    <a:lnTo>
                      <a:pt x="129" y="544"/>
                    </a:lnTo>
                    <a:lnTo>
                      <a:pt x="131" y="540"/>
                    </a:lnTo>
                    <a:lnTo>
                      <a:pt x="133" y="531"/>
                    </a:lnTo>
                    <a:lnTo>
                      <a:pt x="137" y="525"/>
                    </a:lnTo>
                    <a:lnTo>
                      <a:pt x="133" y="527"/>
                    </a:lnTo>
                    <a:lnTo>
                      <a:pt x="131" y="531"/>
                    </a:lnTo>
                    <a:lnTo>
                      <a:pt x="129" y="532"/>
                    </a:lnTo>
                    <a:lnTo>
                      <a:pt x="125" y="527"/>
                    </a:lnTo>
                    <a:lnTo>
                      <a:pt x="127" y="513"/>
                    </a:lnTo>
                    <a:lnTo>
                      <a:pt x="129" y="502"/>
                    </a:lnTo>
                    <a:lnTo>
                      <a:pt x="133" y="488"/>
                    </a:lnTo>
                    <a:lnTo>
                      <a:pt x="137" y="469"/>
                    </a:lnTo>
                    <a:lnTo>
                      <a:pt x="133" y="456"/>
                    </a:lnTo>
                    <a:lnTo>
                      <a:pt x="139" y="450"/>
                    </a:lnTo>
                    <a:lnTo>
                      <a:pt x="137" y="448"/>
                    </a:lnTo>
                    <a:lnTo>
                      <a:pt x="141" y="444"/>
                    </a:lnTo>
                    <a:lnTo>
                      <a:pt x="150" y="442"/>
                    </a:lnTo>
                    <a:lnTo>
                      <a:pt x="158" y="444"/>
                    </a:lnTo>
                    <a:lnTo>
                      <a:pt x="167" y="444"/>
                    </a:lnTo>
                    <a:lnTo>
                      <a:pt x="179" y="429"/>
                    </a:lnTo>
                    <a:lnTo>
                      <a:pt x="187" y="429"/>
                    </a:lnTo>
                    <a:lnTo>
                      <a:pt x="185" y="425"/>
                    </a:lnTo>
                    <a:lnTo>
                      <a:pt x="181" y="419"/>
                    </a:lnTo>
                    <a:lnTo>
                      <a:pt x="179" y="417"/>
                    </a:lnTo>
                    <a:lnTo>
                      <a:pt x="183" y="415"/>
                    </a:lnTo>
                    <a:lnTo>
                      <a:pt x="190" y="413"/>
                    </a:lnTo>
                    <a:lnTo>
                      <a:pt x="194" y="409"/>
                    </a:lnTo>
                    <a:lnTo>
                      <a:pt x="194" y="402"/>
                    </a:lnTo>
                    <a:lnTo>
                      <a:pt x="181" y="384"/>
                    </a:lnTo>
                    <a:lnTo>
                      <a:pt x="167" y="373"/>
                    </a:lnTo>
                    <a:lnTo>
                      <a:pt x="148" y="367"/>
                    </a:lnTo>
                    <a:lnTo>
                      <a:pt x="148" y="348"/>
                    </a:lnTo>
                    <a:lnTo>
                      <a:pt x="150" y="321"/>
                    </a:lnTo>
                    <a:lnTo>
                      <a:pt x="144" y="306"/>
                    </a:lnTo>
                    <a:lnTo>
                      <a:pt x="152" y="306"/>
                    </a:lnTo>
                    <a:lnTo>
                      <a:pt x="152" y="298"/>
                    </a:lnTo>
                    <a:lnTo>
                      <a:pt x="156" y="294"/>
                    </a:lnTo>
                    <a:lnTo>
                      <a:pt x="152" y="292"/>
                    </a:lnTo>
                    <a:lnTo>
                      <a:pt x="150" y="288"/>
                    </a:lnTo>
                    <a:lnTo>
                      <a:pt x="152" y="283"/>
                    </a:lnTo>
                    <a:lnTo>
                      <a:pt x="156" y="283"/>
                    </a:lnTo>
                    <a:lnTo>
                      <a:pt x="167" y="279"/>
                    </a:lnTo>
                    <a:lnTo>
                      <a:pt x="169" y="273"/>
                    </a:lnTo>
                    <a:lnTo>
                      <a:pt x="167" y="267"/>
                    </a:lnTo>
                    <a:lnTo>
                      <a:pt x="167" y="263"/>
                    </a:lnTo>
                    <a:lnTo>
                      <a:pt x="171" y="263"/>
                    </a:lnTo>
                    <a:lnTo>
                      <a:pt x="179" y="261"/>
                    </a:lnTo>
                    <a:lnTo>
                      <a:pt x="183" y="260"/>
                    </a:lnTo>
                    <a:lnTo>
                      <a:pt x="185" y="250"/>
                    </a:lnTo>
                    <a:lnTo>
                      <a:pt x="185" y="240"/>
                    </a:lnTo>
                    <a:lnTo>
                      <a:pt x="190" y="233"/>
                    </a:lnTo>
                    <a:lnTo>
                      <a:pt x="202" y="229"/>
                    </a:lnTo>
                    <a:lnTo>
                      <a:pt x="219" y="227"/>
                    </a:lnTo>
                    <a:lnTo>
                      <a:pt x="233" y="221"/>
                    </a:lnTo>
                    <a:lnTo>
                      <a:pt x="237" y="215"/>
                    </a:lnTo>
                    <a:lnTo>
                      <a:pt x="240" y="208"/>
                    </a:lnTo>
                    <a:lnTo>
                      <a:pt x="244" y="202"/>
                    </a:lnTo>
                    <a:lnTo>
                      <a:pt x="252" y="202"/>
                    </a:lnTo>
                    <a:lnTo>
                      <a:pt x="252" y="190"/>
                    </a:lnTo>
                    <a:lnTo>
                      <a:pt x="248" y="181"/>
                    </a:lnTo>
                    <a:lnTo>
                      <a:pt x="248" y="167"/>
                    </a:lnTo>
                    <a:lnTo>
                      <a:pt x="250" y="163"/>
                    </a:lnTo>
                    <a:lnTo>
                      <a:pt x="260" y="154"/>
                    </a:lnTo>
                    <a:lnTo>
                      <a:pt x="260" y="146"/>
                    </a:lnTo>
                    <a:lnTo>
                      <a:pt x="263" y="144"/>
                    </a:lnTo>
                    <a:lnTo>
                      <a:pt x="271" y="142"/>
                    </a:lnTo>
                    <a:lnTo>
                      <a:pt x="275" y="140"/>
                    </a:lnTo>
                    <a:lnTo>
                      <a:pt x="279" y="131"/>
                    </a:lnTo>
                    <a:lnTo>
                      <a:pt x="279" y="125"/>
                    </a:lnTo>
                    <a:lnTo>
                      <a:pt x="290" y="121"/>
                    </a:lnTo>
                    <a:lnTo>
                      <a:pt x="294" y="129"/>
                    </a:lnTo>
                    <a:lnTo>
                      <a:pt x="298" y="131"/>
                    </a:lnTo>
                    <a:lnTo>
                      <a:pt x="309" y="131"/>
                    </a:lnTo>
                    <a:lnTo>
                      <a:pt x="306" y="114"/>
                    </a:lnTo>
                    <a:lnTo>
                      <a:pt x="304" y="112"/>
                    </a:lnTo>
                    <a:lnTo>
                      <a:pt x="304" y="110"/>
                    </a:lnTo>
                    <a:lnTo>
                      <a:pt x="302" y="104"/>
                    </a:lnTo>
                    <a:lnTo>
                      <a:pt x="304" y="100"/>
                    </a:lnTo>
                    <a:lnTo>
                      <a:pt x="306" y="94"/>
                    </a:lnTo>
                    <a:lnTo>
                      <a:pt x="306" y="87"/>
                    </a:lnTo>
                    <a:lnTo>
                      <a:pt x="308" y="79"/>
                    </a:lnTo>
                    <a:lnTo>
                      <a:pt x="308" y="77"/>
                    </a:lnTo>
                    <a:lnTo>
                      <a:pt x="304" y="71"/>
                    </a:lnTo>
                    <a:lnTo>
                      <a:pt x="302" y="65"/>
                    </a:lnTo>
                    <a:lnTo>
                      <a:pt x="302" y="58"/>
                    </a:lnTo>
                    <a:lnTo>
                      <a:pt x="300" y="52"/>
                    </a:lnTo>
                    <a:lnTo>
                      <a:pt x="300" y="48"/>
                    </a:lnTo>
                    <a:lnTo>
                      <a:pt x="294" y="42"/>
                    </a:lnTo>
                    <a:lnTo>
                      <a:pt x="286" y="31"/>
                    </a:lnTo>
                    <a:lnTo>
                      <a:pt x="281" y="27"/>
                    </a:lnTo>
                    <a:lnTo>
                      <a:pt x="275" y="25"/>
                    </a:lnTo>
                    <a:lnTo>
                      <a:pt x="260" y="21"/>
                    </a:lnTo>
                    <a:lnTo>
                      <a:pt x="254" y="16"/>
                    </a:lnTo>
                    <a:lnTo>
                      <a:pt x="252" y="10"/>
                    </a:lnTo>
                    <a:lnTo>
                      <a:pt x="246" y="4"/>
                    </a:lnTo>
                    <a:lnTo>
                      <a:pt x="235" y="0"/>
                    </a:lnTo>
                    <a:lnTo>
                      <a:pt x="223" y="0"/>
                    </a:lnTo>
                    <a:lnTo>
                      <a:pt x="227" y="10"/>
                    </a:lnTo>
                    <a:lnTo>
                      <a:pt x="223" y="29"/>
                    </a:lnTo>
                    <a:lnTo>
                      <a:pt x="219" y="35"/>
                    </a:lnTo>
                    <a:lnTo>
                      <a:pt x="215" y="37"/>
                    </a:lnTo>
                    <a:lnTo>
                      <a:pt x="208" y="35"/>
                    </a:lnTo>
                    <a:lnTo>
                      <a:pt x="202" y="33"/>
                    </a:lnTo>
                    <a:lnTo>
                      <a:pt x="196" y="33"/>
                    </a:lnTo>
                    <a:lnTo>
                      <a:pt x="194" y="35"/>
                    </a:lnTo>
                    <a:lnTo>
                      <a:pt x="190" y="37"/>
                    </a:lnTo>
                    <a:lnTo>
                      <a:pt x="189" y="40"/>
                    </a:lnTo>
                    <a:lnTo>
                      <a:pt x="189" y="54"/>
                    </a:lnTo>
                    <a:lnTo>
                      <a:pt x="187" y="54"/>
                    </a:lnTo>
                    <a:lnTo>
                      <a:pt x="177" y="44"/>
                    </a:lnTo>
                    <a:lnTo>
                      <a:pt x="169" y="39"/>
                    </a:lnTo>
                    <a:lnTo>
                      <a:pt x="164" y="44"/>
                    </a:lnTo>
                    <a:lnTo>
                      <a:pt x="158" y="56"/>
                    </a:lnTo>
                    <a:lnTo>
                      <a:pt x="156" y="62"/>
                    </a:lnTo>
                    <a:lnTo>
                      <a:pt x="154" y="69"/>
                    </a:lnTo>
                    <a:lnTo>
                      <a:pt x="154" y="73"/>
                    </a:lnTo>
                    <a:lnTo>
                      <a:pt x="143" y="85"/>
                    </a:lnTo>
                    <a:lnTo>
                      <a:pt x="137" y="87"/>
                    </a:lnTo>
                    <a:lnTo>
                      <a:pt x="135" y="92"/>
                    </a:lnTo>
                    <a:lnTo>
                      <a:pt x="133" y="96"/>
                    </a:lnTo>
                    <a:lnTo>
                      <a:pt x="131" y="98"/>
                    </a:lnTo>
                    <a:lnTo>
                      <a:pt x="125" y="98"/>
                    </a:lnTo>
                    <a:lnTo>
                      <a:pt x="119" y="102"/>
                    </a:lnTo>
                    <a:lnTo>
                      <a:pt x="118" y="110"/>
                    </a:lnTo>
                    <a:lnTo>
                      <a:pt x="118" y="117"/>
                    </a:lnTo>
                    <a:lnTo>
                      <a:pt x="116" y="127"/>
                    </a:lnTo>
                    <a:lnTo>
                      <a:pt x="112" y="140"/>
                    </a:lnTo>
                    <a:lnTo>
                      <a:pt x="106" y="148"/>
                    </a:lnTo>
                    <a:lnTo>
                      <a:pt x="98" y="152"/>
                    </a:lnTo>
                    <a:lnTo>
                      <a:pt x="93" y="156"/>
                    </a:lnTo>
                    <a:lnTo>
                      <a:pt x="91" y="160"/>
                    </a:lnTo>
                    <a:lnTo>
                      <a:pt x="91" y="167"/>
                    </a:lnTo>
                    <a:lnTo>
                      <a:pt x="93" y="177"/>
                    </a:lnTo>
                    <a:lnTo>
                      <a:pt x="91" y="187"/>
                    </a:lnTo>
                    <a:lnTo>
                      <a:pt x="87" y="202"/>
                    </a:lnTo>
                    <a:lnTo>
                      <a:pt x="83" y="202"/>
                    </a:lnTo>
                    <a:lnTo>
                      <a:pt x="75" y="196"/>
                    </a:lnTo>
                    <a:lnTo>
                      <a:pt x="71" y="190"/>
                    </a:lnTo>
                    <a:lnTo>
                      <a:pt x="66" y="188"/>
                    </a:lnTo>
                    <a:lnTo>
                      <a:pt x="50" y="200"/>
                    </a:lnTo>
                    <a:lnTo>
                      <a:pt x="47" y="206"/>
                    </a:lnTo>
                    <a:lnTo>
                      <a:pt x="43" y="213"/>
                    </a:lnTo>
                    <a:lnTo>
                      <a:pt x="37" y="221"/>
                    </a:lnTo>
                    <a:lnTo>
                      <a:pt x="33" y="227"/>
                    </a:lnTo>
                    <a:lnTo>
                      <a:pt x="29" y="235"/>
                    </a:lnTo>
                    <a:lnTo>
                      <a:pt x="22" y="240"/>
                    </a:lnTo>
                    <a:lnTo>
                      <a:pt x="20" y="246"/>
                    </a:lnTo>
                    <a:lnTo>
                      <a:pt x="24" y="258"/>
                    </a:lnTo>
                    <a:lnTo>
                      <a:pt x="24" y="263"/>
                    </a:lnTo>
                    <a:lnTo>
                      <a:pt x="22" y="269"/>
                    </a:lnTo>
                    <a:lnTo>
                      <a:pt x="22" y="283"/>
                    </a:lnTo>
                    <a:lnTo>
                      <a:pt x="24" y="290"/>
                    </a:lnTo>
                    <a:lnTo>
                      <a:pt x="24" y="298"/>
                    </a:lnTo>
                    <a:lnTo>
                      <a:pt x="22" y="306"/>
                    </a:lnTo>
                    <a:lnTo>
                      <a:pt x="20" y="311"/>
                    </a:lnTo>
                    <a:lnTo>
                      <a:pt x="20" y="317"/>
                    </a:lnTo>
                    <a:lnTo>
                      <a:pt x="22" y="319"/>
                    </a:lnTo>
                    <a:lnTo>
                      <a:pt x="25" y="321"/>
                    </a:lnTo>
                    <a:lnTo>
                      <a:pt x="29" y="325"/>
                    </a:lnTo>
                    <a:lnTo>
                      <a:pt x="29" y="344"/>
                    </a:lnTo>
                    <a:lnTo>
                      <a:pt x="22" y="352"/>
                    </a:lnTo>
                    <a:lnTo>
                      <a:pt x="20" y="352"/>
                    </a:lnTo>
                    <a:lnTo>
                      <a:pt x="18" y="350"/>
                    </a:lnTo>
                    <a:lnTo>
                      <a:pt x="18" y="367"/>
                    </a:lnTo>
                    <a:lnTo>
                      <a:pt x="16" y="371"/>
                    </a:lnTo>
                    <a:lnTo>
                      <a:pt x="14" y="377"/>
                    </a:lnTo>
                    <a:lnTo>
                      <a:pt x="18" y="381"/>
                    </a:lnTo>
                    <a:lnTo>
                      <a:pt x="22" y="386"/>
                    </a:lnTo>
                    <a:lnTo>
                      <a:pt x="22" y="390"/>
                    </a:lnTo>
                    <a:lnTo>
                      <a:pt x="14" y="398"/>
                    </a:lnTo>
                    <a:lnTo>
                      <a:pt x="14" y="402"/>
                    </a:lnTo>
                    <a:lnTo>
                      <a:pt x="10" y="406"/>
                    </a:lnTo>
                    <a:lnTo>
                      <a:pt x="6" y="406"/>
                    </a:lnTo>
                    <a:lnTo>
                      <a:pt x="8" y="408"/>
                    </a:lnTo>
                    <a:lnTo>
                      <a:pt x="8" y="413"/>
                    </a:lnTo>
                    <a:lnTo>
                      <a:pt x="10" y="419"/>
                    </a:lnTo>
                    <a:lnTo>
                      <a:pt x="14" y="427"/>
                    </a:lnTo>
                    <a:lnTo>
                      <a:pt x="14" y="434"/>
                    </a:lnTo>
                    <a:lnTo>
                      <a:pt x="12" y="440"/>
                    </a:lnTo>
                    <a:lnTo>
                      <a:pt x="8" y="442"/>
                    </a:lnTo>
                    <a:lnTo>
                      <a:pt x="4" y="440"/>
                    </a:lnTo>
                    <a:lnTo>
                      <a:pt x="0" y="440"/>
                    </a:lnTo>
                    <a:lnTo>
                      <a:pt x="2" y="44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4" name="Freeform 42"/>
              <p:cNvSpPr>
                <a:spLocks/>
              </p:cNvSpPr>
              <p:nvPr/>
            </p:nvSpPr>
            <p:spPr bwMode="gray">
              <a:xfrm>
                <a:off x="3414" y="3184"/>
                <a:ext cx="15" cy="23"/>
              </a:xfrm>
              <a:custGeom>
                <a:avLst/>
                <a:gdLst>
                  <a:gd name="T0" fmla="*/ 29 w 31"/>
                  <a:gd name="T1" fmla="*/ 31 h 46"/>
                  <a:gd name="T2" fmla="*/ 29 w 31"/>
                  <a:gd name="T3" fmla="*/ 27 h 46"/>
                  <a:gd name="T4" fmla="*/ 31 w 31"/>
                  <a:gd name="T5" fmla="*/ 19 h 46"/>
                  <a:gd name="T6" fmla="*/ 31 w 31"/>
                  <a:gd name="T7" fmla="*/ 13 h 46"/>
                  <a:gd name="T8" fmla="*/ 23 w 31"/>
                  <a:gd name="T9" fmla="*/ 2 h 46"/>
                  <a:gd name="T10" fmla="*/ 20 w 31"/>
                  <a:gd name="T11" fmla="*/ 0 h 46"/>
                  <a:gd name="T12" fmla="*/ 18 w 31"/>
                  <a:gd name="T13" fmla="*/ 2 h 46"/>
                  <a:gd name="T14" fmla="*/ 12 w 31"/>
                  <a:gd name="T15" fmla="*/ 4 h 46"/>
                  <a:gd name="T16" fmla="*/ 4 w 31"/>
                  <a:gd name="T17" fmla="*/ 4 h 46"/>
                  <a:gd name="T18" fmla="*/ 0 w 31"/>
                  <a:gd name="T19" fmla="*/ 8 h 46"/>
                  <a:gd name="T20" fmla="*/ 0 w 31"/>
                  <a:gd name="T21" fmla="*/ 27 h 46"/>
                  <a:gd name="T22" fmla="*/ 2 w 31"/>
                  <a:gd name="T23" fmla="*/ 33 h 46"/>
                  <a:gd name="T24" fmla="*/ 4 w 31"/>
                  <a:gd name="T25" fmla="*/ 37 h 46"/>
                  <a:gd name="T26" fmla="*/ 6 w 31"/>
                  <a:gd name="T27" fmla="*/ 38 h 46"/>
                  <a:gd name="T28" fmla="*/ 12 w 31"/>
                  <a:gd name="T29" fmla="*/ 40 h 46"/>
                  <a:gd name="T30" fmla="*/ 20 w 31"/>
                  <a:gd name="T31" fmla="*/ 44 h 46"/>
                  <a:gd name="T32" fmla="*/ 25 w 31"/>
                  <a:gd name="T33" fmla="*/ 44 h 46"/>
                  <a:gd name="T34" fmla="*/ 29 w 31"/>
                  <a:gd name="T35" fmla="*/ 46 h 46"/>
                  <a:gd name="T36" fmla="*/ 29 w 31"/>
                  <a:gd name="T37" fmla="*/ 31 h 4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1"/>
                  <a:gd name="T58" fmla="*/ 0 h 46"/>
                  <a:gd name="T59" fmla="*/ 31 w 31"/>
                  <a:gd name="T60" fmla="*/ 46 h 4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1" h="46">
                    <a:moveTo>
                      <a:pt x="29" y="31"/>
                    </a:moveTo>
                    <a:lnTo>
                      <a:pt x="29" y="27"/>
                    </a:lnTo>
                    <a:lnTo>
                      <a:pt x="31" y="19"/>
                    </a:lnTo>
                    <a:lnTo>
                      <a:pt x="31" y="13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2" y="4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27"/>
                    </a:lnTo>
                    <a:lnTo>
                      <a:pt x="2" y="33"/>
                    </a:lnTo>
                    <a:lnTo>
                      <a:pt x="4" y="37"/>
                    </a:lnTo>
                    <a:lnTo>
                      <a:pt x="6" y="38"/>
                    </a:lnTo>
                    <a:lnTo>
                      <a:pt x="12" y="40"/>
                    </a:lnTo>
                    <a:lnTo>
                      <a:pt x="20" y="44"/>
                    </a:lnTo>
                    <a:lnTo>
                      <a:pt x="25" y="44"/>
                    </a:lnTo>
                    <a:lnTo>
                      <a:pt x="29" y="46"/>
                    </a:lnTo>
                    <a:lnTo>
                      <a:pt x="29" y="3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5" name="Freeform 43"/>
              <p:cNvSpPr>
                <a:spLocks/>
              </p:cNvSpPr>
              <p:nvPr/>
            </p:nvSpPr>
            <p:spPr bwMode="gray">
              <a:xfrm>
                <a:off x="2305" y="2684"/>
                <a:ext cx="50" cy="75"/>
              </a:xfrm>
              <a:custGeom>
                <a:avLst/>
                <a:gdLst>
                  <a:gd name="T0" fmla="*/ 27 w 100"/>
                  <a:gd name="T1" fmla="*/ 7 h 150"/>
                  <a:gd name="T2" fmla="*/ 22 w 100"/>
                  <a:gd name="T3" fmla="*/ 15 h 150"/>
                  <a:gd name="T4" fmla="*/ 18 w 100"/>
                  <a:gd name="T5" fmla="*/ 21 h 150"/>
                  <a:gd name="T6" fmla="*/ 16 w 100"/>
                  <a:gd name="T7" fmla="*/ 25 h 150"/>
                  <a:gd name="T8" fmla="*/ 16 w 100"/>
                  <a:gd name="T9" fmla="*/ 34 h 150"/>
                  <a:gd name="T10" fmla="*/ 14 w 100"/>
                  <a:gd name="T11" fmla="*/ 40 h 150"/>
                  <a:gd name="T12" fmla="*/ 12 w 100"/>
                  <a:gd name="T13" fmla="*/ 44 h 150"/>
                  <a:gd name="T14" fmla="*/ 6 w 100"/>
                  <a:gd name="T15" fmla="*/ 48 h 150"/>
                  <a:gd name="T16" fmla="*/ 2 w 100"/>
                  <a:gd name="T17" fmla="*/ 52 h 150"/>
                  <a:gd name="T18" fmla="*/ 0 w 100"/>
                  <a:gd name="T19" fmla="*/ 57 h 150"/>
                  <a:gd name="T20" fmla="*/ 4 w 100"/>
                  <a:gd name="T21" fmla="*/ 69 h 150"/>
                  <a:gd name="T22" fmla="*/ 4 w 100"/>
                  <a:gd name="T23" fmla="*/ 77 h 150"/>
                  <a:gd name="T24" fmla="*/ 2 w 100"/>
                  <a:gd name="T25" fmla="*/ 84 h 150"/>
                  <a:gd name="T26" fmla="*/ 2 w 100"/>
                  <a:gd name="T27" fmla="*/ 88 h 150"/>
                  <a:gd name="T28" fmla="*/ 6 w 100"/>
                  <a:gd name="T29" fmla="*/ 92 h 150"/>
                  <a:gd name="T30" fmla="*/ 10 w 100"/>
                  <a:gd name="T31" fmla="*/ 94 h 150"/>
                  <a:gd name="T32" fmla="*/ 12 w 100"/>
                  <a:gd name="T33" fmla="*/ 100 h 150"/>
                  <a:gd name="T34" fmla="*/ 10 w 100"/>
                  <a:gd name="T35" fmla="*/ 107 h 150"/>
                  <a:gd name="T36" fmla="*/ 10 w 100"/>
                  <a:gd name="T37" fmla="*/ 111 h 150"/>
                  <a:gd name="T38" fmla="*/ 12 w 100"/>
                  <a:gd name="T39" fmla="*/ 132 h 150"/>
                  <a:gd name="T40" fmla="*/ 16 w 100"/>
                  <a:gd name="T41" fmla="*/ 146 h 150"/>
                  <a:gd name="T42" fmla="*/ 27 w 100"/>
                  <a:gd name="T43" fmla="*/ 144 h 150"/>
                  <a:gd name="T44" fmla="*/ 45 w 100"/>
                  <a:gd name="T45" fmla="*/ 150 h 150"/>
                  <a:gd name="T46" fmla="*/ 50 w 100"/>
                  <a:gd name="T47" fmla="*/ 140 h 150"/>
                  <a:gd name="T48" fmla="*/ 41 w 100"/>
                  <a:gd name="T49" fmla="*/ 134 h 150"/>
                  <a:gd name="T50" fmla="*/ 45 w 100"/>
                  <a:gd name="T51" fmla="*/ 119 h 150"/>
                  <a:gd name="T52" fmla="*/ 62 w 100"/>
                  <a:gd name="T53" fmla="*/ 125 h 150"/>
                  <a:gd name="T54" fmla="*/ 70 w 100"/>
                  <a:gd name="T55" fmla="*/ 121 h 150"/>
                  <a:gd name="T56" fmla="*/ 73 w 100"/>
                  <a:gd name="T57" fmla="*/ 127 h 150"/>
                  <a:gd name="T58" fmla="*/ 85 w 100"/>
                  <a:gd name="T59" fmla="*/ 127 h 150"/>
                  <a:gd name="T60" fmla="*/ 87 w 100"/>
                  <a:gd name="T61" fmla="*/ 125 h 150"/>
                  <a:gd name="T62" fmla="*/ 95 w 100"/>
                  <a:gd name="T63" fmla="*/ 109 h 150"/>
                  <a:gd name="T64" fmla="*/ 98 w 100"/>
                  <a:gd name="T65" fmla="*/ 100 h 150"/>
                  <a:gd name="T66" fmla="*/ 100 w 100"/>
                  <a:gd name="T67" fmla="*/ 90 h 150"/>
                  <a:gd name="T68" fmla="*/ 100 w 100"/>
                  <a:gd name="T69" fmla="*/ 88 h 150"/>
                  <a:gd name="T70" fmla="*/ 96 w 100"/>
                  <a:gd name="T71" fmla="*/ 84 h 150"/>
                  <a:gd name="T72" fmla="*/ 91 w 100"/>
                  <a:gd name="T73" fmla="*/ 77 h 150"/>
                  <a:gd name="T74" fmla="*/ 87 w 100"/>
                  <a:gd name="T75" fmla="*/ 67 h 150"/>
                  <a:gd name="T76" fmla="*/ 85 w 100"/>
                  <a:gd name="T77" fmla="*/ 54 h 150"/>
                  <a:gd name="T78" fmla="*/ 85 w 100"/>
                  <a:gd name="T79" fmla="*/ 34 h 150"/>
                  <a:gd name="T80" fmla="*/ 96 w 100"/>
                  <a:gd name="T81" fmla="*/ 15 h 150"/>
                  <a:gd name="T82" fmla="*/ 96 w 100"/>
                  <a:gd name="T83" fmla="*/ 4 h 150"/>
                  <a:gd name="T84" fmla="*/ 73 w 100"/>
                  <a:gd name="T85" fmla="*/ 2 h 150"/>
                  <a:gd name="T86" fmla="*/ 56 w 100"/>
                  <a:gd name="T87" fmla="*/ 2 h 150"/>
                  <a:gd name="T88" fmla="*/ 31 w 100"/>
                  <a:gd name="T89" fmla="*/ 0 h 150"/>
                  <a:gd name="T90" fmla="*/ 31 w 100"/>
                  <a:gd name="T91" fmla="*/ 7 h 150"/>
                  <a:gd name="T92" fmla="*/ 27 w 100"/>
                  <a:gd name="T93" fmla="*/ 11 h 150"/>
                  <a:gd name="T94" fmla="*/ 27 w 100"/>
                  <a:gd name="T95" fmla="*/ 7 h 15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00"/>
                  <a:gd name="T145" fmla="*/ 0 h 150"/>
                  <a:gd name="T146" fmla="*/ 100 w 100"/>
                  <a:gd name="T147" fmla="*/ 150 h 15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00" h="150">
                    <a:moveTo>
                      <a:pt x="27" y="7"/>
                    </a:moveTo>
                    <a:lnTo>
                      <a:pt x="22" y="15"/>
                    </a:lnTo>
                    <a:lnTo>
                      <a:pt x="18" y="21"/>
                    </a:lnTo>
                    <a:lnTo>
                      <a:pt x="16" y="25"/>
                    </a:lnTo>
                    <a:lnTo>
                      <a:pt x="16" y="34"/>
                    </a:lnTo>
                    <a:lnTo>
                      <a:pt x="14" y="40"/>
                    </a:lnTo>
                    <a:lnTo>
                      <a:pt x="12" y="44"/>
                    </a:lnTo>
                    <a:lnTo>
                      <a:pt x="6" y="48"/>
                    </a:lnTo>
                    <a:lnTo>
                      <a:pt x="2" y="52"/>
                    </a:lnTo>
                    <a:lnTo>
                      <a:pt x="0" y="57"/>
                    </a:lnTo>
                    <a:lnTo>
                      <a:pt x="4" y="69"/>
                    </a:lnTo>
                    <a:lnTo>
                      <a:pt x="4" y="77"/>
                    </a:lnTo>
                    <a:lnTo>
                      <a:pt x="2" y="84"/>
                    </a:lnTo>
                    <a:lnTo>
                      <a:pt x="2" y="88"/>
                    </a:lnTo>
                    <a:lnTo>
                      <a:pt x="6" y="92"/>
                    </a:lnTo>
                    <a:lnTo>
                      <a:pt x="10" y="94"/>
                    </a:lnTo>
                    <a:lnTo>
                      <a:pt x="12" y="100"/>
                    </a:lnTo>
                    <a:lnTo>
                      <a:pt x="10" y="107"/>
                    </a:lnTo>
                    <a:lnTo>
                      <a:pt x="10" y="111"/>
                    </a:lnTo>
                    <a:lnTo>
                      <a:pt x="12" y="132"/>
                    </a:lnTo>
                    <a:lnTo>
                      <a:pt x="16" y="146"/>
                    </a:lnTo>
                    <a:lnTo>
                      <a:pt x="27" y="144"/>
                    </a:lnTo>
                    <a:lnTo>
                      <a:pt x="45" y="150"/>
                    </a:lnTo>
                    <a:lnTo>
                      <a:pt x="50" y="140"/>
                    </a:lnTo>
                    <a:lnTo>
                      <a:pt x="41" y="134"/>
                    </a:lnTo>
                    <a:lnTo>
                      <a:pt x="45" y="119"/>
                    </a:lnTo>
                    <a:lnTo>
                      <a:pt x="62" y="125"/>
                    </a:lnTo>
                    <a:lnTo>
                      <a:pt x="70" y="121"/>
                    </a:lnTo>
                    <a:lnTo>
                      <a:pt x="73" y="127"/>
                    </a:lnTo>
                    <a:lnTo>
                      <a:pt x="85" y="127"/>
                    </a:lnTo>
                    <a:lnTo>
                      <a:pt x="87" y="125"/>
                    </a:lnTo>
                    <a:lnTo>
                      <a:pt x="95" y="109"/>
                    </a:lnTo>
                    <a:lnTo>
                      <a:pt x="98" y="100"/>
                    </a:lnTo>
                    <a:lnTo>
                      <a:pt x="100" y="90"/>
                    </a:lnTo>
                    <a:lnTo>
                      <a:pt x="100" y="88"/>
                    </a:lnTo>
                    <a:lnTo>
                      <a:pt x="96" y="84"/>
                    </a:lnTo>
                    <a:lnTo>
                      <a:pt x="91" y="77"/>
                    </a:lnTo>
                    <a:lnTo>
                      <a:pt x="87" y="67"/>
                    </a:lnTo>
                    <a:lnTo>
                      <a:pt x="85" y="54"/>
                    </a:lnTo>
                    <a:lnTo>
                      <a:pt x="85" y="34"/>
                    </a:lnTo>
                    <a:lnTo>
                      <a:pt x="96" y="15"/>
                    </a:lnTo>
                    <a:lnTo>
                      <a:pt x="96" y="4"/>
                    </a:lnTo>
                    <a:lnTo>
                      <a:pt x="73" y="2"/>
                    </a:lnTo>
                    <a:lnTo>
                      <a:pt x="56" y="2"/>
                    </a:lnTo>
                    <a:lnTo>
                      <a:pt x="31" y="0"/>
                    </a:lnTo>
                    <a:lnTo>
                      <a:pt x="31" y="7"/>
                    </a:lnTo>
                    <a:lnTo>
                      <a:pt x="27" y="11"/>
                    </a:lnTo>
                    <a:lnTo>
                      <a:pt x="27" y="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6" name="Freeform 44"/>
              <p:cNvSpPr>
                <a:spLocks/>
              </p:cNvSpPr>
              <p:nvPr/>
            </p:nvSpPr>
            <p:spPr bwMode="gray">
              <a:xfrm>
                <a:off x="3299" y="2414"/>
                <a:ext cx="218" cy="308"/>
              </a:xfrm>
              <a:custGeom>
                <a:avLst/>
                <a:gdLst>
                  <a:gd name="T0" fmla="*/ 391 w 436"/>
                  <a:gd name="T1" fmla="*/ 113 h 615"/>
                  <a:gd name="T2" fmla="*/ 384 w 436"/>
                  <a:gd name="T3" fmla="*/ 40 h 615"/>
                  <a:gd name="T4" fmla="*/ 376 w 436"/>
                  <a:gd name="T5" fmla="*/ 15 h 615"/>
                  <a:gd name="T6" fmla="*/ 330 w 436"/>
                  <a:gd name="T7" fmla="*/ 5 h 615"/>
                  <a:gd name="T8" fmla="*/ 303 w 436"/>
                  <a:gd name="T9" fmla="*/ 44 h 615"/>
                  <a:gd name="T10" fmla="*/ 269 w 436"/>
                  <a:gd name="T11" fmla="*/ 36 h 615"/>
                  <a:gd name="T12" fmla="*/ 67 w 436"/>
                  <a:gd name="T13" fmla="*/ 234 h 615"/>
                  <a:gd name="T14" fmla="*/ 40 w 436"/>
                  <a:gd name="T15" fmla="*/ 232 h 615"/>
                  <a:gd name="T16" fmla="*/ 33 w 436"/>
                  <a:gd name="T17" fmla="*/ 253 h 615"/>
                  <a:gd name="T18" fmla="*/ 23 w 436"/>
                  <a:gd name="T19" fmla="*/ 282 h 615"/>
                  <a:gd name="T20" fmla="*/ 10 w 436"/>
                  <a:gd name="T21" fmla="*/ 311 h 615"/>
                  <a:gd name="T22" fmla="*/ 2 w 436"/>
                  <a:gd name="T23" fmla="*/ 328 h 615"/>
                  <a:gd name="T24" fmla="*/ 23 w 436"/>
                  <a:gd name="T25" fmla="*/ 340 h 615"/>
                  <a:gd name="T26" fmla="*/ 19 w 436"/>
                  <a:gd name="T27" fmla="*/ 357 h 615"/>
                  <a:gd name="T28" fmla="*/ 23 w 436"/>
                  <a:gd name="T29" fmla="*/ 378 h 615"/>
                  <a:gd name="T30" fmla="*/ 40 w 436"/>
                  <a:gd name="T31" fmla="*/ 413 h 615"/>
                  <a:gd name="T32" fmla="*/ 42 w 436"/>
                  <a:gd name="T33" fmla="*/ 432 h 615"/>
                  <a:gd name="T34" fmla="*/ 50 w 436"/>
                  <a:gd name="T35" fmla="*/ 459 h 615"/>
                  <a:gd name="T36" fmla="*/ 65 w 436"/>
                  <a:gd name="T37" fmla="*/ 480 h 615"/>
                  <a:gd name="T38" fmla="*/ 84 w 436"/>
                  <a:gd name="T39" fmla="*/ 492 h 615"/>
                  <a:gd name="T40" fmla="*/ 104 w 436"/>
                  <a:gd name="T41" fmla="*/ 499 h 615"/>
                  <a:gd name="T42" fmla="*/ 123 w 436"/>
                  <a:gd name="T43" fmla="*/ 520 h 615"/>
                  <a:gd name="T44" fmla="*/ 132 w 436"/>
                  <a:gd name="T45" fmla="*/ 545 h 615"/>
                  <a:gd name="T46" fmla="*/ 148 w 436"/>
                  <a:gd name="T47" fmla="*/ 570 h 615"/>
                  <a:gd name="T48" fmla="*/ 159 w 436"/>
                  <a:gd name="T49" fmla="*/ 584 h 615"/>
                  <a:gd name="T50" fmla="*/ 178 w 436"/>
                  <a:gd name="T51" fmla="*/ 582 h 615"/>
                  <a:gd name="T52" fmla="*/ 194 w 436"/>
                  <a:gd name="T53" fmla="*/ 576 h 615"/>
                  <a:gd name="T54" fmla="*/ 217 w 436"/>
                  <a:gd name="T55" fmla="*/ 601 h 615"/>
                  <a:gd name="T56" fmla="*/ 236 w 436"/>
                  <a:gd name="T57" fmla="*/ 609 h 615"/>
                  <a:gd name="T58" fmla="*/ 269 w 436"/>
                  <a:gd name="T59" fmla="*/ 603 h 615"/>
                  <a:gd name="T60" fmla="*/ 286 w 436"/>
                  <a:gd name="T61" fmla="*/ 601 h 615"/>
                  <a:gd name="T62" fmla="*/ 319 w 436"/>
                  <a:gd name="T63" fmla="*/ 595 h 615"/>
                  <a:gd name="T64" fmla="*/ 361 w 436"/>
                  <a:gd name="T65" fmla="*/ 599 h 615"/>
                  <a:gd name="T66" fmla="*/ 353 w 436"/>
                  <a:gd name="T67" fmla="*/ 576 h 615"/>
                  <a:gd name="T68" fmla="*/ 328 w 436"/>
                  <a:gd name="T69" fmla="*/ 557 h 615"/>
                  <a:gd name="T70" fmla="*/ 299 w 436"/>
                  <a:gd name="T71" fmla="*/ 507 h 615"/>
                  <a:gd name="T72" fmla="*/ 278 w 436"/>
                  <a:gd name="T73" fmla="*/ 488 h 615"/>
                  <a:gd name="T74" fmla="*/ 294 w 436"/>
                  <a:gd name="T75" fmla="*/ 482 h 615"/>
                  <a:gd name="T76" fmla="*/ 301 w 436"/>
                  <a:gd name="T77" fmla="*/ 469 h 615"/>
                  <a:gd name="T78" fmla="*/ 315 w 436"/>
                  <a:gd name="T79" fmla="*/ 405 h 615"/>
                  <a:gd name="T80" fmla="*/ 322 w 436"/>
                  <a:gd name="T81" fmla="*/ 384 h 615"/>
                  <a:gd name="T82" fmla="*/ 342 w 436"/>
                  <a:gd name="T83" fmla="*/ 363 h 615"/>
                  <a:gd name="T84" fmla="*/ 351 w 436"/>
                  <a:gd name="T85" fmla="*/ 334 h 615"/>
                  <a:gd name="T86" fmla="*/ 370 w 436"/>
                  <a:gd name="T87" fmla="*/ 303 h 615"/>
                  <a:gd name="T88" fmla="*/ 376 w 436"/>
                  <a:gd name="T89" fmla="*/ 257 h 615"/>
                  <a:gd name="T90" fmla="*/ 386 w 436"/>
                  <a:gd name="T91" fmla="*/ 219 h 615"/>
                  <a:gd name="T92" fmla="*/ 390 w 436"/>
                  <a:gd name="T93" fmla="*/ 186 h 615"/>
                  <a:gd name="T94" fmla="*/ 401 w 436"/>
                  <a:gd name="T95" fmla="*/ 171 h 615"/>
                  <a:gd name="T96" fmla="*/ 436 w 436"/>
                  <a:gd name="T97" fmla="*/ 155 h 61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36"/>
                  <a:gd name="T148" fmla="*/ 0 h 615"/>
                  <a:gd name="T149" fmla="*/ 436 w 436"/>
                  <a:gd name="T150" fmla="*/ 615 h 61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36" h="615">
                    <a:moveTo>
                      <a:pt x="434" y="152"/>
                    </a:moveTo>
                    <a:lnTo>
                      <a:pt x="426" y="152"/>
                    </a:lnTo>
                    <a:lnTo>
                      <a:pt x="399" y="125"/>
                    </a:lnTo>
                    <a:lnTo>
                      <a:pt x="391" y="113"/>
                    </a:lnTo>
                    <a:lnTo>
                      <a:pt x="390" y="88"/>
                    </a:lnTo>
                    <a:lnTo>
                      <a:pt x="391" y="67"/>
                    </a:lnTo>
                    <a:lnTo>
                      <a:pt x="391" y="44"/>
                    </a:lnTo>
                    <a:lnTo>
                      <a:pt x="384" y="40"/>
                    </a:lnTo>
                    <a:lnTo>
                      <a:pt x="382" y="34"/>
                    </a:lnTo>
                    <a:lnTo>
                      <a:pt x="384" y="27"/>
                    </a:lnTo>
                    <a:lnTo>
                      <a:pt x="384" y="21"/>
                    </a:lnTo>
                    <a:lnTo>
                      <a:pt x="376" y="15"/>
                    </a:lnTo>
                    <a:lnTo>
                      <a:pt x="365" y="9"/>
                    </a:lnTo>
                    <a:lnTo>
                      <a:pt x="355" y="0"/>
                    </a:lnTo>
                    <a:lnTo>
                      <a:pt x="340" y="5"/>
                    </a:lnTo>
                    <a:lnTo>
                      <a:pt x="330" y="5"/>
                    </a:lnTo>
                    <a:lnTo>
                      <a:pt x="324" y="23"/>
                    </a:lnTo>
                    <a:lnTo>
                      <a:pt x="317" y="25"/>
                    </a:lnTo>
                    <a:lnTo>
                      <a:pt x="313" y="40"/>
                    </a:lnTo>
                    <a:lnTo>
                      <a:pt x="303" y="44"/>
                    </a:lnTo>
                    <a:lnTo>
                      <a:pt x="301" y="38"/>
                    </a:lnTo>
                    <a:lnTo>
                      <a:pt x="278" y="38"/>
                    </a:lnTo>
                    <a:lnTo>
                      <a:pt x="276" y="32"/>
                    </a:lnTo>
                    <a:lnTo>
                      <a:pt x="269" y="36"/>
                    </a:lnTo>
                    <a:lnTo>
                      <a:pt x="90" y="36"/>
                    </a:lnTo>
                    <a:lnTo>
                      <a:pt x="90" y="94"/>
                    </a:lnTo>
                    <a:lnTo>
                      <a:pt x="67" y="94"/>
                    </a:lnTo>
                    <a:lnTo>
                      <a:pt x="67" y="234"/>
                    </a:lnTo>
                    <a:lnTo>
                      <a:pt x="63" y="236"/>
                    </a:lnTo>
                    <a:lnTo>
                      <a:pt x="56" y="236"/>
                    </a:lnTo>
                    <a:lnTo>
                      <a:pt x="44" y="232"/>
                    </a:lnTo>
                    <a:lnTo>
                      <a:pt x="40" y="232"/>
                    </a:lnTo>
                    <a:lnTo>
                      <a:pt x="36" y="236"/>
                    </a:lnTo>
                    <a:lnTo>
                      <a:pt x="34" y="242"/>
                    </a:lnTo>
                    <a:lnTo>
                      <a:pt x="31" y="248"/>
                    </a:lnTo>
                    <a:lnTo>
                      <a:pt x="33" y="253"/>
                    </a:lnTo>
                    <a:lnTo>
                      <a:pt x="33" y="257"/>
                    </a:lnTo>
                    <a:lnTo>
                      <a:pt x="31" y="261"/>
                    </a:lnTo>
                    <a:lnTo>
                      <a:pt x="23" y="269"/>
                    </a:lnTo>
                    <a:lnTo>
                      <a:pt x="23" y="282"/>
                    </a:lnTo>
                    <a:lnTo>
                      <a:pt x="21" y="290"/>
                    </a:lnTo>
                    <a:lnTo>
                      <a:pt x="11" y="299"/>
                    </a:lnTo>
                    <a:lnTo>
                      <a:pt x="10" y="299"/>
                    </a:lnTo>
                    <a:lnTo>
                      <a:pt x="10" y="311"/>
                    </a:lnTo>
                    <a:lnTo>
                      <a:pt x="4" y="317"/>
                    </a:lnTo>
                    <a:lnTo>
                      <a:pt x="0" y="319"/>
                    </a:lnTo>
                    <a:lnTo>
                      <a:pt x="0" y="326"/>
                    </a:lnTo>
                    <a:lnTo>
                      <a:pt x="2" y="328"/>
                    </a:lnTo>
                    <a:lnTo>
                      <a:pt x="15" y="328"/>
                    </a:lnTo>
                    <a:lnTo>
                      <a:pt x="19" y="330"/>
                    </a:lnTo>
                    <a:lnTo>
                      <a:pt x="23" y="334"/>
                    </a:lnTo>
                    <a:lnTo>
                      <a:pt x="23" y="340"/>
                    </a:lnTo>
                    <a:lnTo>
                      <a:pt x="19" y="344"/>
                    </a:lnTo>
                    <a:lnTo>
                      <a:pt x="17" y="349"/>
                    </a:lnTo>
                    <a:lnTo>
                      <a:pt x="17" y="355"/>
                    </a:lnTo>
                    <a:lnTo>
                      <a:pt x="19" y="357"/>
                    </a:lnTo>
                    <a:lnTo>
                      <a:pt x="19" y="361"/>
                    </a:lnTo>
                    <a:lnTo>
                      <a:pt x="17" y="367"/>
                    </a:lnTo>
                    <a:lnTo>
                      <a:pt x="17" y="373"/>
                    </a:lnTo>
                    <a:lnTo>
                      <a:pt x="23" y="378"/>
                    </a:lnTo>
                    <a:lnTo>
                      <a:pt x="25" y="384"/>
                    </a:lnTo>
                    <a:lnTo>
                      <a:pt x="25" y="388"/>
                    </a:lnTo>
                    <a:lnTo>
                      <a:pt x="40" y="403"/>
                    </a:lnTo>
                    <a:lnTo>
                      <a:pt x="40" y="413"/>
                    </a:lnTo>
                    <a:lnTo>
                      <a:pt x="38" y="421"/>
                    </a:lnTo>
                    <a:lnTo>
                      <a:pt x="36" y="426"/>
                    </a:lnTo>
                    <a:lnTo>
                      <a:pt x="36" y="428"/>
                    </a:lnTo>
                    <a:lnTo>
                      <a:pt x="42" y="432"/>
                    </a:lnTo>
                    <a:lnTo>
                      <a:pt x="48" y="438"/>
                    </a:lnTo>
                    <a:lnTo>
                      <a:pt x="50" y="442"/>
                    </a:lnTo>
                    <a:lnTo>
                      <a:pt x="48" y="447"/>
                    </a:lnTo>
                    <a:lnTo>
                      <a:pt x="50" y="459"/>
                    </a:lnTo>
                    <a:lnTo>
                      <a:pt x="56" y="467"/>
                    </a:lnTo>
                    <a:lnTo>
                      <a:pt x="59" y="472"/>
                    </a:lnTo>
                    <a:lnTo>
                      <a:pt x="63" y="474"/>
                    </a:lnTo>
                    <a:lnTo>
                      <a:pt x="65" y="480"/>
                    </a:lnTo>
                    <a:lnTo>
                      <a:pt x="71" y="482"/>
                    </a:lnTo>
                    <a:lnTo>
                      <a:pt x="75" y="482"/>
                    </a:lnTo>
                    <a:lnTo>
                      <a:pt x="82" y="486"/>
                    </a:lnTo>
                    <a:lnTo>
                      <a:pt x="84" y="492"/>
                    </a:lnTo>
                    <a:lnTo>
                      <a:pt x="90" y="494"/>
                    </a:lnTo>
                    <a:lnTo>
                      <a:pt x="94" y="496"/>
                    </a:lnTo>
                    <a:lnTo>
                      <a:pt x="102" y="496"/>
                    </a:lnTo>
                    <a:lnTo>
                      <a:pt x="104" y="499"/>
                    </a:lnTo>
                    <a:lnTo>
                      <a:pt x="105" y="505"/>
                    </a:lnTo>
                    <a:lnTo>
                      <a:pt x="109" y="513"/>
                    </a:lnTo>
                    <a:lnTo>
                      <a:pt x="115" y="517"/>
                    </a:lnTo>
                    <a:lnTo>
                      <a:pt x="123" y="520"/>
                    </a:lnTo>
                    <a:lnTo>
                      <a:pt x="127" y="524"/>
                    </a:lnTo>
                    <a:lnTo>
                      <a:pt x="130" y="530"/>
                    </a:lnTo>
                    <a:lnTo>
                      <a:pt x="132" y="538"/>
                    </a:lnTo>
                    <a:lnTo>
                      <a:pt x="132" y="545"/>
                    </a:lnTo>
                    <a:lnTo>
                      <a:pt x="138" y="551"/>
                    </a:lnTo>
                    <a:lnTo>
                      <a:pt x="140" y="555"/>
                    </a:lnTo>
                    <a:lnTo>
                      <a:pt x="140" y="559"/>
                    </a:lnTo>
                    <a:lnTo>
                      <a:pt x="148" y="570"/>
                    </a:lnTo>
                    <a:lnTo>
                      <a:pt x="148" y="572"/>
                    </a:lnTo>
                    <a:lnTo>
                      <a:pt x="152" y="578"/>
                    </a:lnTo>
                    <a:lnTo>
                      <a:pt x="153" y="582"/>
                    </a:lnTo>
                    <a:lnTo>
                      <a:pt x="159" y="584"/>
                    </a:lnTo>
                    <a:lnTo>
                      <a:pt x="161" y="582"/>
                    </a:lnTo>
                    <a:lnTo>
                      <a:pt x="165" y="576"/>
                    </a:lnTo>
                    <a:lnTo>
                      <a:pt x="167" y="574"/>
                    </a:lnTo>
                    <a:lnTo>
                      <a:pt x="178" y="582"/>
                    </a:lnTo>
                    <a:lnTo>
                      <a:pt x="184" y="584"/>
                    </a:lnTo>
                    <a:lnTo>
                      <a:pt x="186" y="582"/>
                    </a:lnTo>
                    <a:lnTo>
                      <a:pt x="188" y="578"/>
                    </a:lnTo>
                    <a:lnTo>
                      <a:pt x="194" y="576"/>
                    </a:lnTo>
                    <a:lnTo>
                      <a:pt x="198" y="578"/>
                    </a:lnTo>
                    <a:lnTo>
                      <a:pt x="201" y="582"/>
                    </a:lnTo>
                    <a:lnTo>
                      <a:pt x="213" y="599"/>
                    </a:lnTo>
                    <a:lnTo>
                      <a:pt x="217" y="601"/>
                    </a:lnTo>
                    <a:lnTo>
                      <a:pt x="223" y="605"/>
                    </a:lnTo>
                    <a:lnTo>
                      <a:pt x="228" y="607"/>
                    </a:lnTo>
                    <a:lnTo>
                      <a:pt x="232" y="609"/>
                    </a:lnTo>
                    <a:lnTo>
                      <a:pt x="236" y="609"/>
                    </a:lnTo>
                    <a:lnTo>
                      <a:pt x="238" y="607"/>
                    </a:lnTo>
                    <a:lnTo>
                      <a:pt x="251" y="615"/>
                    </a:lnTo>
                    <a:lnTo>
                      <a:pt x="253" y="611"/>
                    </a:lnTo>
                    <a:lnTo>
                      <a:pt x="269" y="603"/>
                    </a:lnTo>
                    <a:lnTo>
                      <a:pt x="274" y="605"/>
                    </a:lnTo>
                    <a:lnTo>
                      <a:pt x="274" y="603"/>
                    </a:lnTo>
                    <a:lnTo>
                      <a:pt x="278" y="601"/>
                    </a:lnTo>
                    <a:lnTo>
                      <a:pt x="286" y="601"/>
                    </a:lnTo>
                    <a:lnTo>
                      <a:pt x="294" y="603"/>
                    </a:lnTo>
                    <a:lnTo>
                      <a:pt x="295" y="605"/>
                    </a:lnTo>
                    <a:lnTo>
                      <a:pt x="305" y="599"/>
                    </a:lnTo>
                    <a:lnTo>
                      <a:pt x="319" y="595"/>
                    </a:lnTo>
                    <a:lnTo>
                      <a:pt x="324" y="590"/>
                    </a:lnTo>
                    <a:lnTo>
                      <a:pt x="336" y="590"/>
                    </a:lnTo>
                    <a:lnTo>
                      <a:pt x="345" y="588"/>
                    </a:lnTo>
                    <a:lnTo>
                      <a:pt x="361" y="599"/>
                    </a:lnTo>
                    <a:lnTo>
                      <a:pt x="359" y="592"/>
                    </a:lnTo>
                    <a:lnTo>
                      <a:pt x="359" y="588"/>
                    </a:lnTo>
                    <a:lnTo>
                      <a:pt x="357" y="580"/>
                    </a:lnTo>
                    <a:lnTo>
                      <a:pt x="353" y="576"/>
                    </a:lnTo>
                    <a:lnTo>
                      <a:pt x="342" y="576"/>
                    </a:lnTo>
                    <a:lnTo>
                      <a:pt x="336" y="572"/>
                    </a:lnTo>
                    <a:lnTo>
                      <a:pt x="332" y="567"/>
                    </a:lnTo>
                    <a:lnTo>
                      <a:pt x="328" y="557"/>
                    </a:lnTo>
                    <a:lnTo>
                      <a:pt x="324" y="549"/>
                    </a:lnTo>
                    <a:lnTo>
                      <a:pt x="320" y="534"/>
                    </a:lnTo>
                    <a:lnTo>
                      <a:pt x="311" y="524"/>
                    </a:lnTo>
                    <a:lnTo>
                      <a:pt x="299" y="507"/>
                    </a:lnTo>
                    <a:lnTo>
                      <a:pt x="292" y="503"/>
                    </a:lnTo>
                    <a:lnTo>
                      <a:pt x="276" y="503"/>
                    </a:lnTo>
                    <a:lnTo>
                      <a:pt x="274" y="499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8" y="482"/>
                    </a:lnTo>
                    <a:lnTo>
                      <a:pt x="294" y="482"/>
                    </a:lnTo>
                    <a:lnTo>
                      <a:pt x="297" y="480"/>
                    </a:lnTo>
                    <a:lnTo>
                      <a:pt x="297" y="478"/>
                    </a:lnTo>
                    <a:lnTo>
                      <a:pt x="299" y="476"/>
                    </a:lnTo>
                    <a:lnTo>
                      <a:pt x="301" y="469"/>
                    </a:lnTo>
                    <a:lnTo>
                      <a:pt x="303" y="463"/>
                    </a:lnTo>
                    <a:lnTo>
                      <a:pt x="303" y="436"/>
                    </a:lnTo>
                    <a:lnTo>
                      <a:pt x="307" y="428"/>
                    </a:lnTo>
                    <a:lnTo>
                      <a:pt x="315" y="405"/>
                    </a:lnTo>
                    <a:lnTo>
                      <a:pt x="315" y="397"/>
                    </a:lnTo>
                    <a:lnTo>
                      <a:pt x="317" y="392"/>
                    </a:lnTo>
                    <a:lnTo>
                      <a:pt x="317" y="388"/>
                    </a:lnTo>
                    <a:lnTo>
                      <a:pt x="322" y="384"/>
                    </a:lnTo>
                    <a:lnTo>
                      <a:pt x="332" y="380"/>
                    </a:lnTo>
                    <a:lnTo>
                      <a:pt x="336" y="373"/>
                    </a:lnTo>
                    <a:lnTo>
                      <a:pt x="340" y="367"/>
                    </a:lnTo>
                    <a:lnTo>
                      <a:pt x="342" y="363"/>
                    </a:lnTo>
                    <a:lnTo>
                      <a:pt x="343" y="357"/>
                    </a:lnTo>
                    <a:lnTo>
                      <a:pt x="347" y="349"/>
                    </a:lnTo>
                    <a:lnTo>
                      <a:pt x="351" y="344"/>
                    </a:lnTo>
                    <a:lnTo>
                      <a:pt x="351" y="334"/>
                    </a:lnTo>
                    <a:lnTo>
                      <a:pt x="355" y="324"/>
                    </a:lnTo>
                    <a:lnTo>
                      <a:pt x="361" y="317"/>
                    </a:lnTo>
                    <a:lnTo>
                      <a:pt x="365" y="311"/>
                    </a:lnTo>
                    <a:lnTo>
                      <a:pt x="370" y="303"/>
                    </a:lnTo>
                    <a:lnTo>
                      <a:pt x="376" y="294"/>
                    </a:lnTo>
                    <a:lnTo>
                      <a:pt x="378" y="290"/>
                    </a:lnTo>
                    <a:lnTo>
                      <a:pt x="378" y="261"/>
                    </a:lnTo>
                    <a:lnTo>
                      <a:pt x="376" y="257"/>
                    </a:lnTo>
                    <a:lnTo>
                      <a:pt x="378" y="250"/>
                    </a:lnTo>
                    <a:lnTo>
                      <a:pt x="378" y="242"/>
                    </a:lnTo>
                    <a:lnTo>
                      <a:pt x="382" y="234"/>
                    </a:lnTo>
                    <a:lnTo>
                      <a:pt x="386" y="219"/>
                    </a:lnTo>
                    <a:lnTo>
                      <a:pt x="386" y="205"/>
                    </a:lnTo>
                    <a:lnTo>
                      <a:pt x="388" y="200"/>
                    </a:lnTo>
                    <a:lnTo>
                      <a:pt x="388" y="188"/>
                    </a:lnTo>
                    <a:lnTo>
                      <a:pt x="390" y="186"/>
                    </a:lnTo>
                    <a:lnTo>
                      <a:pt x="393" y="186"/>
                    </a:lnTo>
                    <a:lnTo>
                      <a:pt x="393" y="180"/>
                    </a:lnTo>
                    <a:lnTo>
                      <a:pt x="395" y="176"/>
                    </a:lnTo>
                    <a:lnTo>
                      <a:pt x="401" y="171"/>
                    </a:lnTo>
                    <a:lnTo>
                      <a:pt x="407" y="167"/>
                    </a:lnTo>
                    <a:lnTo>
                      <a:pt x="411" y="165"/>
                    </a:lnTo>
                    <a:lnTo>
                      <a:pt x="424" y="167"/>
                    </a:lnTo>
                    <a:lnTo>
                      <a:pt x="436" y="155"/>
                    </a:lnTo>
                    <a:lnTo>
                      <a:pt x="434" y="15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7" name="Freeform 45"/>
              <p:cNvSpPr>
                <a:spLocks/>
              </p:cNvSpPr>
              <p:nvPr/>
            </p:nvSpPr>
            <p:spPr bwMode="gray">
              <a:xfrm>
                <a:off x="4017" y="2634"/>
                <a:ext cx="29" cy="59"/>
              </a:xfrm>
              <a:custGeom>
                <a:avLst/>
                <a:gdLst>
                  <a:gd name="T0" fmla="*/ 11 w 57"/>
                  <a:gd name="T1" fmla="*/ 0 h 117"/>
                  <a:gd name="T2" fmla="*/ 7 w 57"/>
                  <a:gd name="T3" fmla="*/ 4 h 117"/>
                  <a:gd name="T4" fmla="*/ 7 w 57"/>
                  <a:gd name="T5" fmla="*/ 6 h 117"/>
                  <a:gd name="T6" fmla="*/ 3 w 57"/>
                  <a:gd name="T7" fmla="*/ 7 h 117"/>
                  <a:gd name="T8" fmla="*/ 5 w 57"/>
                  <a:gd name="T9" fmla="*/ 9 h 117"/>
                  <a:gd name="T10" fmla="*/ 7 w 57"/>
                  <a:gd name="T11" fmla="*/ 15 h 117"/>
                  <a:gd name="T12" fmla="*/ 9 w 57"/>
                  <a:gd name="T13" fmla="*/ 17 h 117"/>
                  <a:gd name="T14" fmla="*/ 11 w 57"/>
                  <a:gd name="T15" fmla="*/ 23 h 117"/>
                  <a:gd name="T16" fmla="*/ 7 w 57"/>
                  <a:gd name="T17" fmla="*/ 32 h 117"/>
                  <a:gd name="T18" fmla="*/ 1 w 57"/>
                  <a:gd name="T19" fmla="*/ 46 h 117"/>
                  <a:gd name="T20" fmla="*/ 0 w 57"/>
                  <a:gd name="T21" fmla="*/ 54 h 117"/>
                  <a:gd name="T22" fmla="*/ 0 w 57"/>
                  <a:gd name="T23" fmla="*/ 61 h 117"/>
                  <a:gd name="T24" fmla="*/ 7 w 57"/>
                  <a:gd name="T25" fmla="*/ 84 h 117"/>
                  <a:gd name="T26" fmla="*/ 11 w 57"/>
                  <a:gd name="T27" fmla="*/ 107 h 117"/>
                  <a:gd name="T28" fmla="*/ 17 w 57"/>
                  <a:gd name="T29" fmla="*/ 117 h 117"/>
                  <a:gd name="T30" fmla="*/ 38 w 57"/>
                  <a:gd name="T31" fmla="*/ 111 h 117"/>
                  <a:gd name="T32" fmla="*/ 44 w 57"/>
                  <a:gd name="T33" fmla="*/ 107 h 117"/>
                  <a:gd name="T34" fmla="*/ 48 w 57"/>
                  <a:gd name="T35" fmla="*/ 107 h 117"/>
                  <a:gd name="T36" fmla="*/ 53 w 57"/>
                  <a:gd name="T37" fmla="*/ 104 h 117"/>
                  <a:gd name="T38" fmla="*/ 57 w 57"/>
                  <a:gd name="T39" fmla="*/ 90 h 117"/>
                  <a:gd name="T40" fmla="*/ 57 w 57"/>
                  <a:gd name="T41" fmla="*/ 75 h 117"/>
                  <a:gd name="T42" fmla="*/ 53 w 57"/>
                  <a:gd name="T43" fmla="*/ 61 h 117"/>
                  <a:gd name="T44" fmla="*/ 36 w 57"/>
                  <a:gd name="T45" fmla="*/ 34 h 117"/>
                  <a:gd name="T46" fmla="*/ 19 w 57"/>
                  <a:gd name="T47" fmla="*/ 9 h 117"/>
                  <a:gd name="T48" fmla="*/ 11 w 57"/>
                  <a:gd name="T49" fmla="*/ 0 h 11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7"/>
                  <a:gd name="T76" fmla="*/ 0 h 117"/>
                  <a:gd name="T77" fmla="*/ 57 w 57"/>
                  <a:gd name="T78" fmla="*/ 117 h 11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7" h="117">
                    <a:moveTo>
                      <a:pt x="11" y="0"/>
                    </a:moveTo>
                    <a:lnTo>
                      <a:pt x="7" y="4"/>
                    </a:lnTo>
                    <a:lnTo>
                      <a:pt x="7" y="6"/>
                    </a:lnTo>
                    <a:lnTo>
                      <a:pt x="3" y="7"/>
                    </a:lnTo>
                    <a:lnTo>
                      <a:pt x="5" y="9"/>
                    </a:lnTo>
                    <a:lnTo>
                      <a:pt x="7" y="15"/>
                    </a:lnTo>
                    <a:lnTo>
                      <a:pt x="9" y="17"/>
                    </a:lnTo>
                    <a:lnTo>
                      <a:pt x="11" y="23"/>
                    </a:lnTo>
                    <a:lnTo>
                      <a:pt x="7" y="32"/>
                    </a:lnTo>
                    <a:lnTo>
                      <a:pt x="1" y="46"/>
                    </a:lnTo>
                    <a:lnTo>
                      <a:pt x="0" y="54"/>
                    </a:lnTo>
                    <a:lnTo>
                      <a:pt x="0" y="61"/>
                    </a:lnTo>
                    <a:lnTo>
                      <a:pt x="7" y="84"/>
                    </a:lnTo>
                    <a:lnTo>
                      <a:pt x="11" y="107"/>
                    </a:lnTo>
                    <a:lnTo>
                      <a:pt x="17" y="117"/>
                    </a:lnTo>
                    <a:lnTo>
                      <a:pt x="38" y="111"/>
                    </a:lnTo>
                    <a:lnTo>
                      <a:pt x="44" y="107"/>
                    </a:lnTo>
                    <a:lnTo>
                      <a:pt x="48" y="107"/>
                    </a:lnTo>
                    <a:lnTo>
                      <a:pt x="53" y="104"/>
                    </a:lnTo>
                    <a:lnTo>
                      <a:pt x="57" y="90"/>
                    </a:lnTo>
                    <a:lnTo>
                      <a:pt x="57" y="75"/>
                    </a:lnTo>
                    <a:lnTo>
                      <a:pt x="53" y="61"/>
                    </a:lnTo>
                    <a:lnTo>
                      <a:pt x="36" y="34"/>
                    </a:lnTo>
                    <a:lnTo>
                      <a:pt x="19" y="9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8" name="Freeform 46"/>
              <p:cNvSpPr>
                <a:spLocks/>
              </p:cNvSpPr>
              <p:nvPr/>
            </p:nvSpPr>
            <p:spPr bwMode="gray">
              <a:xfrm>
                <a:off x="2914" y="2072"/>
                <a:ext cx="158" cy="131"/>
              </a:xfrm>
              <a:custGeom>
                <a:avLst/>
                <a:gdLst>
                  <a:gd name="T0" fmla="*/ 173 w 317"/>
                  <a:gd name="T1" fmla="*/ 15 h 261"/>
                  <a:gd name="T2" fmla="*/ 98 w 317"/>
                  <a:gd name="T3" fmla="*/ 7 h 261"/>
                  <a:gd name="T4" fmla="*/ 62 w 317"/>
                  <a:gd name="T5" fmla="*/ 7 h 261"/>
                  <a:gd name="T6" fmla="*/ 54 w 317"/>
                  <a:gd name="T7" fmla="*/ 1 h 261"/>
                  <a:gd name="T8" fmla="*/ 41 w 317"/>
                  <a:gd name="T9" fmla="*/ 3 h 261"/>
                  <a:gd name="T10" fmla="*/ 31 w 317"/>
                  <a:gd name="T11" fmla="*/ 15 h 261"/>
                  <a:gd name="T12" fmla="*/ 8 w 317"/>
                  <a:gd name="T13" fmla="*/ 17 h 261"/>
                  <a:gd name="T14" fmla="*/ 0 w 317"/>
                  <a:gd name="T15" fmla="*/ 26 h 261"/>
                  <a:gd name="T16" fmla="*/ 10 w 317"/>
                  <a:gd name="T17" fmla="*/ 51 h 261"/>
                  <a:gd name="T18" fmla="*/ 23 w 317"/>
                  <a:gd name="T19" fmla="*/ 59 h 261"/>
                  <a:gd name="T20" fmla="*/ 31 w 317"/>
                  <a:gd name="T21" fmla="*/ 65 h 261"/>
                  <a:gd name="T22" fmla="*/ 37 w 317"/>
                  <a:gd name="T23" fmla="*/ 65 h 261"/>
                  <a:gd name="T24" fmla="*/ 56 w 317"/>
                  <a:gd name="T25" fmla="*/ 63 h 261"/>
                  <a:gd name="T26" fmla="*/ 62 w 317"/>
                  <a:gd name="T27" fmla="*/ 65 h 261"/>
                  <a:gd name="T28" fmla="*/ 68 w 317"/>
                  <a:gd name="T29" fmla="*/ 69 h 261"/>
                  <a:gd name="T30" fmla="*/ 66 w 317"/>
                  <a:gd name="T31" fmla="*/ 78 h 261"/>
                  <a:gd name="T32" fmla="*/ 56 w 317"/>
                  <a:gd name="T33" fmla="*/ 96 h 261"/>
                  <a:gd name="T34" fmla="*/ 64 w 317"/>
                  <a:gd name="T35" fmla="*/ 115 h 261"/>
                  <a:gd name="T36" fmla="*/ 56 w 317"/>
                  <a:gd name="T37" fmla="*/ 128 h 261"/>
                  <a:gd name="T38" fmla="*/ 58 w 317"/>
                  <a:gd name="T39" fmla="*/ 148 h 261"/>
                  <a:gd name="T40" fmla="*/ 52 w 317"/>
                  <a:gd name="T41" fmla="*/ 159 h 261"/>
                  <a:gd name="T42" fmla="*/ 54 w 317"/>
                  <a:gd name="T43" fmla="*/ 173 h 261"/>
                  <a:gd name="T44" fmla="*/ 56 w 317"/>
                  <a:gd name="T45" fmla="*/ 178 h 261"/>
                  <a:gd name="T46" fmla="*/ 50 w 317"/>
                  <a:gd name="T47" fmla="*/ 190 h 261"/>
                  <a:gd name="T48" fmla="*/ 50 w 317"/>
                  <a:gd name="T49" fmla="*/ 201 h 261"/>
                  <a:gd name="T50" fmla="*/ 60 w 317"/>
                  <a:gd name="T51" fmla="*/ 205 h 261"/>
                  <a:gd name="T52" fmla="*/ 58 w 317"/>
                  <a:gd name="T53" fmla="*/ 217 h 261"/>
                  <a:gd name="T54" fmla="*/ 62 w 317"/>
                  <a:gd name="T55" fmla="*/ 226 h 261"/>
                  <a:gd name="T56" fmla="*/ 77 w 317"/>
                  <a:gd name="T57" fmla="*/ 247 h 261"/>
                  <a:gd name="T58" fmla="*/ 96 w 317"/>
                  <a:gd name="T59" fmla="*/ 257 h 261"/>
                  <a:gd name="T60" fmla="*/ 123 w 317"/>
                  <a:gd name="T61" fmla="*/ 246 h 261"/>
                  <a:gd name="T62" fmla="*/ 154 w 317"/>
                  <a:gd name="T63" fmla="*/ 249 h 261"/>
                  <a:gd name="T64" fmla="*/ 173 w 317"/>
                  <a:gd name="T65" fmla="*/ 242 h 261"/>
                  <a:gd name="T66" fmla="*/ 183 w 317"/>
                  <a:gd name="T67" fmla="*/ 224 h 261"/>
                  <a:gd name="T68" fmla="*/ 196 w 317"/>
                  <a:gd name="T69" fmla="*/ 215 h 261"/>
                  <a:gd name="T70" fmla="*/ 215 w 317"/>
                  <a:gd name="T71" fmla="*/ 207 h 261"/>
                  <a:gd name="T72" fmla="*/ 219 w 317"/>
                  <a:gd name="T73" fmla="*/ 186 h 261"/>
                  <a:gd name="T74" fmla="*/ 234 w 317"/>
                  <a:gd name="T75" fmla="*/ 173 h 261"/>
                  <a:gd name="T76" fmla="*/ 236 w 317"/>
                  <a:gd name="T77" fmla="*/ 159 h 261"/>
                  <a:gd name="T78" fmla="*/ 231 w 317"/>
                  <a:gd name="T79" fmla="*/ 140 h 261"/>
                  <a:gd name="T80" fmla="*/ 238 w 317"/>
                  <a:gd name="T81" fmla="*/ 136 h 261"/>
                  <a:gd name="T82" fmla="*/ 252 w 317"/>
                  <a:gd name="T83" fmla="*/ 117 h 261"/>
                  <a:gd name="T84" fmla="*/ 277 w 317"/>
                  <a:gd name="T85" fmla="*/ 88 h 261"/>
                  <a:gd name="T86" fmla="*/ 306 w 317"/>
                  <a:gd name="T87" fmla="*/ 76 h 261"/>
                  <a:gd name="T88" fmla="*/ 317 w 317"/>
                  <a:gd name="T89" fmla="*/ 59 h 261"/>
                  <a:gd name="T90" fmla="*/ 313 w 317"/>
                  <a:gd name="T91" fmla="*/ 40 h 261"/>
                  <a:gd name="T92" fmla="*/ 300 w 317"/>
                  <a:gd name="T93" fmla="*/ 48 h 261"/>
                  <a:gd name="T94" fmla="*/ 284 w 317"/>
                  <a:gd name="T95" fmla="*/ 50 h 261"/>
                  <a:gd name="T96" fmla="*/ 275 w 317"/>
                  <a:gd name="T97" fmla="*/ 48 h 261"/>
                  <a:gd name="T98" fmla="*/ 265 w 317"/>
                  <a:gd name="T99" fmla="*/ 44 h 261"/>
                  <a:gd name="T100" fmla="*/ 250 w 317"/>
                  <a:gd name="T101" fmla="*/ 40 h 261"/>
                  <a:gd name="T102" fmla="*/ 240 w 317"/>
                  <a:gd name="T103" fmla="*/ 42 h 261"/>
                  <a:gd name="T104" fmla="*/ 234 w 317"/>
                  <a:gd name="T105" fmla="*/ 36 h 261"/>
                  <a:gd name="T106" fmla="*/ 225 w 317"/>
                  <a:gd name="T107" fmla="*/ 34 h 261"/>
                  <a:gd name="T108" fmla="*/ 215 w 317"/>
                  <a:gd name="T109" fmla="*/ 30 h 261"/>
                  <a:gd name="T110" fmla="*/ 208 w 317"/>
                  <a:gd name="T111" fmla="*/ 28 h 261"/>
                  <a:gd name="T112" fmla="*/ 206 w 317"/>
                  <a:gd name="T113" fmla="*/ 19 h 261"/>
                  <a:gd name="T114" fmla="*/ 200 w 317"/>
                  <a:gd name="T115" fmla="*/ 15 h 26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17"/>
                  <a:gd name="T175" fmla="*/ 0 h 261"/>
                  <a:gd name="T176" fmla="*/ 317 w 317"/>
                  <a:gd name="T177" fmla="*/ 261 h 261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17" h="261">
                    <a:moveTo>
                      <a:pt x="200" y="15"/>
                    </a:moveTo>
                    <a:lnTo>
                      <a:pt x="173" y="15"/>
                    </a:lnTo>
                    <a:lnTo>
                      <a:pt x="115" y="7"/>
                    </a:lnTo>
                    <a:lnTo>
                      <a:pt x="98" y="7"/>
                    </a:lnTo>
                    <a:lnTo>
                      <a:pt x="79" y="9"/>
                    </a:lnTo>
                    <a:lnTo>
                      <a:pt x="62" y="7"/>
                    </a:lnTo>
                    <a:lnTo>
                      <a:pt x="58" y="5"/>
                    </a:lnTo>
                    <a:lnTo>
                      <a:pt x="54" y="1"/>
                    </a:lnTo>
                    <a:lnTo>
                      <a:pt x="50" y="0"/>
                    </a:lnTo>
                    <a:lnTo>
                      <a:pt x="41" y="3"/>
                    </a:lnTo>
                    <a:lnTo>
                      <a:pt x="33" y="11"/>
                    </a:lnTo>
                    <a:lnTo>
                      <a:pt x="31" y="15"/>
                    </a:lnTo>
                    <a:lnTo>
                      <a:pt x="12" y="15"/>
                    </a:lnTo>
                    <a:lnTo>
                      <a:pt x="8" y="17"/>
                    </a:lnTo>
                    <a:lnTo>
                      <a:pt x="4" y="23"/>
                    </a:lnTo>
                    <a:lnTo>
                      <a:pt x="0" y="26"/>
                    </a:lnTo>
                    <a:lnTo>
                      <a:pt x="10" y="44"/>
                    </a:lnTo>
                    <a:lnTo>
                      <a:pt x="10" y="51"/>
                    </a:lnTo>
                    <a:lnTo>
                      <a:pt x="12" y="65"/>
                    </a:lnTo>
                    <a:lnTo>
                      <a:pt x="23" y="59"/>
                    </a:lnTo>
                    <a:lnTo>
                      <a:pt x="29" y="59"/>
                    </a:lnTo>
                    <a:lnTo>
                      <a:pt x="31" y="65"/>
                    </a:lnTo>
                    <a:lnTo>
                      <a:pt x="29" y="65"/>
                    </a:lnTo>
                    <a:lnTo>
                      <a:pt x="37" y="65"/>
                    </a:lnTo>
                    <a:lnTo>
                      <a:pt x="44" y="63"/>
                    </a:lnTo>
                    <a:lnTo>
                      <a:pt x="56" y="63"/>
                    </a:lnTo>
                    <a:lnTo>
                      <a:pt x="60" y="65"/>
                    </a:lnTo>
                    <a:lnTo>
                      <a:pt x="62" y="65"/>
                    </a:lnTo>
                    <a:lnTo>
                      <a:pt x="64" y="69"/>
                    </a:lnTo>
                    <a:lnTo>
                      <a:pt x="68" y="69"/>
                    </a:lnTo>
                    <a:lnTo>
                      <a:pt x="69" y="71"/>
                    </a:lnTo>
                    <a:lnTo>
                      <a:pt x="66" y="78"/>
                    </a:lnTo>
                    <a:lnTo>
                      <a:pt x="54" y="90"/>
                    </a:lnTo>
                    <a:lnTo>
                      <a:pt x="56" y="96"/>
                    </a:lnTo>
                    <a:lnTo>
                      <a:pt x="62" y="105"/>
                    </a:lnTo>
                    <a:lnTo>
                      <a:pt x="64" y="115"/>
                    </a:lnTo>
                    <a:lnTo>
                      <a:pt x="62" y="123"/>
                    </a:lnTo>
                    <a:lnTo>
                      <a:pt x="56" y="128"/>
                    </a:lnTo>
                    <a:lnTo>
                      <a:pt x="56" y="144"/>
                    </a:lnTo>
                    <a:lnTo>
                      <a:pt x="58" y="148"/>
                    </a:lnTo>
                    <a:lnTo>
                      <a:pt x="56" y="153"/>
                    </a:lnTo>
                    <a:lnTo>
                      <a:pt x="52" y="159"/>
                    </a:lnTo>
                    <a:lnTo>
                      <a:pt x="48" y="163"/>
                    </a:lnTo>
                    <a:lnTo>
                      <a:pt x="54" y="173"/>
                    </a:lnTo>
                    <a:lnTo>
                      <a:pt x="56" y="176"/>
                    </a:lnTo>
                    <a:lnTo>
                      <a:pt x="56" y="178"/>
                    </a:lnTo>
                    <a:lnTo>
                      <a:pt x="54" y="184"/>
                    </a:lnTo>
                    <a:lnTo>
                      <a:pt x="50" y="190"/>
                    </a:lnTo>
                    <a:lnTo>
                      <a:pt x="48" y="194"/>
                    </a:lnTo>
                    <a:lnTo>
                      <a:pt x="50" y="201"/>
                    </a:lnTo>
                    <a:lnTo>
                      <a:pt x="56" y="205"/>
                    </a:lnTo>
                    <a:lnTo>
                      <a:pt x="60" y="205"/>
                    </a:lnTo>
                    <a:lnTo>
                      <a:pt x="60" y="209"/>
                    </a:lnTo>
                    <a:lnTo>
                      <a:pt x="58" y="217"/>
                    </a:lnTo>
                    <a:lnTo>
                      <a:pt x="58" y="224"/>
                    </a:lnTo>
                    <a:lnTo>
                      <a:pt x="62" y="226"/>
                    </a:lnTo>
                    <a:lnTo>
                      <a:pt x="69" y="236"/>
                    </a:lnTo>
                    <a:lnTo>
                      <a:pt x="77" y="247"/>
                    </a:lnTo>
                    <a:lnTo>
                      <a:pt x="85" y="261"/>
                    </a:lnTo>
                    <a:lnTo>
                      <a:pt x="96" y="257"/>
                    </a:lnTo>
                    <a:lnTo>
                      <a:pt x="119" y="253"/>
                    </a:lnTo>
                    <a:lnTo>
                      <a:pt x="123" y="246"/>
                    </a:lnTo>
                    <a:lnTo>
                      <a:pt x="139" y="246"/>
                    </a:lnTo>
                    <a:lnTo>
                      <a:pt x="154" y="249"/>
                    </a:lnTo>
                    <a:lnTo>
                      <a:pt x="173" y="246"/>
                    </a:lnTo>
                    <a:lnTo>
                      <a:pt x="173" y="242"/>
                    </a:lnTo>
                    <a:lnTo>
                      <a:pt x="179" y="234"/>
                    </a:lnTo>
                    <a:lnTo>
                      <a:pt x="183" y="224"/>
                    </a:lnTo>
                    <a:lnTo>
                      <a:pt x="188" y="219"/>
                    </a:lnTo>
                    <a:lnTo>
                      <a:pt x="196" y="215"/>
                    </a:lnTo>
                    <a:lnTo>
                      <a:pt x="208" y="211"/>
                    </a:lnTo>
                    <a:lnTo>
                      <a:pt x="215" y="207"/>
                    </a:lnTo>
                    <a:lnTo>
                      <a:pt x="215" y="190"/>
                    </a:lnTo>
                    <a:lnTo>
                      <a:pt x="219" y="186"/>
                    </a:lnTo>
                    <a:lnTo>
                      <a:pt x="227" y="176"/>
                    </a:lnTo>
                    <a:lnTo>
                      <a:pt x="234" y="173"/>
                    </a:lnTo>
                    <a:lnTo>
                      <a:pt x="238" y="167"/>
                    </a:lnTo>
                    <a:lnTo>
                      <a:pt x="236" y="159"/>
                    </a:lnTo>
                    <a:lnTo>
                      <a:pt x="231" y="153"/>
                    </a:lnTo>
                    <a:lnTo>
                      <a:pt x="231" y="140"/>
                    </a:lnTo>
                    <a:lnTo>
                      <a:pt x="233" y="138"/>
                    </a:lnTo>
                    <a:lnTo>
                      <a:pt x="238" y="136"/>
                    </a:lnTo>
                    <a:lnTo>
                      <a:pt x="242" y="134"/>
                    </a:lnTo>
                    <a:lnTo>
                      <a:pt x="252" y="117"/>
                    </a:lnTo>
                    <a:lnTo>
                      <a:pt x="263" y="99"/>
                    </a:lnTo>
                    <a:lnTo>
                      <a:pt x="277" y="88"/>
                    </a:lnTo>
                    <a:lnTo>
                      <a:pt x="288" y="82"/>
                    </a:lnTo>
                    <a:lnTo>
                      <a:pt x="306" y="76"/>
                    </a:lnTo>
                    <a:lnTo>
                      <a:pt x="315" y="69"/>
                    </a:lnTo>
                    <a:lnTo>
                      <a:pt x="317" y="59"/>
                    </a:lnTo>
                    <a:lnTo>
                      <a:pt x="315" y="51"/>
                    </a:lnTo>
                    <a:lnTo>
                      <a:pt x="313" y="40"/>
                    </a:lnTo>
                    <a:lnTo>
                      <a:pt x="307" y="44"/>
                    </a:lnTo>
                    <a:lnTo>
                      <a:pt x="300" y="48"/>
                    </a:lnTo>
                    <a:lnTo>
                      <a:pt x="294" y="50"/>
                    </a:lnTo>
                    <a:lnTo>
                      <a:pt x="284" y="50"/>
                    </a:lnTo>
                    <a:lnTo>
                      <a:pt x="277" y="51"/>
                    </a:lnTo>
                    <a:lnTo>
                      <a:pt x="275" y="48"/>
                    </a:lnTo>
                    <a:lnTo>
                      <a:pt x="271" y="46"/>
                    </a:lnTo>
                    <a:lnTo>
                      <a:pt x="265" y="44"/>
                    </a:lnTo>
                    <a:lnTo>
                      <a:pt x="256" y="42"/>
                    </a:lnTo>
                    <a:lnTo>
                      <a:pt x="250" y="40"/>
                    </a:lnTo>
                    <a:lnTo>
                      <a:pt x="244" y="40"/>
                    </a:lnTo>
                    <a:lnTo>
                      <a:pt x="240" y="42"/>
                    </a:lnTo>
                    <a:lnTo>
                      <a:pt x="236" y="40"/>
                    </a:lnTo>
                    <a:lnTo>
                      <a:pt x="234" y="36"/>
                    </a:lnTo>
                    <a:lnTo>
                      <a:pt x="231" y="34"/>
                    </a:lnTo>
                    <a:lnTo>
                      <a:pt x="225" y="34"/>
                    </a:lnTo>
                    <a:lnTo>
                      <a:pt x="221" y="32"/>
                    </a:lnTo>
                    <a:lnTo>
                      <a:pt x="215" y="30"/>
                    </a:lnTo>
                    <a:lnTo>
                      <a:pt x="210" y="30"/>
                    </a:lnTo>
                    <a:lnTo>
                      <a:pt x="208" y="28"/>
                    </a:lnTo>
                    <a:lnTo>
                      <a:pt x="208" y="25"/>
                    </a:lnTo>
                    <a:lnTo>
                      <a:pt x="206" y="19"/>
                    </a:lnTo>
                    <a:lnTo>
                      <a:pt x="202" y="17"/>
                    </a:lnTo>
                    <a:lnTo>
                      <a:pt x="200" y="1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59" name="Freeform 47"/>
              <p:cNvSpPr>
                <a:spLocks/>
              </p:cNvSpPr>
              <p:nvPr/>
            </p:nvSpPr>
            <p:spPr bwMode="gray">
              <a:xfrm>
                <a:off x="3088" y="2139"/>
                <a:ext cx="8" cy="3"/>
              </a:xfrm>
              <a:custGeom>
                <a:avLst/>
                <a:gdLst>
                  <a:gd name="T0" fmla="*/ 0 w 15"/>
                  <a:gd name="T1" fmla="*/ 0 h 8"/>
                  <a:gd name="T2" fmla="*/ 7 w 15"/>
                  <a:gd name="T3" fmla="*/ 8 h 8"/>
                  <a:gd name="T4" fmla="*/ 15 w 15"/>
                  <a:gd name="T5" fmla="*/ 8 h 8"/>
                  <a:gd name="T6" fmla="*/ 9 w 15"/>
                  <a:gd name="T7" fmla="*/ 6 h 8"/>
                  <a:gd name="T8" fmla="*/ 0 w 15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8"/>
                  <a:gd name="T17" fmla="*/ 15 w 15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8">
                    <a:moveTo>
                      <a:pt x="0" y="0"/>
                    </a:moveTo>
                    <a:lnTo>
                      <a:pt x="7" y="8"/>
                    </a:lnTo>
                    <a:lnTo>
                      <a:pt x="15" y="8"/>
                    </a:lnTo>
                    <a:lnTo>
                      <a:pt x="9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0" name="Freeform 48"/>
              <p:cNvSpPr>
                <a:spLocks/>
              </p:cNvSpPr>
              <p:nvPr/>
            </p:nvSpPr>
            <p:spPr bwMode="gray">
              <a:xfrm>
                <a:off x="3069" y="2139"/>
                <a:ext cx="8" cy="11"/>
              </a:xfrm>
              <a:custGeom>
                <a:avLst/>
                <a:gdLst>
                  <a:gd name="T0" fmla="*/ 0 w 16"/>
                  <a:gd name="T1" fmla="*/ 0 h 23"/>
                  <a:gd name="T2" fmla="*/ 2 w 16"/>
                  <a:gd name="T3" fmla="*/ 6 h 23"/>
                  <a:gd name="T4" fmla="*/ 4 w 16"/>
                  <a:gd name="T5" fmla="*/ 10 h 23"/>
                  <a:gd name="T6" fmla="*/ 6 w 16"/>
                  <a:gd name="T7" fmla="*/ 16 h 23"/>
                  <a:gd name="T8" fmla="*/ 0 w 16"/>
                  <a:gd name="T9" fmla="*/ 19 h 23"/>
                  <a:gd name="T10" fmla="*/ 8 w 16"/>
                  <a:gd name="T11" fmla="*/ 23 h 23"/>
                  <a:gd name="T12" fmla="*/ 12 w 16"/>
                  <a:gd name="T13" fmla="*/ 19 h 23"/>
                  <a:gd name="T14" fmla="*/ 14 w 16"/>
                  <a:gd name="T15" fmla="*/ 12 h 23"/>
                  <a:gd name="T16" fmla="*/ 16 w 16"/>
                  <a:gd name="T17" fmla="*/ 8 h 23"/>
                  <a:gd name="T18" fmla="*/ 12 w 16"/>
                  <a:gd name="T19" fmla="*/ 6 h 23"/>
                  <a:gd name="T20" fmla="*/ 6 w 16"/>
                  <a:gd name="T21" fmla="*/ 4 h 23"/>
                  <a:gd name="T22" fmla="*/ 0 w 16"/>
                  <a:gd name="T23" fmla="*/ 0 h 2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6"/>
                  <a:gd name="T37" fmla="*/ 0 h 23"/>
                  <a:gd name="T38" fmla="*/ 16 w 16"/>
                  <a:gd name="T39" fmla="*/ 23 h 2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6" h="23">
                    <a:moveTo>
                      <a:pt x="0" y="0"/>
                    </a:moveTo>
                    <a:lnTo>
                      <a:pt x="2" y="6"/>
                    </a:lnTo>
                    <a:lnTo>
                      <a:pt x="4" y="10"/>
                    </a:lnTo>
                    <a:lnTo>
                      <a:pt x="6" y="16"/>
                    </a:lnTo>
                    <a:lnTo>
                      <a:pt x="0" y="19"/>
                    </a:lnTo>
                    <a:lnTo>
                      <a:pt x="8" y="23"/>
                    </a:lnTo>
                    <a:lnTo>
                      <a:pt x="12" y="19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2" y="6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1" name="Freeform 49"/>
              <p:cNvSpPr>
                <a:spLocks/>
              </p:cNvSpPr>
              <p:nvPr/>
            </p:nvSpPr>
            <p:spPr bwMode="gray">
              <a:xfrm>
                <a:off x="4603" y="2170"/>
                <a:ext cx="38" cy="72"/>
              </a:xfrm>
              <a:custGeom>
                <a:avLst/>
                <a:gdLst>
                  <a:gd name="T0" fmla="*/ 6 w 77"/>
                  <a:gd name="T1" fmla="*/ 19 h 144"/>
                  <a:gd name="T2" fmla="*/ 12 w 77"/>
                  <a:gd name="T3" fmla="*/ 32 h 144"/>
                  <a:gd name="T4" fmla="*/ 12 w 77"/>
                  <a:gd name="T5" fmla="*/ 40 h 144"/>
                  <a:gd name="T6" fmla="*/ 2 w 77"/>
                  <a:gd name="T7" fmla="*/ 50 h 144"/>
                  <a:gd name="T8" fmla="*/ 12 w 77"/>
                  <a:gd name="T9" fmla="*/ 57 h 144"/>
                  <a:gd name="T10" fmla="*/ 14 w 77"/>
                  <a:gd name="T11" fmla="*/ 59 h 144"/>
                  <a:gd name="T12" fmla="*/ 14 w 77"/>
                  <a:gd name="T13" fmla="*/ 63 h 144"/>
                  <a:gd name="T14" fmla="*/ 12 w 77"/>
                  <a:gd name="T15" fmla="*/ 67 h 144"/>
                  <a:gd name="T16" fmla="*/ 10 w 77"/>
                  <a:gd name="T17" fmla="*/ 69 h 144"/>
                  <a:gd name="T18" fmla="*/ 10 w 77"/>
                  <a:gd name="T19" fmla="*/ 78 h 144"/>
                  <a:gd name="T20" fmla="*/ 14 w 77"/>
                  <a:gd name="T21" fmla="*/ 80 h 144"/>
                  <a:gd name="T22" fmla="*/ 14 w 77"/>
                  <a:gd name="T23" fmla="*/ 94 h 144"/>
                  <a:gd name="T24" fmla="*/ 12 w 77"/>
                  <a:gd name="T25" fmla="*/ 96 h 144"/>
                  <a:gd name="T26" fmla="*/ 6 w 77"/>
                  <a:gd name="T27" fmla="*/ 98 h 144"/>
                  <a:gd name="T28" fmla="*/ 2 w 77"/>
                  <a:gd name="T29" fmla="*/ 98 h 144"/>
                  <a:gd name="T30" fmla="*/ 2 w 77"/>
                  <a:gd name="T31" fmla="*/ 113 h 144"/>
                  <a:gd name="T32" fmla="*/ 0 w 77"/>
                  <a:gd name="T33" fmla="*/ 126 h 144"/>
                  <a:gd name="T34" fmla="*/ 0 w 77"/>
                  <a:gd name="T35" fmla="*/ 142 h 144"/>
                  <a:gd name="T36" fmla="*/ 4 w 77"/>
                  <a:gd name="T37" fmla="*/ 140 h 144"/>
                  <a:gd name="T38" fmla="*/ 8 w 77"/>
                  <a:gd name="T39" fmla="*/ 142 h 144"/>
                  <a:gd name="T40" fmla="*/ 10 w 77"/>
                  <a:gd name="T41" fmla="*/ 144 h 144"/>
                  <a:gd name="T42" fmla="*/ 20 w 77"/>
                  <a:gd name="T43" fmla="*/ 136 h 144"/>
                  <a:gd name="T44" fmla="*/ 27 w 77"/>
                  <a:gd name="T45" fmla="*/ 128 h 144"/>
                  <a:gd name="T46" fmla="*/ 37 w 77"/>
                  <a:gd name="T47" fmla="*/ 121 h 144"/>
                  <a:gd name="T48" fmla="*/ 64 w 77"/>
                  <a:gd name="T49" fmla="*/ 113 h 144"/>
                  <a:gd name="T50" fmla="*/ 73 w 77"/>
                  <a:gd name="T51" fmla="*/ 105 h 144"/>
                  <a:gd name="T52" fmla="*/ 75 w 77"/>
                  <a:gd name="T53" fmla="*/ 90 h 144"/>
                  <a:gd name="T54" fmla="*/ 77 w 77"/>
                  <a:gd name="T55" fmla="*/ 65 h 144"/>
                  <a:gd name="T56" fmla="*/ 75 w 77"/>
                  <a:gd name="T57" fmla="*/ 46 h 144"/>
                  <a:gd name="T58" fmla="*/ 73 w 77"/>
                  <a:gd name="T59" fmla="*/ 42 h 144"/>
                  <a:gd name="T60" fmla="*/ 68 w 77"/>
                  <a:gd name="T61" fmla="*/ 38 h 144"/>
                  <a:gd name="T62" fmla="*/ 66 w 77"/>
                  <a:gd name="T63" fmla="*/ 32 h 144"/>
                  <a:gd name="T64" fmla="*/ 64 w 77"/>
                  <a:gd name="T65" fmla="*/ 30 h 144"/>
                  <a:gd name="T66" fmla="*/ 66 w 77"/>
                  <a:gd name="T67" fmla="*/ 26 h 144"/>
                  <a:gd name="T68" fmla="*/ 66 w 77"/>
                  <a:gd name="T69" fmla="*/ 23 h 144"/>
                  <a:gd name="T70" fmla="*/ 56 w 77"/>
                  <a:gd name="T71" fmla="*/ 23 h 144"/>
                  <a:gd name="T72" fmla="*/ 56 w 77"/>
                  <a:gd name="T73" fmla="*/ 17 h 144"/>
                  <a:gd name="T74" fmla="*/ 58 w 77"/>
                  <a:gd name="T75" fmla="*/ 11 h 144"/>
                  <a:gd name="T76" fmla="*/ 56 w 77"/>
                  <a:gd name="T77" fmla="*/ 7 h 144"/>
                  <a:gd name="T78" fmla="*/ 52 w 77"/>
                  <a:gd name="T79" fmla="*/ 3 h 144"/>
                  <a:gd name="T80" fmla="*/ 46 w 77"/>
                  <a:gd name="T81" fmla="*/ 3 h 144"/>
                  <a:gd name="T82" fmla="*/ 39 w 77"/>
                  <a:gd name="T83" fmla="*/ 7 h 144"/>
                  <a:gd name="T84" fmla="*/ 33 w 77"/>
                  <a:gd name="T85" fmla="*/ 5 h 144"/>
                  <a:gd name="T86" fmla="*/ 27 w 77"/>
                  <a:gd name="T87" fmla="*/ 2 h 144"/>
                  <a:gd name="T88" fmla="*/ 25 w 77"/>
                  <a:gd name="T89" fmla="*/ 0 h 144"/>
                  <a:gd name="T90" fmla="*/ 18 w 77"/>
                  <a:gd name="T91" fmla="*/ 3 h 144"/>
                  <a:gd name="T92" fmla="*/ 4 w 77"/>
                  <a:gd name="T93" fmla="*/ 19 h 144"/>
                  <a:gd name="T94" fmla="*/ 6 w 77"/>
                  <a:gd name="T95" fmla="*/ 19 h 14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7"/>
                  <a:gd name="T145" fmla="*/ 0 h 144"/>
                  <a:gd name="T146" fmla="*/ 77 w 77"/>
                  <a:gd name="T147" fmla="*/ 144 h 14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7" h="144">
                    <a:moveTo>
                      <a:pt x="6" y="19"/>
                    </a:moveTo>
                    <a:lnTo>
                      <a:pt x="12" y="32"/>
                    </a:lnTo>
                    <a:lnTo>
                      <a:pt x="12" y="40"/>
                    </a:lnTo>
                    <a:lnTo>
                      <a:pt x="2" y="50"/>
                    </a:lnTo>
                    <a:lnTo>
                      <a:pt x="12" y="57"/>
                    </a:lnTo>
                    <a:lnTo>
                      <a:pt x="14" y="59"/>
                    </a:lnTo>
                    <a:lnTo>
                      <a:pt x="14" y="63"/>
                    </a:lnTo>
                    <a:lnTo>
                      <a:pt x="12" y="67"/>
                    </a:lnTo>
                    <a:lnTo>
                      <a:pt x="10" y="69"/>
                    </a:lnTo>
                    <a:lnTo>
                      <a:pt x="10" y="78"/>
                    </a:lnTo>
                    <a:lnTo>
                      <a:pt x="14" y="80"/>
                    </a:lnTo>
                    <a:lnTo>
                      <a:pt x="14" y="94"/>
                    </a:lnTo>
                    <a:lnTo>
                      <a:pt x="12" y="96"/>
                    </a:lnTo>
                    <a:lnTo>
                      <a:pt x="6" y="98"/>
                    </a:lnTo>
                    <a:lnTo>
                      <a:pt x="2" y="98"/>
                    </a:lnTo>
                    <a:lnTo>
                      <a:pt x="2" y="113"/>
                    </a:lnTo>
                    <a:lnTo>
                      <a:pt x="0" y="126"/>
                    </a:lnTo>
                    <a:lnTo>
                      <a:pt x="0" y="142"/>
                    </a:lnTo>
                    <a:lnTo>
                      <a:pt x="4" y="140"/>
                    </a:lnTo>
                    <a:lnTo>
                      <a:pt x="8" y="142"/>
                    </a:lnTo>
                    <a:lnTo>
                      <a:pt x="10" y="144"/>
                    </a:lnTo>
                    <a:lnTo>
                      <a:pt x="20" y="136"/>
                    </a:lnTo>
                    <a:lnTo>
                      <a:pt x="27" y="128"/>
                    </a:lnTo>
                    <a:lnTo>
                      <a:pt x="37" y="121"/>
                    </a:lnTo>
                    <a:lnTo>
                      <a:pt x="64" y="113"/>
                    </a:lnTo>
                    <a:lnTo>
                      <a:pt x="73" y="105"/>
                    </a:lnTo>
                    <a:lnTo>
                      <a:pt x="75" y="90"/>
                    </a:lnTo>
                    <a:lnTo>
                      <a:pt x="77" y="65"/>
                    </a:lnTo>
                    <a:lnTo>
                      <a:pt x="75" y="46"/>
                    </a:lnTo>
                    <a:lnTo>
                      <a:pt x="73" y="42"/>
                    </a:lnTo>
                    <a:lnTo>
                      <a:pt x="68" y="38"/>
                    </a:lnTo>
                    <a:lnTo>
                      <a:pt x="66" y="32"/>
                    </a:lnTo>
                    <a:lnTo>
                      <a:pt x="64" y="30"/>
                    </a:lnTo>
                    <a:lnTo>
                      <a:pt x="66" y="26"/>
                    </a:lnTo>
                    <a:lnTo>
                      <a:pt x="66" y="23"/>
                    </a:lnTo>
                    <a:lnTo>
                      <a:pt x="56" y="23"/>
                    </a:lnTo>
                    <a:lnTo>
                      <a:pt x="56" y="17"/>
                    </a:lnTo>
                    <a:lnTo>
                      <a:pt x="58" y="11"/>
                    </a:lnTo>
                    <a:lnTo>
                      <a:pt x="56" y="7"/>
                    </a:lnTo>
                    <a:lnTo>
                      <a:pt x="52" y="3"/>
                    </a:lnTo>
                    <a:lnTo>
                      <a:pt x="46" y="3"/>
                    </a:lnTo>
                    <a:lnTo>
                      <a:pt x="39" y="7"/>
                    </a:lnTo>
                    <a:lnTo>
                      <a:pt x="33" y="5"/>
                    </a:lnTo>
                    <a:lnTo>
                      <a:pt x="27" y="2"/>
                    </a:lnTo>
                    <a:lnTo>
                      <a:pt x="25" y="0"/>
                    </a:lnTo>
                    <a:lnTo>
                      <a:pt x="18" y="3"/>
                    </a:lnTo>
                    <a:lnTo>
                      <a:pt x="4" y="19"/>
                    </a:lnTo>
                    <a:lnTo>
                      <a:pt x="6" y="19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2" name="Freeform 50"/>
              <p:cNvSpPr>
                <a:spLocks noEditPoints="1"/>
              </p:cNvSpPr>
              <p:nvPr/>
            </p:nvSpPr>
            <p:spPr bwMode="gray">
              <a:xfrm>
                <a:off x="3232" y="3128"/>
                <a:ext cx="204" cy="204"/>
              </a:xfrm>
              <a:custGeom>
                <a:avLst/>
                <a:gdLst>
                  <a:gd name="T0" fmla="*/ 403 w 406"/>
                  <a:gd name="T1" fmla="*/ 182 h 407"/>
                  <a:gd name="T2" fmla="*/ 391 w 406"/>
                  <a:gd name="T3" fmla="*/ 205 h 407"/>
                  <a:gd name="T4" fmla="*/ 376 w 406"/>
                  <a:gd name="T5" fmla="*/ 226 h 407"/>
                  <a:gd name="T6" fmla="*/ 349 w 406"/>
                  <a:gd name="T7" fmla="*/ 274 h 407"/>
                  <a:gd name="T8" fmla="*/ 339 w 406"/>
                  <a:gd name="T9" fmla="*/ 290 h 407"/>
                  <a:gd name="T10" fmla="*/ 305 w 406"/>
                  <a:gd name="T11" fmla="*/ 326 h 407"/>
                  <a:gd name="T12" fmla="*/ 245 w 406"/>
                  <a:gd name="T13" fmla="*/ 374 h 407"/>
                  <a:gd name="T14" fmla="*/ 234 w 406"/>
                  <a:gd name="T15" fmla="*/ 380 h 407"/>
                  <a:gd name="T16" fmla="*/ 211 w 406"/>
                  <a:gd name="T17" fmla="*/ 380 h 407"/>
                  <a:gd name="T18" fmla="*/ 168 w 406"/>
                  <a:gd name="T19" fmla="*/ 382 h 407"/>
                  <a:gd name="T20" fmla="*/ 134 w 406"/>
                  <a:gd name="T21" fmla="*/ 395 h 407"/>
                  <a:gd name="T22" fmla="*/ 107 w 406"/>
                  <a:gd name="T23" fmla="*/ 393 h 407"/>
                  <a:gd name="T24" fmla="*/ 69 w 406"/>
                  <a:gd name="T25" fmla="*/ 407 h 407"/>
                  <a:gd name="T26" fmla="*/ 53 w 406"/>
                  <a:gd name="T27" fmla="*/ 393 h 407"/>
                  <a:gd name="T28" fmla="*/ 36 w 406"/>
                  <a:gd name="T29" fmla="*/ 384 h 407"/>
                  <a:gd name="T30" fmla="*/ 26 w 406"/>
                  <a:gd name="T31" fmla="*/ 351 h 407"/>
                  <a:gd name="T32" fmla="*/ 42 w 406"/>
                  <a:gd name="T33" fmla="*/ 328 h 407"/>
                  <a:gd name="T34" fmla="*/ 30 w 406"/>
                  <a:gd name="T35" fmla="*/ 278 h 407"/>
                  <a:gd name="T36" fmla="*/ 19 w 406"/>
                  <a:gd name="T37" fmla="*/ 270 h 407"/>
                  <a:gd name="T38" fmla="*/ 11 w 406"/>
                  <a:gd name="T39" fmla="*/ 226 h 407"/>
                  <a:gd name="T40" fmla="*/ 3 w 406"/>
                  <a:gd name="T41" fmla="*/ 213 h 407"/>
                  <a:gd name="T42" fmla="*/ 19 w 406"/>
                  <a:gd name="T43" fmla="*/ 197 h 407"/>
                  <a:gd name="T44" fmla="*/ 28 w 406"/>
                  <a:gd name="T45" fmla="*/ 209 h 407"/>
                  <a:gd name="T46" fmla="*/ 48 w 406"/>
                  <a:gd name="T47" fmla="*/ 215 h 407"/>
                  <a:gd name="T48" fmla="*/ 59 w 406"/>
                  <a:gd name="T49" fmla="*/ 211 h 407"/>
                  <a:gd name="T50" fmla="*/ 71 w 406"/>
                  <a:gd name="T51" fmla="*/ 199 h 407"/>
                  <a:gd name="T52" fmla="*/ 94 w 406"/>
                  <a:gd name="T53" fmla="*/ 107 h 407"/>
                  <a:gd name="T54" fmla="*/ 103 w 406"/>
                  <a:gd name="T55" fmla="*/ 134 h 407"/>
                  <a:gd name="T56" fmla="*/ 103 w 406"/>
                  <a:gd name="T57" fmla="*/ 153 h 407"/>
                  <a:gd name="T58" fmla="*/ 115 w 406"/>
                  <a:gd name="T59" fmla="*/ 151 h 407"/>
                  <a:gd name="T60" fmla="*/ 140 w 406"/>
                  <a:gd name="T61" fmla="*/ 142 h 407"/>
                  <a:gd name="T62" fmla="*/ 163 w 406"/>
                  <a:gd name="T63" fmla="*/ 128 h 407"/>
                  <a:gd name="T64" fmla="*/ 170 w 406"/>
                  <a:gd name="T65" fmla="*/ 111 h 407"/>
                  <a:gd name="T66" fmla="*/ 184 w 406"/>
                  <a:gd name="T67" fmla="*/ 109 h 407"/>
                  <a:gd name="T68" fmla="*/ 203 w 406"/>
                  <a:gd name="T69" fmla="*/ 111 h 407"/>
                  <a:gd name="T70" fmla="*/ 228 w 406"/>
                  <a:gd name="T71" fmla="*/ 117 h 407"/>
                  <a:gd name="T72" fmla="*/ 234 w 406"/>
                  <a:gd name="T73" fmla="*/ 101 h 407"/>
                  <a:gd name="T74" fmla="*/ 243 w 406"/>
                  <a:gd name="T75" fmla="*/ 73 h 407"/>
                  <a:gd name="T76" fmla="*/ 255 w 406"/>
                  <a:gd name="T77" fmla="*/ 55 h 407"/>
                  <a:gd name="T78" fmla="*/ 272 w 406"/>
                  <a:gd name="T79" fmla="*/ 32 h 407"/>
                  <a:gd name="T80" fmla="*/ 295 w 406"/>
                  <a:gd name="T81" fmla="*/ 21 h 407"/>
                  <a:gd name="T82" fmla="*/ 309 w 406"/>
                  <a:gd name="T83" fmla="*/ 13 h 407"/>
                  <a:gd name="T84" fmla="*/ 328 w 406"/>
                  <a:gd name="T85" fmla="*/ 3 h 407"/>
                  <a:gd name="T86" fmla="*/ 335 w 406"/>
                  <a:gd name="T87" fmla="*/ 3 h 407"/>
                  <a:gd name="T88" fmla="*/ 357 w 406"/>
                  <a:gd name="T89" fmla="*/ 1 h 407"/>
                  <a:gd name="T90" fmla="*/ 374 w 406"/>
                  <a:gd name="T91" fmla="*/ 5 h 407"/>
                  <a:gd name="T92" fmla="*/ 382 w 406"/>
                  <a:gd name="T93" fmla="*/ 15 h 407"/>
                  <a:gd name="T94" fmla="*/ 378 w 406"/>
                  <a:gd name="T95" fmla="*/ 53 h 407"/>
                  <a:gd name="T96" fmla="*/ 376 w 406"/>
                  <a:gd name="T97" fmla="*/ 99 h 407"/>
                  <a:gd name="T98" fmla="*/ 382 w 406"/>
                  <a:gd name="T99" fmla="*/ 111 h 407"/>
                  <a:gd name="T100" fmla="*/ 366 w 406"/>
                  <a:gd name="T101" fmla="*/ 115 h 407"/>
                  <a:gd name="T102" fmla="*/ 364 w 406"/>
                  <a:gd name="T103" fmla="*/ 144 h 407"/>
                  <a:gd name="T104" fmla="*/ 374 w 406"/>
                  <a:gd name="T105" fmla="*/ 151 h 407"/>
                  <a:gd name="T106" fmla="*/ 391 w 406"/>
                  <a:gd name="T107" fmla="*/ 157 h 407"/>
                  <a:gd name="T108" fmla="*/ 286 w 406"/>
                  <a:gd name="T109" fmla="*/ 263 h 407"/>
                  <a:gd name="T110" fmla="*/ 299 w 406"/>
                  <a:gd name="T111" fmla="*/ 253 h 407"/>
                  <a:gd name="T112" fmla="*/ 309 w 406"/>
                  <a:gd name="T113" fmla="*/ 249 h 407"/>
                  <a:gd name="T114" fmla="*/ 293 w 406"/>
                  <a:gd name="T115" fmla="*/ 222 h 407"/>
                  <a:gd name="T116" fmla="*/ 278 w 406"/>
                  <a:gd name="T117" fmla="*/ 234 h 407"/>
                  <a:gd name="T118" fmla="*/ 266 w 406"/>
                  <a:gd name="T119" fmla="*/ 240 h 407"/>
                  <a:gd name="T120" fmla="*/ 266 w 406"/>
                  <a:gd name="T121" fmla="*/ 251 h 407"/>
                  <a:gd name="T122" fmla="*/ 272 w 406"/>
                  <a:gd name="T123" fmla="*/ 265 h 407"/>
                  <a:gd name="T124" fmla="*/ 286 w 406"/>
                  <a:gd name="T125" fmla="*/ 263 h 407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06"/>
                  <a:gd name="T190" fmla="*/ 0 h 407"/>
                  <a:gd name="T191" fmla="*/ 406 w 406"/>
                  <a:gd name="T192" fmla="*/ 407 h 407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06" h="407">
                    <a:moveTo>
                      <a:pt x="406" y="142"/>
                    </a:moveTo>
                    <a:lnTo>
                      <a:pt x="405" y="163"/>
                    </a:lnTo>
                    <a:lnTo>
                      <a:pt x="403" y="182"/>
                    </a:lnTo>
                    <a:lnTo>
                      <a:pt x="403" y="194"/>
                    </a:lnTo>
                    <a:lnTo>
                      <a:pt x="391" y="194"/>
                    </a:lnTo>
                    <a:lnTo>
                      <a:pt x="391" y="205"/>
                    </a:lnTo>
                    <a:lnTo>
                      <a:pt x="399" y="213"/>
                    </a:lnTo>
                    <a:lnTo>
                      <a:pt x="389" y="219"/>
                    </a:lnTo>
                    <a:lnTo>
                      <a:pt x="376" y="226"/>
                    </a:lnTo>
                    <a:lnTo>
                      <a:pt x="368" y="230"/>
                    </a:lnTo>
                    <a:lnTo>
                      <a:pt x="360" y="244"/>
                    </a:lnTo>
                    <a:lnTo>
                      <a:pt x="349" y="274"/>
                    </a:lnTo>
                    <a:lnTo>
                      <a:pt x="345" y="274"/>
                    </a:lnTo>
                    <a:lnTo>
                      <a:pt x="345" y="284"/>
                    </a:lnTo>
                    <a:lnTo>
                      <a:pt x="339" y="290"/>
                    </a:lnTo>
                    <a:lnTo>
                      <a:pt x="332" y="295"/>
                    </a:lnTo>
                    <a:lnTo>
                      <a:pt x="326" y="301"/>
                    </a:lnTo>
                    <a:lnTo>
                      <a:pt x="305" y="326"/>
                    </a:lnTo>
                    <a:lnTo>
                      <a:pt x="280" y="355"/>
                    </a:lnTo>
                    <a:lnTo>
                      <a:pt x="253" y="374"/>
                    </a:lnTo>
                    <a:lnTo>
                      <a:pt x="245" y="374"/>
                    </a:lnTo>
                    <a:lnTo>
                      <a:pt x="239" y="372"/>
                    </a:lnTo>
                    <a:lnTo>
                      <a:pt x="234" y="374"/>
                    </a:lnTo>
                    <a:lnTo>
                      <a:pt x="234" y="380"/>
                    </a:lnTo>
                    <a:lnTo>
                      <a:pt x="226" y="382"/>
                    </a:lnTo>
                    <a:lnTo>
                      <a:pt x="218" y="382"/>
                    </a:lnTo>
                    <a:lnTo>
                      <a:pt x="211" y="380"/>
                    </a:lnTo>
                    <a:lnTo>
                      <a:pt x="207" y="388"/>
                    </a:lnTo>
                    <a:lnTo>
                      <a:pt x="188" y="388"/>
                    </a:lnTo>
                    <a:lnTo>
                      <a:pt x="168" y="382"/>
                    </a:lnTo>
                    <a:lnTo>
                      <a:pt x="145" y="386"/>
                    </a:lnTo>
                    <a:lnTo>
                      <a:pt x="142" y="388"/>
                    </a:lnTo>
                    <a:lnTo>
                      <a:pt x="134" y="395"/>
                    </a:lnTo>
                    <a:lnTo>
                      <a:pt x="126" y="395"/>
                    </a:lnTo>
                    <a:lnTo>
                      <a:pt x="117" y="393"/>
                    </a:lnTo>
                    <a:lnTo>
                      <a:pt x="107" y="393"/>
                    </a:lnTo>
                    <a:lnTo>
                      <a:pt x="97" y="397"/>
                    </a:lnTo>
                    <a:lnTo>
                      <a:pt x="86" y="407"/>
                    </a:lnTo>
                    <a:lnTo>
                      <a:pt x="69" y="407"/>
                    </a:lnTo>
                    <a:lnTo>
                      <a:pt x="65" y="401"/>
                    </a:lnTo>
                    <a:lnTo>
                      <a:pt x="53" y="401"/>
                    </a:lnTo>
                    <a:lnTo>
                      <a:pt x="53" y="393"/>
                    </a:lnTo>
                    <a:lnTo>
                      <a:pt x="42" y="401"/>
                    </a:lnTo>
                    <a:lnTo>
                      <a:pt x="42" y="395"/>
                    </a:lnTo>
                    <a:lnTo>
                      <a:pt x="36" y="384"/>
                    </a:lnTo>
                    <a:lnTo>
                      <a:pt x="34" y="365"/>
                    </a:lnTo>
                    <a:lnTo>
                      <a:pt x="34" y="353"/>
                    </a:lnTo>
                    <a:lnTo>
                      <a:pt x="26" y="351"/>
                    </a:lnTo>
                    <a:lnTo>
                      <a:pt x="30" y="342"/>
                    </a:lnTo>
                    <a:lnTo>
                      <a:pt x="36" y="338"/>
                    </a:lnTo>
                    <a:lnTo>
                      <a:pt x="42" y="328"/>
                    </a:lnTo>
                    <a:lnTo>
                      <a:pt x="40" y="311"/>
                    </a:lnTo>
                    <a:lnTo>
                      <a:pt x="34" y="292"/>
                    </a:lnTo>
                    <a:lnTo>
                      <a:pt x="30" y="278"/>
                    </a:lnTo>
                    <a:lnTo>
                      <a:pt x="26" y="276"/>
                    </a:lnTo>
                    <a:lnTo>
                      <a:pt x="21" y="272"/>
                    </a:lnTo>
                    <a:lnTo>
                      <a:pt x="19" y="270"/>
                    </a:lnTo>
                    <a:lnTo>
                      <a:pt x="15" y="255"/>
                    </a:lnTo>
                    <a:lnTo>
                      <a:pt x="15" y="230"/>
                    </a:lnTo>
                    <a:lnTo>
                      <a:pt x="11" y="226"/>
                    </a:lnTo>
                    <a:lnTo>
                      <a:pt x="3" y="221"/>
                    </a:lnTo>
                    <a:lnTo>
                      <a:pt x="0" y="217"/>
                    </a:lnTo>
                    <a:lnTo>
                      <a:pt x="3" y="213"/>
                    </a:lnTo>
                    <a:lnTo>
                      <a:pt x="11" y="207"/>
                    </a:lnTo>
                    <a:lnTo>
                      <a:pt x="17" y="201"/>
                    </a:lnTo>
                    <a:lnTo>
                      <a:pt x="19" y="197"/>
                    </a:lnTo>
                    <a:lnTo>
                      <a:pt x="28" y="197"/>
                    </a:lnTo>
                    <a:lnTo>
                      <a:pt x="26" y="203"/>
                    </a:lnTo>
                    <a:lnTo>
                      <a:pt x="28" y="209"/>
                    </a:lnTo>
                    <a:lnTo>
                      <a:pt x="30" y="213"/>
                    </a:lnTo>
                    <a:lnTo>
                      <a:pt x="34" y="215"/>
                    </a:lnTo>
                    <a:lnTo>
                      <a:pt x="48" y="215"/>
                    </a:lnTo>
                    <a:lnTo>
                      <a:pt x="51" y="217"/>
                    </a:lnTo>
                    <a:lnTo>
                      <a:pt x="55" y="215"/>
                    </a:lnTo>
                    <a:lnTo>
                      <a:pt x="59" y="211"/>
                    </a:lnTo>
                    <a:lnTo>
                      <a:pt x="63" y="209"/>
                    </a:lnTo>
                    <a:lnTo>
                      <a:pt x="67" y="203"/>
                    </a:lnTo>
                    <a:lnTo>
                      <a:pt x="71" y="199"/>
                    </a:lnTo>
                    <a:lnTo>
                      <a:pt x="80" y="199"/>
                    </a:lnTo>
                    <a:lnTo>
                      <a:pt x="82" y="101"/>
                    </a:lnTo>
                    <a:lnTo>
                      <a:pt x="94" y="107"/>
                    </a:lnTo>
                    <a:lnTo>
                      <a:pt x="99" y="119"/>
                    </a:lnTo>
                    <a:lnTo>
                      <a:pt x="103" y="128"/>
                    </a:lnTo>
                    <a:lnTo>
                      <a:pt x="103" y="134"/>
                    </a:lnTo>
                    <a:lnTo>
                      <a:pt x="101" y="140"/>
                    </a:lnTo>
                    <a:lnTo>
                      <a:pt x="101" y="148"/>
                    </a:lnTo>
                    <a:lnTo>
                      <a:pt x="103" y="153"/>
                    </a:lnTo>
                    <a:lnTo>
                      <a:pt x="109" y="155"/>
                    </a:lnTo>
                    <a:lnTo>
                      <a:pt x="113" y="155"/>
                    </a:lnTo>
                    <a:lnTo>
                      <a:pt x="115" y="151"/>
                    </a:lnTo>
                    <a:lnTo>
                      <a:pt x="120" y="149"/>
                    </a:lnTo>
                    <a:lnTo>
                      <a:pt x="130" y="148"/>
                    </a:lnTo>
                    <a:lnTo>
                      <a:pt x="140" y="142"/>
                    </a:lnTo>
                    <a:lnTo>
                      <a:pt x="144" y="140"/>
                    </a:lnTo>
                    <a:lnTo>
                      <a:pt x="149" y="136"/>
                    </a:lnTo>
                    <a:lnTo>
                      <a:pt x="163" y="128"/>
                    </a:lnTo>
                    <a:lnTo>
                      <a:pt x="168" y="121"/>
                    </a:lnTo>
                    <a:lnTo>
                      <a:pt x="168" y="115"/>
                    </a:lnTo>
                    <a:lnTo>
                      <a:pt x="170" y="111"/>
                    </a:lnTo>
                    <a:lnTo>
                      <a:pt x="178" y="107"/>
                    </a:lnTo>
                    <a:lnTo>
                      <a:pt x="182" y="107"/>
                    </a:lnTo>
                    <a:lnTo>
                      <a:pt x="184" y="109"/>
                    </a:lnTo>
                    <a:lnTo>
                      <a:pt x="191" y="113"/>
                    </a:lnTo>
                    <a:lnTo>
                      <a:pt x="197" y="111"/>
                    </a:lnTo>
                    <a:lnTo>
                      <a:pt x="203" y="111"/>
                    </a:lnTo>
                    <a:lnTo>
                      <a:pt x="209" y="115"/>
                    </a:lnTo>
                    <a:lnTo>
                      <a:pt x="216" y="113"/>
                    </a:lnTo>
                    <a:lnTo>
                      <a:pt x="228" y="117"/>
                    </a:lnTo>
                    <a:lnTo>
                      <a:pt x="232" y="117"/>
                    </a:lnTo>
                    <a:lnTo>
                      <a:pt x="234" y="115"/>
                    </a:lnTo>
                    <a:lnTo>
                      <a:pt x="234" y="101"/>
                    </a:lnTo>
                    <a:lnTo>
                      <a:pt x="236" y="78"/>
                    </a:lnTo>
                    <a:lnTo>
                      <a:pt x="238" y="76"/>
                    </a:lnTo>
                    <a:lnTo>
                      <a:pt x="243" y="73"/>
                    </a:lnTo>
                    <a:lnTo>
                      <a:pt x="249" y="73"/>
                    </a:lnTo>
                    <a:lnTo>
                      <a:pt x="253" y="67"/>
                    </a:lnTo>
                    <a:lnTo>
                      <a:pt x="255" y="55"/>
                    </a:lnTo>
                    <a:lnTo>
                      <a:pt x="261" y="48"/>
                    </a:lnTo>
                    <a:lnTo>
                      <a:pt x="266" y="42"/>
                    </a:lnTo>
                    <a:lnTo>
                      <a:pt x="272" y="32"/>
                    </a:lnTo>
                    <a:lnTo>
                      <a:pt x="280" y="28"/>
                    </a:lnTo>
                    <a:lnTo>
                      <a:pt x="287" y="26"/>
                    </a:lnTo>
                    <a:lnTo>
                      <a:pt x="295" y="21"/>
                    </a:lnTo>
                    <a:lnTo>
                      <a:pt x="303" y="19"/>
                    </a:lnTo>
                    <a:lnTo>
                      <a:pt x="307" y="17"/>
                    </a:lnTo>
                    <a:lnTo>
                      <a:pt x="309" y="13"/>
                    </a:lnTo>
                    <a:lnTo>
                      <a:pt x="314" y="11"/>
                    </a:lnTo>
                    <a:lnTo>
                      <a:pt x="322" y="9"/>
                    </a:lnTo>
                    <a:lnTo>
                      <a:pt x="328" y="3"/>
                    </a:lnTo>
                    <a:lnTo>
                      <a:pt x="330" y="0"/>
                    </a:lnTo>
                    <a:lnTo>
                      <a:pt x="332" y="1"/>
                    </a:lnTo>
                    <a:lnTo>
                      <a:pt x="335" y="3"/>
                    </a:lnTo>
                    <a:lnTo>
                      <a:pt x="341" y="3"/>
                    </a:lnTo>
                    <a:lnTo>
                      <a:pt x="347" y="1"/>
                    </a:lnTo>
                    <a:lnTo>
                      <a:pt x="357" y="1"/>
                    </a:lnTo>
                    <a:lnTo>
                      <a:pt x="360" y="3"/>
                    </a:lnTo>
                    <a:lnTo>
                      <a:pt x="366" y="5"/>
                    </a:lnTo>
                    <a:lnTo>
                      <a:pt x="374" y="5"/>
                    </a:lnTo>
                    <a:lnTo>
                      <a:pt x="378" y="7"/>
                    </a:lnTo>
                    <a:lnTo>
                      <a:pt x="380" y="9"/>
                    </a:lnTo>
                    <a:lnTo>
                      <a:pt x="382" y="15"/>
                    </a:lnTo>
                    <a:lnTo>
                      <a:pt x="382" y="25"/>
                    </a:lnTo>
                    <a:lnTo>
                      <a:pt x="378" y="44"/>
                    </a:lnTo>
                    <a:lnTo>
                      <a:pt x="378" y="53"/>
                    </a:lnTo>
                    <a:lnTo>
                      <a:pt x="382" y="73"/>
                    </a:lnTo>
                    <a:lnTo>
                      <a:pt x="382" y="82"/>
                    </a:lnTo>
                    <a:lnTo>
                      <a:pt x="376" y="99"/>
                    </a:lnTo>
                    <a:lnTo>
                      <a:pt x="378" y="103"/>
                    </a:lnTo>
                    <a:lnTo>
                      <a:pt x="382" y="107"/>
                    </a:lnTo>
                    <a:lnTo>
                      <a:pt x="382" y="111"/>
                    </a:lnTo>
                    <a:lnTo>
                      <a:pt x="380" y="113"/>
                    </a:lnTo>
                    <a:lnTo>
                      <a:pt x="374" y="115"/>
                    </a:lnTo>
                    <a:lnTo>
                      <a:pt x="366" y="115"/>
                    </a:lnTo>
                    <a:lnTo>
                      <a:pt x="362" y="119"/>
                    </a:lnTo>
                    <a:lnTo>
                      <a:pt x="362" y="138"/>
                    </a:lnTo>
                    <a:lnTo>
                      <a:pt x="364" y="144"/>
                    </a:lnTo>
                    <a:lnTo>
                      <a:pt x="366" y="148"/>
                    </a:lnTo>
                    <a:lnTo>
                      <a:pt x="368" y="149"/>
                    </a:lnTo>
                    <a:lnTo>
                      <a:pt x="374" y="151"/>
                    </a:lnTo>
                    <a:lnTo>
                      <a:pt x="382" y="155"/>
                    </a:lnTo>
                    <a:lnTo>
                      <a:pt x="387" y="155"/>
                    </a:lnTo>
                    <a:lnTo>
                      <a:pt x="391" y="157"/>
                    </a:lnTo>
                    <a:lnTo>
                      <a:pt x="389" y="142"/>
                    </a:lnTo>
                    <a:lnTo>
                      <a:pt x="406" y="142"/>
                    </a:lnTo>
                    <a:close/>
                    <a:moveTo>
                      <a:pt x="286" y="263"/>
                    </a:moveTo>
                    <a:lnTo>
                      <a:pt x="293" y="255"/>
                    </a:lnTo>
                    <a:lnTo>
                      <a:pt x="297" y="253"/>
                    </a:lnTo>
                    <a:lnTo>
                      <a:pt x="299" y="253"/>
                    </a:lnTo>
                    <a:lnTo>
                      <a:pt x="303" y="251"/>
                    </a:lnTo>
                    <a:lnTo>
                      <a:pt x="307" y="251"/>
                    </a:lnTo>
                    <a:lnTo>
                      <a:pt x="309" y="249"/>
                    </a:lnTo>
                    <a:lnTo>
                      <a:pt x="310" y="246"/>
                    </a:lnTo>
                    <a:lnTo>
                      <a:pt x="305" y="234"/>
                    </a:lnTo>
                    <a:lnTo>
                      <a:pt x="293" y="222"/>
                    </a:lnTo>
                    <a:lnTo>
                      <a:pt x="291" y="224"/>
                    </a:lnTo>
                    <a:lnTo>
                      <a:pt x="286" y="228"/>
                    </a:lnTo>
                    <a:lnTo>
                      <a:pt x="278" y="234"/>
                    </a:lnTo>
                    <a:lnTo>
                      <a:pt x="274" y="238"/>
                    </a:lnTo>
                    <a:lnTo>
                      <a:pt x="268" y="238"/>
                    </a:lnTo>
                    <a:lnTo>
                      <a:pt x="266" y="240"/>
                    </a:lnTo>
                    <a:lnTo>
                      <a:pt x="263" y="246"/>
                    </a:lnTo>
                    <a:lnTo>
                      <a:pt x="266" y="249"/>
                    </a:lnTo>
                    <a:lnTo>
                      <a:pt x="266" y="251"/>
                    </a:lnTo>
                    <a:lnTo>
                      <a:pt x="270" y="257"/>
                    </a:lnTo>
                    <a:lnTo>
                      <a:pt x="270" y="263"/>
                    </a:lnTo>
                    <a:lnTo>
                      <a:pt x="272" y="265"/>
                    </a:lnTo>
                    <a:lnTo>
                      <a:pt x="278" y="267"/>
                    </a:lnTo>
                    <a:lnTo>
                      <a:pt x="282" y="267"/>
                    </a:lnTo>
                    <a:lnTo>
                      <a:pt x="286" y="26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3" name="Freeform 51"/>
              <p:cNvSpPr>
                <a:spLocks/>
              </p:cNvSpPr>
              <p:nvPr/>
            </p:nvSpPr>
            <p:spPr bwMode="gray">
              <a:xfrm>
                <a:off x="3547" y="2590"/>
                <a:ext cx="123" cy="202"/>
              </a:xfrm>
              <a:custGeom>
                <a:avLst/>
                <a:gdLst>
                  <a:gd name="T0" fmla="*/ 37 w 246"/>
                  <a:gd name="T1" fmla="*/ 45 h 404"/>
                  <a:gd name="T2" fmla="*/ 31 w 246"/>
                  <a:gd name="T3" fmla="*/ 60 h 404"/>
                  <a:gd name="T4" fmla="*/ 40 w 246"/>
                  <a:gd name="T5" fmla="*/ 75 h 404"/>
                  <a:gd name="T6" fmla="*/ 46 w 246"/>
                  <a:gd name="T7" fmla="*/ 85 h 404"/>
                  <a:gd name="T8" fmla="*/ 56 w 246"/>
                  <a:gd name="T9" fmla="*/ 93 h 404"/>
                  <a:gd name="T10" fmla="*/ 115 w 246"/>
                  <a:gd name="T11" fmla="*/ 121 h 404"/>
                  <a:gd name="T12" fmla="*/ 167 w 246"/>
                  <a:gd name="T13" fmla="*/ 125 h 404"/>
                  <a:gd name="T14" fmla="*/ 69 w 246"/>
                  <a:gd name="T15" fmla="*/ 229 h 404"/>
                  <a:gd name="T16" fmla="*/ 35 w 246"/>
                  <a:gd name="T17" fmla="*/ 237 h 404"/>
                  <a:gd name="T18" fmla="*/ 14 w 246"/>
                  <a:gd name="T19" fmla="*/ 275 h 404"/>
                  <a:gd name="T20" fmla="*/ 2 w 246"/>
                  <a:gd name="T21" fmla="*/ 389 h 404"/>
                  <a:gd name="T22" fmla="*/ 14 w 246"/>
                  <a:gd name="T23" fmla="*/ 400 h 404"/>
                  <a:gd name="T24" fmla="*/ 19 w 246"/>
                  <a:gd name="T25" fmla="*/ 390 h 404"/>
                  <a:gd name="T26" fmla="*/ 33 w 246"/>
                  <a:gd name="T27" fmla="*/ 383 h 404"/>
                  <a:gd name="T28" fmla="*/ 46 w 246"/>
                  <a:gd name="T29" fmla="*/ 356 h 404"/>
                  <a:gd name="T30" fmla="*/ 56 w 246"/>
                  <a:gd name="T31" fmla="*/ 354 h 404"/>
                  <a:gd name="T32" fmla="*/ 65 w 246"/>
                  <a:gd name="T33" fmla="*/ 346 h 404"/>
                  <a:gd name="T34" fmla="*/ 77 w 246"/>
                  <a:gd name="T35" fmla="*/ 335 h 404"/>
                  <a:gd name="T36" fmla="*/ 85 w 246"/>
                  <a:gd name="T37" fmla="*/ 335 h 404"/>
                  <a:gd name="T38" fmla="*/ 96 w 246"/>
                  <a:gd name="T39" fmla="*/ 325 h 404"/>
                  <a:gd name="T40" fmla="*/ 115 w 246"/>
                  <a:gd name="T41" fmla="*/ 308 h 404"/>
                  <a:gd name="T42" fmla="*/ 117 w 246"/>
                  <a:gd name="T43" fmla="*/ 296 h 404"/>
                  <a:gd name="T44" fmla="*/ 125 w 246"/>
                  <a:gd name="T45" fmla="*/ 289 h 404"/>
                  <a:gd name="T46" fmla="*/ 138 w 246"/>
                  <a:gd name="T47" fmla="*/ 285 h 404"/>
                  <a:gd name="T48" fmla="*/ 142 w 246"/>
                  <a:gd name="T49" fmla="*/ 264 h 404"/>
                  <a:gd name="T50" fmla="*/ 157 w 246"/>
                  <a:gd name="T51" fmla="*/ 258 h 404"/>
                  <a:gd name="T52" fmla="*/ 159 w 246"/>
                  <a:gd name="T53" fmla="*/ 244 h 404"/>
                  <a:gd name="T54" fmla="*/ 163 w 246"/>
                  <a:gd name="T55" fmla="*/ 235 h 404"/>
                  <a:gd name="T56" fmla="*/ 184 w 246"/>
                  <a:gd name="T57" fmla="*/ 185 h 404"/>
                  <a:gd name="T58" fmla="*/ 196 w 246"/>
                  <a:gd name="T59" fmla="*/ 168 h 404"/>
                  <a:gd name="T60" fmla="*/ 204 w 246"/>
                  <a:gd name="T61" fmla="*/ 135 h 404"/>
                  <a:gd name="T62" fmla="*/ 219 w 246"/>
                  <a:gd name="T63" fmla="*/ 110 h 404"/>
                  <a:gd name="T64" fmla="*/ 227 w 246"/>
                  <a:gd name="T65" fmla="*/ 85 h 404"/>
                  <a:gd name="T66" fmla="*/ 234 w 246"/>
                  <a:gd name="T67" fmla="*/ 58 h 404"/>
                  <a:gd name="T68" fmla="*/ 242 w 246"/>
                  <a:gd name="T69" fmla="*/ 41 h 404"/>
                  <a:gd name="T70" fmla="*/ 246 w 246"/>
                  <a:gd name="T71" fmla="*/ 12 h 404"/>
                  <a:gd name="T72" fmla="*/ 234 w 246"/>
                  <a:gd name="T73" fmla="*/ 0 h 404"/>
                  <a:gd name="T74" fmla="*/ 219 w 246"/>
                  <a:gd name="T75" fmla="*/ 12 h 404"/>
                  <a:gd name="T76" fmla="*/ 190 w 246"/>
                  <a:gd name="T77" fmla="*/ 18 h 404"/>
                  <a:gd name="T78" fmla="*/ 154 w 246"/>
                  <a:gd name="T79" fmla="*/ 23 h 404"/>
                  <a:gd name="T80" fmla="*/ 142 w 246"/>
                  <a:gd name="T81" fmla="*/ 35 h 404"/>
                  <a:gd name="T82" fmla="*/ 108 w 246"/>
                  <a:gd name="T83" fmla="*/ 35 h 404"/>
                  <a:gd name="T84" fmla="*/ 77 w 246"/>
                  <a:gd name="T85" fmla="*/ 43 h 404"/>
                  <a:gd name="T86" fmla="*/ 63 w 246"/>
                  <a:gd name="T87" fmla="*/ 31 h 40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46"/>
                  <a:gd name="T133" fmla="*/ 0 h 404"/>
                  <a:gd name="T134" fmla="*/ 246 w 246"/>
                  <a:gd name="T135" fmla="*/ 404 h 40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46" h="404">
                    <a:moveTo>
                      <a:pt x="56" y="22"/>
                    </a:moveTo>
                    <a:lnTo>
                      <a:pt x="37" y="45"/>
                    </a:lnTo>
                    <a:lnTo>
                      <a:pt x="29" y="56"/>
                    </a:lnTo>
                    <a:lnTo>
                      <a:pt x="31" y="60"/>
                    </a:lnTo>
                    <a:lnTo>
                      <a:pt x="38" y="71"/>
                    </a:lnTo>
                    <a:lnTo>
                      <a:pt x="40" y="75"/>
                    </a:lnTo>
                    <a:lnTo>
                      <a:pt x="42" y="81"/>
                    </a:lnTo>
                    <a:lnTo>
                      <a:pt x="46" y="85"/>
                    </a:lnTo>
                    <a:lnTo>
                      <a:pt x="52" y="89"/>
                    </a:lnTo>
                    <a:lnTo>
                      <a:pt x="56" y="93"/>
                    </a:lnTo>
                    <a:lnTo>
                      <a:pt x="86" y="108"/>
                    </a:lnTo>
                    <a:lnTo>
                      <a:pt x="115" y="121"/>
                    </a:lnTo>
                    <a:lnTo>
                      <a:pt x="131" y="129"/>
                    </a:lnTo>
                    <a:lnTo>
                      <a:pt x="167" y="125"/>
                    </a:lnTo>
                    <a:lnTo>
                      <a:pt x="100" y="227"/>
                    </a:lnTo>
                    <a:lnTo>
                      <a:pt x="69" y="229"/>
                    </a:lnTo>
                    <a:lnTo>
                      <a:pt x="58" y="237"/>
                    </a:lnTo>
                    <a:lnTo>
                      <a:pt x="35" y="237"/>
                    </a:lnTo>
                    <a:lnTo>
                      <a:pt x="29" y="243"/>
                    </a:lnTo>
                    <a:lnTo>
                      <a:pt x="14" y="275"/>
                    </a:lnTo>
                    <a:lnTo>
                      <a:pt x="0" y="287"/>
                    </a:lnTo>
                    <a:lnTo>
                      <a:pt x="2" y="389"/>
                    </a:lnTo>
                    <a:lnTo>
                      <a:pt x="14" y="404"/>
                    </a:lnTo>
                    <a:lnTo>
                      <a:pt x="14" y="400"/>
                    </a:lnTo>
                    <a:lnTo>
                      <a:pt x="15" y="396"/>
                    </a:lnTo>
                    <a:lnTo>
                      <a:pt x="19" y="390"/>
                    </a:lnTo>
                    <a:lnTo>
                      <a:pt x="27" y="390"/>
                    </a:lnTo>
                    <a:lnTo>
                      <a:pt x="33" y="383"/>
                    </a:lnTo>
                    <a:lnTo>
                      <a:pt x="40" y="366"/>
                    </a:lnTo>
                    <a:lnTo>
                      <a:pt x="46" y="356"/>
                    </a:lnTo>
                    <a:lnTo>
                      <a:pt x="50" y="354"/>
                    </a:lnTo>
                    <a:lnTo>
                      <a:pt x="56" y="354"/>
                    </a:lnTo>
                    <a:lnTo>
                      <a:pt x="62" y="352"/>
                    </a:lnTo>
                    <a:lnTo>
                      <a:pt x="65" y="346"/>
                    </a:lnTo>
                    <a:lnTo>
                      <a:pt x="71" y="339"/>
                    </a:lnTo>
                    <a:lnTo>
                      <a:pt x="77" y="335"/>
                    </a:lnTo>
                    <a:lnTo>
                      <a:pt x="81" y="333"/>
                    </a:lnTo>
                    <a:lnTo>
                      <a:pt x="85" y="335"/>
                    </a:lnTo>
                    <a:lnTo>
                      <a:pt x="88" y="335"/>
                    </a:lnTo>
                    <a:lnTo>
                      <a:pt x="96" y="325"/>
                    </a:lnTo>
                    <a:lnTo>
                      <a:pt x="108" y="316"/>
                    </a:lnTo>
                    <a:lnTo>
                      <a:pt x="115" y="308"/>
                    </a:lnTo>
                    <a:lnTo>
                      <a:pt x="115" y="302"/>
                    </a:lnTo>
                    <a:lnTo>
                      <a:pt x="117" y="296"/>
                    </a:lnTo>
                    <a:lnTo>
                      <a:pt x="119" y="292"/>
                    </a:lnTo>
                    <a:lnTo>
                      <a:pt x="125" y="289"/>
                    </a:lnTo>
                    <a:lnTo>
                      <a:pt x="133" y="287"/>
                    </a:lnTo>
                    <a:lnTo>
                      <a:pt x="138" y="285"/>
                    </a:lnTo>
                    <a:lnTo>
                      <a:pt x="138" y="269"/>
                    </a:lnTo>
                    <a:lnTo>
                      <a:pt x="142" y="264"/>
                    </a:lnTo>
                    <a:lnTo>
                      <a:pt x="152" y="262"/>
                    </a:lnTo>
                    <a:lnTo>
                      <a:pt x="157" y="258"/>
                    </a:lnTo>
                    <a:lnTo>
                      <a:pt x="159" y="250"/>
                    </a:lnTo>
                    <a:lnTo>
                      <a:pt x="159" y="244"/>
                    </a:lnTo>
                    <a:lnTo>
                      <a:pt x="161" y="239"/>
                    </a:lnTo>
                    <a:lnTo>
                      <a:pt x="163" y="235"/>
                    </a:lnTo>
                    <a:lnTo>
                      <a:pt x="173" y="225"/>
                    </a:lnTo>
                    <a:lnTo>
                      <a:pt x="184" y="185"/>
                    </a:lnTo>
                    <a:lnTo>
                      <a:pt x="192" y="185"/>
                    </a:lnTo>
                    <a:lnTo>
                      <a:pt x="196" y="168"/>
                    </a:lnTo>
                    <a:lnTo>
                      <a:pt x="198" y="150"/>
                    </a:lnTo>
                    <a:lnTo>
                      <a:pt x="204" y="135"/>
                    </a:lnTo>
                    <a:lnTo>
                      <a:pt x="209" y="121"/>
                    </a:lnTo>
                    <a:lnTo>
                      <a:pt x="219" y="110"/>
                    </a:lnTo>
                    <a:lnTo>
                      <a:pt x="227" y="100"/>
                    </a:lnTo>
                    <a:lnTo>
                      <a:pt x="227" y="85"/>
                    </a:lnTo>
                    <a:lnTo>
                      <a:pt x="234" y="81"/>
                    </a:lnTo>
                    <a:lnTo>
                      <a:pt x="234" y="58"/>
                    </a:lnTo>
                    <a:lnTo>
                      <a:pt x="242" y="50"/>
                    </a:lnTo>
                    <a:lnTo>
                      <a:pt x="242" y="41"/>
                    </a:lnTo>
                    <a:lnTo>
                      <a:pt x="244" y="23"/>
                    </a:lnTo>
                    <a:lnTo>
                      <a:pt x="246" y="12"/>
                    </a:lnTo>
                    <a:lnTo>
                      <a:pt x="242" y="0"/>
                    </a:lnTo>
                    <a:lnTo>
                      <a:pt x="234" y="0"/>
                    </a:lnTo>
                    <a:lnTo>
                      <a:pt x="227" y="4"/>
                    </a:lnTo>
                    <a:lnTo>
                      <a:pt x="219" y="12"/>
                    </a:lnTo>
                    <a:lnTo>
                      <a:pt x="211" y="16"/>
                    </a:lnTo>
                    <a:lnTo>
                      <a:pt x="190" y="18"/>
                    </a:lnTo>
                    <a:lnTo>
                      <a:pt x="171" y="18"/>
                    </a:lnTo>
                    <a:lnTo>
                      <a:pt x="154" y="23"/>
                    </a:lnTo>
                    <a:lnTo>
                      <a:pt x="148" y="27"/>
                    </a:lnTo>
                    <a:lnTo>
                      <a:pt x="142" y="35"/>
                    </a:lnTo>
                    <a:lnTo>
                      <a:pt x="134" y="39"/>
                    </a:lnTo>
                    <a:lnTo>
                      <a:pt x="108" y="35"/>
                    </a:lnTo>
                    <a:lnTo>
                      <a:pt x="92" y="35"/>
                    </a:lnTo>
                    <a:lnTo>
                      <a:pt x="77" y="43"/>
                    </a:lnTo>
                    <a:lnTo>
                      <a:pt x="69" y="39"/>
                    </a:lnTo>
                    <a:lnTo>
                      <a:pt x="63" y="31"/>
                    </a:lnTo>
                    <a:lnTo>
                      <a:pt x="56" y="2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4" name="Freeform 52"/>
              <p:cNvSpPr>
                <a:spLocks/>
              </p:cNvSpPr>
              <p:nvPr/>
            </p:nvSpPr>
            <p:spPr bwMode="gray">
              <a:xfrm>
                <a:off x="3194" y="2009"/>
                <a:ext cx="43" cy="39"/>
              </a:xfrm>
              <a:custGeom>
                <a:avLst/>
                <a:gdLst>
                  <a:gd name="T0" fmla="*/ 11 w 86"/>
                  <a:gd name="T1" fmla="*/ 65 h 79"/>
                  <a:gd name="T2" fmla="*/ 7 w 86"/>
                  <a:gd name="T3" fmla="*/ 69 h 79"/>
                  <a:gd name="T4" fmla="*/ 6 w 86"/>
                  <a:gd name="T5" fmla="*/ 75 h 79"/>
                  <a:gd name="T6" fmla="*/ 7 w 86"/>
                  <a:gd name="T7" fmla="*/ 79 h 79"/>
                  <a:gd name="T8" fmla="*/ 15 w 86"/>
                  <a:gd name="T9" fmla="*/ 77 h 79"/>
                  <a:gd name="T10" fmla="*/ 29 w 86"/>
                  <a:gd name="T11" fmla="*/ 75 h 79"/>
                  <a:gd name="T12" fmla="*/ 38 w 86"/>
                  <a:gd name="T13" fmla="*/ 69 h 79"/>
                  <a:gd name="T14" fmla="*/ 38 w 86"/>
                  <a:gd name="T15" fmla="*/ 54 h 79"/>
                  <a:gd name="T16" fmla="*/ 40 w 86"/>
                  <a:gd name="T17" fmla="*/ 52 h 79"/>
                  <a:gd name="T18" fmla="*/ 42 w 86"/>
                  <a:gd name="T19" fmla="*/ 55 h 79"/>
                  <a:gd name="T20" fmla="*/ 50 w 86"/>
                  <a:gd name="T21" fmla="*/ 59 h 79"/>
                  <a:gd name="T22" fmla="*/ 55 w 86"/>
                  <a:gd name="T23" fmla="*/ 55 h 79"/>
                  <a:gd name="T24" fmla="*/ 57 w 86"/>
                  <a:gd name="T25" fmla="*/ 46 h 79"/>
                  <a:gd name="T26" fmla="*/ 61 w 86"/>
                  <a:gd name="T27" fmla="*/ 36 h 79"/>
                  <a:gd name="T28" fmla="*/ 63 w 86"/>
                  <a:gd name="T29" fmla="*/ 30 h 79"/>
                  <a:gd name="T30" fmla="*/ 63 w 86"/>
                  <a:gd name="T31" fmla="*/ 29 h 79"/>
                  <a:gd name="T32" fmla="*/ 67 w 86"/>
                  <a:gd name="T33" fmla="*/ 30 h 79"/>
                  <a:gd name="T34" fmla="*/ 73 w 86"/>
                  <a:gd name="T35" fmla="*/ 30 h 79"/>
                  <a:gd name="T36" fmla="*/ 77 w 86"/>
                  <a:gd name="T37" fmla="*/ 29 h 79"/>
                  <a:gd name="T38" fmla="*/ 77 w 86"/>
                  <a:gd name="T39" fmla="*/ 25 h 79"/>
                  <a:gd name="T40" fmla="*/ 78 w 86"/>
                  <a:gd name="T41" fmla="*/ 21 h 79"/>
                  <a:gd name="T42" fmla="*/ 82 w 86"/>
                  <a:gd name="T43" fmla="*/ 19 h 79"/>
                  <a:gd name="T44" fmla="*/ 84 w 86"/>
                  <a:gd name="T45" fmla="*/ 19 h 79"/>
                  <a:gd name="T46" fmla="*/ 84 w 86"/>
                  <a:gd name="T47" fmla="*/ 17 h 79"/>
                  <a:gd name="T48" fmla="*/ 86 w 86"/>
                  <a:gd name="T49" fmla="*/ 15 h 79"/>
                  <a:gd name="T50" fmla="*/ 86 w 86"/>
                  <a:gd name="T51" fmla="*/ 9 h 79"/>
                  <a:gd name="T52" fmla="*/ 84 w 86"/>
                  <a:gd name="T53" fmla="*/ 4 h 79"/>
                  <a:gd name="T54" fmla="*/ 80 w 86"/>
                  <a:gd name="T55" fmla="*/ 0 h 79"/>
                  <a:gd name="T56" fmla="*/ 78 w 86"/>
                  <a:gd name="T57" fmla="*/ 0 h 79"/>
                  <a:gd name="T58" fmla="*/ 77 w 86"/>
                  <a:gd name="T59" fmla="*/ 2 h 79"/>
                  <a:gd name="T60" fmla="*/ 65 w 86"/>
                  <a:gd name="T61" fmla="*/ 6 h 79"/>
                  <a:gd name="T62" fmla="*/ 59 w 86"/>
                  <a:gd name="T63" fmla="*/ 4 h 79"/>
                  <a:gd name="T64" fmla="*/ 50 w 86"/>
                  <a:gd name="T65" fmla="*/ 4 h 79"/>
                  <a:gd name="T66" fmla="*/ 46 w 86"/>
                  <a:gd name="T67" fmla="*/ 6 h 79"/>
                  <a:gd name="T68" fmla="*/ 38 w 86"/>
                  <a:gd name="T69" fmla="*/ 13 h 79"/>
                  <a:gd name="T70" fmla="*/ 32 w 86"/>
                  <a:gd name="T71" fmla="*/ 15 h 79"/>
                  <a:gd name="T72" fmla="*/ 25 w 86"/>
                  <a:gd name="T73" fmla="*/ 15 h 79"/>
                  <a:gd name="T74" fmla="*/ 17 w 86"/>
                  <a:gd name="T75" fmla="*/ 13 h 79"/>
                  <a:gd name="T76" fmla="*/ 15 w 86"/>
                  <a:gd name="T77" fmla="*/ 13 h 79"/>
                  <a:gd name="T78" fmla="*/ 15 w 86"/>
                  <a:gd name="T79" fmla="*/ 17 h 79"/>
                  <a:gd name="T80" fmla="*/ 11 w 86"/>
                  <a:gd name="T81" fmla="*/ 21 h 79"/>
                  <a:gd name="T82" fmla="*/ 6 w 86"/>
                  <a:gd name="T83" fmla="*/ 21 h 79"/>
                  <a:gd name="T84" fmla="*/ 2 w 86"/>
                  <a:gd name="T85" fmla="*/ 25 h 79"/>
                  <a:gd name="T86" fmla="*/ 0 w 86"/>
                  <a:gd name="T87" fmla="*/ 32 h 79"/>
                  <a:gd name="T88" fmla="*/ 2 w 86"/>
                  <a:gd name="T89" fmla="*/ 36 h 79"/>
                  <a:gd name="T90" fmla="*/ 7 w 86"/>
                  <a:gd name="T91" fmla="*/ 38 h 79"/>
                  <a:gd name="T92" fmla="*/ 9 w 86"/>
                  <a:gd name="T93" fmla="*/ 42 h 79"/>
                  <a:gd name="T94" fmla="*/ 9 w 86"/>
                  <a:gd name="T95" fmla="*/ 48 h 79"/>
                  <a:gd name="T96" fmla="*/ 7 w 86"/>
                  <a:gd name="T97" fmla="*/ 59 h 79"/>
                  <a:gd name="T98" fmla="*/ 9 w 86"/>
                  <a:gd name="T99" fmla="*/ 63 h 79"/>
                  <a:gd name="T100" fmla="*/ 11 w 86"/>
                  <a:gd name="T101" fmla="*/ 65 h 7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6"/>
                  <a:gd name="T154" fmla="*/ 0 h 79"/>
                  <a:gd name="T155" fmla="*/ 86 w 86"/>
                  <a:gd name="T156" fmla="*/ 79 h 7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6" h="79">
                    <a:moveTo>
                      <a:pt x="11" y="65"/>
                    </a:moveTo>
                    <a:lnTo>
                      <a:pt x="7" y="69"/>
                    </a:lnTo>
                    <a:lnTo>
                      <a:pt x="6" y="75"/>
                    </a:lnTo>
                    <a:lnTo>
                      <a:pt x="7" y="79"/>
                    </a:lnTo>
                    <a:lnTo>
                      <a:pt x="15" y="77"/>
                    </a:lnTo>
                    <a:lnTo>
                      <a:pt x="29" y="75"/>
                    </a:lnTo>
                    <a:lnTo>
                      <a:pt x="38" y="69"/>
                    </a:lnTo>
                    <a:lnTo>
                      <a:pt x="38" y="54"/>
                    </a:lnTo>
                    <a:lnTo>
                      <a:pt x="40" y="52"/>
                    </a:lnTo>
                    <a:lnTo>
                      <a:pt x="42" y="55"/>
                    </a:lnTo>
                    <a:lnTo>
                      <a:pt x="50" y="59"/>
                    </a:lnTo>
                    <a:lnTo>
                      <a:pt x="55" y="55"/>
                    </a:lnTo>
                    <a:lnTo>
                      <a:pt x="57" y="46"/>
                    </a:lnTo>
                    <a:lnTo>
                      <a:pt x="61" y="36"/>
                    </a:lnTo>
                    <a:lnTo>
                      <a:pt x="63" y="30"/>
                    </a:lnTo>
                    <a:lnTo>
                      <a:pt x="63" y="29"/>
                    </a:lnTo>
                    <a:lnTo>
                      <a:pt x="67" y="30"/>
                    </a:lnTo>
                    <a:lnTo>
                      <a:pt x="73" y="30"/>
                    </a:lnTo>
                    <a:lnTo>
                      <a:pt x="77" y="29"/>
                    </a:lnTo>
                    <a:lnTo>
                      <a:pt x="77" y="25"/>
                    </a:lnTo>
                    <a:lnTo>
                      <a:pt x="78" y="21"/>
                    </a:lnTo>
                    <a:lnTo>
                      <a:pt x="82" y="19"/>
                    </a:lnTo>
                    <a:lnTo>
                      <a:pt x="84" y="19"/>
                    </a:lnTo>
                    <a:lnTo>
                      <a:pt x="84" y="17"/>
                    </a:lnTo>
                    <a:lnTo>
                      <a:pt x="86" y="15"/>
                    </a:lnTo>
                    <a:lnTo>
                      <a:pt x="86" y="9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78" y="0"/>
                    </a:lnTo>
                    <a:lnTo>
                      <a:pt x="77" y="2"/>
                    </a:lnTo>
                    <a:lnTo>
                      <a:pt x="65" y="6"/>
                    </a:lnTo>
                    <a:lnTo>
                      <a:pt x="59" y="4"/>
                    </a:lnTo>
                    <a:lnTo>
                      <a:pt x="50" y="4"/>
                    </a:lnTo>
                    <a:lnTo>
                      <a:pt x="46" y="6"/>
                    </a:lnTo>
                    <a:lnTo>
                      <a:pt x="38" y="13"/>
                    </a:lnTo>
                    <a:lnTo>
                      <a:pt x="32" y="15"/>
                    </a:lnTo>
                    <a:lnTo>
                      <a:pt x="25" y="15"/>
                    </a:lnTo>
                    <a:lnTo>
                      <a:pt x="17" y="13"/>
                    </a:lnTo>
                    <a:lnTo>
                      <a:pt x="15" y="13"/>
                    </a:lnTo>
                    <a:lnTo>
                      <a:pt x="15" y="17"/>
                    </a:lnTo>
                    <a:lnTo>
                      <a:pt x="11" y="21"/>
                    </a:lnTo>
                    <a:lnTo>
                      <a:pt x="6" y="21"/>
                    </a:lnTo>
                    <a:lnTo>
                      <a:pt x="2" y="25"/>
                    </a:lnTo>
                    <a:lnTo>
                      <a:pt x="0" y="32"/>
                    </a:lnTo>
                    <a:lnTo>
                      <a:pt x="2" y="36"/>
                    </a:lnTo>
                    <a:lnTo>
                      <a:pt x="7" y="38"/>
                    </a:lnTo>
                    <a:lnTo>
                      <a:pt x="9" y="42"/>
                    </a:lnTo>
                    <a:lnTo>
                      <a:pt x="9" y="48"/>
                    </a:lnTo>
                    <a:lnTo>
                      <a:pt x="7" y="59"/>
                    </a:lnTo>
                    <a:lnTo>
                      <a:pt x="9" y="63"/>
                    </a:lnTo>
                    <a:lnTo>
                      <a:pt x="11" y="6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5" name="Freeform 53"/>
              <p:cNvSpPr>
                <a:spLocks/>
              </p:cNvSpPr>
              <p:nvPr/>
            </p:nvSpPr>
            <p:spPr bwMode="gray">
              <a:xfrm>
                <a:off x="3239" y="1960"/>
                <a:ext cx="89" cy="37"/>
              </a:xfrm>
              <a:custGeom>
                <a:avLst/>
                <a:gdLst>
                  <a:gd name="T0" fmla="*/ 178 w 178"/>
                  <a:gd name="T1" fmla="*/ 44 h 75"/>
                  <a:gd name="T2" fmla="*/ 171 w 178"/>
                  <a:gd name="T3" fmla="*/ 46 h 75"/>
                  <a:gd name="T4" fmla="*/ 167 w 178"/>
                  <a:gd name="T5" fmla="*/ 59 h 75"/>
                  <a:gd name="T6" fmla="*/ 165 w 178"/>
                  <a:gd name="T7" fmla="*/ 59 h 75"/>
                  <a:gd name="T8" fmla="*/ 159 w 178"/>
                  <a:gd name="T9" fmla="*/ 57 h 75"/>
                  <a:gd name="T10" fmla="*/ 154 w 178"/>
                  <a:gd name="T11" fmla="*/ 54 h 75"/>
                  <a:gd name="T12" fmla="*/ 150 w 178"/>
                  <a:gd name="T13" fmla="*/ 52 h 75"/>
                  <a:gd name="T14" fmla="*/ 146 w 178"/>
                  <a:gd name="T15" fmla="*/ 54 h 75"/>
                  <a:gd name="T16" fmla="*/ 123 w 178"/>
                  <a:gd name="T17" fmla="*/ 54 h 75"/>
                  <a:gd name="T18" fmla="*/ 115 w 178"/>
                  <a:gd name="T19" fmla="*/ 55 h 75"/>
                  <a:gd name="T20" fmla="*/ 107 w 178"/>
                  <a:gd name="T21" fmla="*/ 59 h 75"/>
                  <a:gd name="T22" fmla="*/ 102 w 178"/>
                  <a:gd name="T23" fmla="*/ 65 h 75"/>
                  <a:gd name="T24" fmla="*/ 100 w 178"/>
                  <a:gd name="T25" fmla="*/ 65 h 75"/>
                  <a:gd name="T26" fmla="*/ 94 w 178"/>
                  <a:gd name="T27" fmla="*/ 61 h 75"/>
                  <a:gd name="T28" fmla="*/ 90 w 178"/>
                  <a:gd name="T29" fmla="*/ 57 h 75"/>
                  <a:gd name="T30" fmla="*/ 84 w 178"/>
                  <a:gd name="T31" fmla="*/ 59 h 75"/>
                  <a:gd name="T32" fmla="*/ 75 w 178"/>
                  <a:gd name="T33" fmla="*/ 63 h 75"/>
                  <a:gd name="T34" fmla="*/ 65 w 178"/>
                  <a:gd name="T35" fmla="*/ 65 h 75"/>
                  <a:gd name="T36" fmla="*/ 61 w 178"/>
                  <a:gd name="T37" fmla="*/ 65 h 75"/>
                  <a:gd name="T38" fmla="*/ 63 w 178"/>
                  <a:gd name="T39" fmla="*/ 75 h 75"/>
                  <a:gd name="T40" fmla="*/ 59 w 178"/>
                  <a:gd name="T41" fmla="*/ 75 h 75"/>
                  <a:gd name="T42" fmla="*/ 50 w 178"/>
                  <a:gd name="T43" fmla="*/ 73 h 75"/>
                  <a:gd name="T44" fmla="*/ 38 w 178"/>
                  <a:gd name="T45" fmla="*/ 71 h 75"/>
                  <a:gd name="T46" fmla="*/ 27 w 178"/>
                  <a:gd name="T47" fmla="*/ 71 h 75"/>
                  <a:gd name="T48" fmla="*/ 21 w 178"/>
                  <a:gd name="T49" fmla="*/ 69 h 75"/>
                  <a:gd name="T50" fmla="*/ 13 w 178"/>
                  <a:gd name="T51" fmla="*/ 65 h 75"/>
                  <a:gd name="T52" fmla="*/ 12 w 178"/>
                  <a:gd name="T53" fmla="*/ 63 h 75"/>
                  <a:gd name="T54" fmla="*/ 6 w 178"/>
                  <a:gd name="T55" fmla="*/ 52 h 75"/>
                  <a:gd name="T56" fmla="*/ 0 w 178"/>
                  <a:gd name="T57" fmla="*/ 48 h 75"/>
                  <a:gd name="T58" fmla="*/ 2 w 178"/>
                  <a:gd name="T59" fmla="*/ 40 h 75"/>
                  <a:gd name="T60" fmla="*/ 6 w 178"/>
                  <a:gd name="T61" fmla="*/ 38 h 75"/>
                  <a:gd name="T62" fmla="*/ 6 w 178"/>
                  <a:gd name="T63" fmla="*/ 34 h 75"/>
                  <a:gd name="T64" fmla="*/ 10 w 178"/>
                  <a:gd name="T65" fmla="*/ 29 h 75"/>
                  <a:gd name="T66" fmla="*/ 15 w 178"/>
                  <a:gd name="T67" fmla="*/ 25 h 75"/>
                  <a:gd name="T68" fmla="*/ 19 w 178"/>
                  <a:gd name="T69" fmla="*/ 23 h 75"/>
                  <a:gd name="T70" fmla="*/ 21 w 178"/>
                  <a:gd name="T71" fmla="*/ 17 h 75"/>
                  <a:gd name="T72" fmla="*/ 23 w 178"/>
                  <a:gd name="T73" fmla="*/ 13 h 75"/>
                  <a:gd name="T74" fmla="*/ 35 w 178"/>
                  <a:gd name="T75" fmla="*/ 9 h 75"/>
                  <a:gd name="T76" fmla="*/ 36 w 178"/>
                  <a:gd name="T77" fmla="*/ 7 h 75"/>
                  <a:gd name="T78" fmla="*/ 38 w 178"/>
                  <a:gd name="T79" fmla="*/ 9 h 75"/>
                  <a:gd name="T80" fmla="*/ 46 w 178"/>
                  <a:gd name="T81" fmla="*/ 9 h 75"/>
                  <a:gd name="T82" fmla="*/ 52 w 178"/>
                  <a:gd name="T83" fmla="*/ 7 h 75"/>
                  <a:gd name="T84" fmla="*/ 56 w 178"/>
                  <a:gd name="T85" fmla="*/ 7 h 75"/>
                  <a:gd name="T86" fmla="*/ 67 w 178"/>
                  <a:gd name="T87" fmla="*/ 11 h 75"/>
                  <a:gd name="T88" fmla="*/ 71 w 178"/>
                  <a:gd name="T89" fmla="*/ 15 h 75"/>
                  <a:gd name="T90" fmla="*/ 83 w 178"/>
                  <a:gd name="T91" fmla="*/ 21 h 75"/>
                  <a:gd name="T92" fmla="*/ 88 w 178"/>
                  <a:gd name="T93" fmla="*/ 21 h 75"/>
                  <a:gd name="T94" fmla="*/ 94 w 178"/>
                  <a:gd name="T95" fmla="*/ 17 h 75"/>
                  <a:gd name="T96" fmla="*/ 96 w 178"/>
                  <a:gd name="T97" fmla="*/ 13 h 75"/>
                  <a:gd name="T98" fmla="*/ 102 w 178"/>
                  <a:gd name="T99" fmla="*/ 11 h 75"/>
                  <a:gd name="T100" fmla="*/ 109 w 178"/>
                  <a:gd name="T101" fmla="*/ 11 h 75"/>
                  <a:gd name="T102" fmla="*/ 125 w 178"/>
                  <a:gd name="T103" fmla="*/ 0 h 75"/>
                  <a:gd name="T104" fmla="*/ 132 w 178"/>
                  <a:gd name="T105" fmla="*/ 0 h 75"/>
                  <a:gd name="T106" fmla="*/ 138 w 178"/>
                  <a:gd name="T107" fmla="*/ 5 h 75"/>
                  <a:gd name="T108" fmla="*/ 144 w 178"/>
                  <a:gd name="T109" fmla="*/ 9 h 75"/>
                  <a:gd name="T110" fmla="*/ 150 w 178"/>
                  <a:gd name="T111" fmla="*/ 9 h 75"/>
                  <a:gd name="T112" fmla="*/ 154 w 178"/>
                  <a:gd name="T113" fmla="*/ 11 h 75"/>
                  <a:gd name="T114" fmla="*/ 157 w 178"/>
                  <a:gd name="T115" fmla="*/ 15 h 75"/>
                  <a:gd name="T116" fmla="*/ 161 w 178"/>
                  <a:gd name="T117" fmla="*/ 21 h 75"/>
                  <a:gd name="T118" fmla="*/ 165 w 178"/>
                  <a:gd name="T119" fmla="*/ 23 h 75"/>
                  <a:gd name="T120" fmla="*/ 173 w 178"/>
                  <a:gd name="T121" fmla="*/ 38 h 75"/>
                  <a:gd name="T122" fmla="*/ 178 w 178"/>
                  <a:gd name="T123" fmla="*/ 44 h 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78"/>
                  <a:gd name="T187" fmla="*/ 0 h 75"/>
                  <a:gd name="T188" fmla="*/ 178 w 178"/>
                  <a:gd name="T189" fmla="*/ 75 h 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78" h="75">
                    <a:moveTo>
                      <a:pt x="178" y="44"/>
                    </a:moveTo>
                    <a:lnTo>
                      <a:pt x="171" y="46"/>
                    </a:lnTo>
                    <a:lnTo>
                      <a:pt x="167" y="59"/>
                    </a:lnTo>
                    <a:lnTo>
                      <a:pt x="165" y="59"/>
                    </a:lnTo>
                    <a:lnTo>
                      <a:pt x="159" y="57"/>
                    </a:lnTo>
                    <a:lnTo>
                      <a:pt x="154" y="54"/>
                    </a:lnTo>
                    <a:lnTo>
                      <a:pt x="150" y="52"/>
                    </a:lnTo>
                    <a:lnTo>
                      <a:pt x="146" y="54"/>
                    </a:lnTo>
                    <a:lnTo>
                      <a:pt x="123" y="54"/>
                    </a:lnTo>
                    <a:lnTo>
                      <a:pt x="115" y="55"/>
                    </a:lnTo>
                    <a:lnTo>
                      <a:pt x="107" y="59"/>
                    </a:lnTo>
                    <a:lnTo>
                      <a:pt x="102" y="65"/>
                    </a:lnTo>
                    <a:lnTo>
                      <a:pt x="100" y="65"/>
                    </a:lnTo>
                    <a:lnTo>
                      <a:pt x="94" y="61"/>
                    </a:lnTo>
                    <a:lnTo>
                      <a:pt x="90" y="57"/>
                    </a:lnTo>
                    <a:lnTo>
                      <a:pt x="84" y="59"/>
                    </a:lnTo>
                    <a:lnTo>
                      <a:pt x="75" y="63"/>
                    </a:lnTo>
                    <a:lnTo>
                      <a:pt x="65" y="65"/>
                    </a:lnTo>
                    <a:lnTo>
                      <a:pt x="61" y="65"/>
                    </a:lnTo>
                    <a:lnTo>
                      <a:pt x="63" y="75"/>
                    </a:lnTo>
                    <a:lnTo>
                      <a:pt x="59" y="75"/>
                    </a:lnTo>
                    <a:lnTo>
                      <a:pt x="50" y="73"/>
                    </a:lnTo>
                    <a:lnTo>
                      <a:pt x="38" y="71"/>
                    </a:lnTo>
                    <a:lnTo>
                      <a:pt x="27" y="71"/>
                    </a:lnTo>
                    <a:lnTo>
                      <a:pt x="21" y="69"/>
                    </a:lnTo>
                    <a:lnTo>
                      <a:pt x="13" y="65"/>
                    </a:lnTo>
                    <a:lnTo>
                      <a:pt x="12" y="63"/>
                    </a:lnTo>
                    <a:lnTo>
                      <a:pt x="6" y="52"/>
                    </a:lnTo>
                    <a:lnTo>
                      <a:pt x="0" y="48"/>
                    </a:lnTo>
                    <a:lnTo>
                      <a:pt x="2" y="40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29"/>
                    </a:lnTo>
                    <a:lnTo>
                      <a:pt x="15" y="25"/>
                    </a:lnTo>
                    <a:lnTo>
                      <a:pt x="19" y="23"/>
                    </a:lnTo>
                    <a:lnTo>
                      <a:pt x="21" y="17"/>
                    </a:lnTo>
                    <a:lnTo>
                      <a:pt x="23" y="13"/>
                    </a:lnTo>
                    <a:lnTo>
                      <a:pt x="35" y="9"/>
                    </a:lnTo>
                    <a:lnTo>
                      <a:pt x="36" y="7"/>
                    </a:lnTo>
                    <a:lnTo>
                      <a:pt x="38" y="9"/>
                    </a:lnTo>
                    <a:lnTo>
                      <a:pt x="46" y="9"/>
                    </a:lnTo>
                    <a:lnTo>
                      <a:pt x="52" y="7"/>
                    </a:lnTo>
                    <a:lnTo>
                      <a:pt x="56" y="7"/>
                    </a:lnTo>
                    <a:lnTo>
                      <a:pt x="67" y="11"/>
                    </a:lnTo>
                    <a:lnTo>
                      <a:pt x="71" y="15"/>
                    </a:lnTo>
                    <a:lnTo>
                      <a:pt x="83" y="21"/>
                    </a:lnTo>
                    <a:lnTo>
                      <a:pt x="88" y="21"/>
                    </a:lnTo>
                    <a:lnTo>
                      <a:pt x="94" y="17"/>
                    </a:lnTo>
                    <a:lnTo>
                      <a:pt x="96" y="13"/>
                    </a:lnTo>
                    <a:lnTo>
                      <a:pt x="102" y="11"/>
                    </a:lnTo>
                    <a:lnTo>
                      <a:pt x="109" y="11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38" y="5"/>
                    </a:lnTo>
                    <a:lnTo>
                      <a:pt x="144" y="9"/>
                    </a:lnTo>
                    <a:lnTo>
                      <a:pt x="150" y="9"/>
                    </a:lnTo>
                    <a:lnTo>
                      <a:pt x="154" y="11"/>
                    </a:lnTo>
                    <a:lnTo>
                      <a:pt x="157" y="15"/>
                    </a:lnTo>
                    <a:lnTo>
                      <a:pt x="161" y="21"/>
                    </a:lnTo>
                    <a:lnTo>
                      <a:pt x="165" y="23"/>
                    </a:lnTo>
                    <a:lnTo>
                      <a:pt x="173" y="38"/>
                    </a:lnTo>
                    <a:lnTo>
                      <a:pt x="178" y="4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6" name="Freeform 54"/>
              <p:cNvSpPr>
                <a:spLocks/>
              </p:cNvSpPr>
              <p:nvPr/>
            </p:nvSpPr>
            <p:spPr bwMode="gray">
              <a:xfrm>
                <a:off x="4314" y="2753"/>
                <a:ext cx="13" cy="3"/>
              </a:xfrm>
              <a:custGeom>
                <a:avLst/>
                <a:gdLst>
                  <a:gd name="T0" fmla="*/ 0 w 27"/>
                  <a:gd name="T1" fmla="*/ 8 h 8"/>
                  <a:gd name="T2" fmla="*/ 11 w 27"/>
                  <a:gd name="T3" fmla="*/ 0 h 8"/>
                  <a:gd name="T4" fmla="*/ 27 w 27"/>
                  <a:gd name="T5" fmla="*/ 4 h 8"/>
                  <a:gd name="T6" fmla="*/ 25 w 27"/>
                  <a:gd name="T7" fmla="*/ 6 h 8"/>
                  <a:gd name="T8" fmla="*/ 19 w 27"/>
                  <a:gd name="T9" fmla="*/ 8 h 8"/>
                  <a:gd name="T10" fmla="*/ 0 w 27"/>
                  <a:gd name="T11" fmla="*/ 8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8"/>
                  <a:gd name="T20" fmla="*/ 27 w 27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8">
                    <a:moveTo>
                      <a:pt x="0" y="8"/>
                    </a:moveTo>
                    <a:lnTo>
                      <a:pt x="11" y="0"/>
                    </a:lnTo>
                    <a:lnTo>
                      <a:pt x="27" y="4"/>
                    </a:lnTo>
                    <a:lnTo>
                      <a:pt x="25" y="6"/>
                    </a:lnTo>
                    <a:lnTo>
                      <a:pt x="19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7" name="Freeform 55"/>
              <p:cNvSpPr>
                <a:spLocks/>
              </p:cNvSpPr>
              <p:nvPr/>
            </p:nvSpPr>
            <p:spPr bwMode="gray">
              <a:xfrm>
                <a:off x="2860" y="2621"/>
                <a:ext cx="42" cy="56"/>
              </a:xfrm>
              <a:custGeom>
                <a:avLst/>
                <a:gdLst>
                  <a:gd name="T0" fmla="*/ 0 w 84"/>
                  <a:gd name="T1" fmla="*/ 40 h 111"/>
                  <a:gd name="T2" fmla="*/ 4 w 84"/>
                  <a:gd name="T3" fmla="*/ 58 h 111"/>
                  <a:gd name="T4" fmla="*/ 8 w 84"/>
                  <a:gd name="T5" fmla="*/ 73 h 111"/>
                  <a:gd name="T6" fmla="*/ 15 w 84"/>
                  <a:gd name="T7" fmla="*/ 84 h 111"/>
                  <a:gd name="T8" fmla="*/ 15 w 84"/>
                  <a:gd name="T9" fmla="*/ 86 h 111"/>
                  <a:gd name="T10" fmla="*/ 11 w 84"/>
                  <a:gd name="T11" fmla="*/ 88 h 111"/>
                  <a:gd name="T12" fmla="*/ 11 w 84"/>
                  <a:gd name="T13" fmla="*/ 92 h 111"/>
                  <a:gd name="T14" fmla="*/ 13 w 84"/>
                  <a:gd name="T15" fmla="*/ 94 h 111"/>
                  <a:gd name="T16" fmla="*/ 15 w 84"/>
                  <a:gd name="T17" fmla="*/ 90 h 111"/>
                  <a:gd name="T18" fmla="*/ 15 w 84"/>
                  <a:gd name="T19" fmla="*/ 88 h 111"/>
                  <a:gd name="T20" fmla="*/ 19 w 84"/>
                  <a:gd name="T21" fmla="*/ 96 h 111"/>
                  <a:gd name="T22" fmla="*/ 27 w 84"/>
                  <a:gd name="T23" fmla="*/ 106 h 111"/>
                  <a:gd name="T24" fmla="*/ 34 w 84"/>
                  <a:gd name="T25" fmla="*/ 111 h 111"/>
                  <a:gd name="T26" fmla="*/ 38 w 84"/>
                  <a:gd name="T27" fmla="*/ 111 h 111"/>
                  <a:gd name="T28" fmla="*/ 42 w 84"/>
                  <a:gd name="T29" fmla="*/ 109 h 111"/>
                  <a:gd name="T30" fmla="*/ 46 w 84"/>
                  <a:gd name="T31" fmla="*/ 111 h 111"/>
                  <a:gd name="T32" fmla="*/ 48 w 84"/>
                  <a:gd name="T33" fmla="*/ 111 h 111"/>
                  <a:gd name="T34" fmla="*/ 48 w 84"/>
                  <a:gd name="T35" fmla="*/ 107 h 111"/>
                  <a:gd name="T36" fmla="*/ 54 w 84"/>
                  <a:gd name="T37" fmla="*/ 100 h 111"/>
                  <a:gd name="T38" fmla="*/ 59 w 84"/>
                  <a:gd name="T39" fmla="*/ 90 h 111"/>
                  <a:gd name="T40" fmla="*/ 63 w 84"/>
                  <a:gd name="T41" fmla="*/ 81 h 111"/>
                  <a:gd name="T42" fmla="*/ 71 w 84"/>
                  <a:gd name="T43" fmla="*/ 73 h 111"/>
                  <a:gd name="T44" fmla="*/ 71 w 84"/>
                  <a:gd name="T45" fmla="*/ 71 h 111"/>
                  <a:gd name="T46" fmla="*/ 75 w 84"/>
                  <a:gd name="T47" fmla="*/ 67 h 111"/>
                  <a:gd name="T48" fmla="*/ 80 w 84"/>
                  <a:gd name="T49" fmla="*/ 63 h 111"/>
                  <a:gd name="T50" fmla="*/ 84 w 84"/>
                  <a:gd name="T51" fmla="*/ 59 h 111"/>
                  <a:gd name="T52" fmla="*/ 84 w 84"/>
                  <a:gd name="T53" fmla="*/ 54 h 111"/>
                  <a:gd name="T54" fmla="*/ 75 w 84"/>
                  <a:gd name="T55" fmla="*/ 56 h 111"/>
                  <a:gd name="T56" fmla="*/ 75 w 84"/>
                  <a:gd name="T57" fmla="*/ 54 h 111"/>
                  <a:gd name="T58" fmla="*/ 79 w 84"/>
                  <a:gd name="T59" fmla="*/ 46 h 111"/>
                  <a:gd name="T60" fmla="*/ 79 w 84"/>
                  <a:gd name="T61" fmla="*/ 40 h 111"/>
                  <a:gd name="T62" fmla="*/ 73 w 84"/>
                  <a:gd name="T63" fmla="*/ 29 h 111"/>
                  <a:gd name="T64" fmla="*/ 69 w 84"/>
                  <a:gd name="T65" fmla="*/ 23 h 111"/>
                  <a:gd name="T66" fmla="*/ 67 w 84"/>
                  <a:gd name="T67" fmla="*/ 21 h 111"/>
                  <a:gd name="T68" fmla="*/ 65 w 84"/>
                  <a:gd name="T69" fmla="*/ 17 h 111"/>
                  <a:gd name="T70" fmla="*/ 63 w 84"/>
                  <a:gd name="T71" fmla="*/ 9 h 111"/>
                  <a:gd name="T72" fmla="*/ 61 w 84"/>
                  <a:gd name="T73" fmla="*/ 6 h 111"/>
                  <a:gd name="T74" fmla="*/ 57 w 84"/>
                  <a:gd name="T75" fmla="*/ 4 h 111"/>
                  <a:gd name="T76" fmla="*/ 54 w 84"/>
                  <a:gd name="T77" fmla="*/ 4 h 111"/>
                  <a:gd name="T78" fmla="*/ 50 w 84"/>
                  <a:gd name="T79" fmla="*/ 6 h 111"/>
                  <a:gd name="T80" fmla="*/ 42 w 84"/>
                  <a:gd name="T81" fmla="*/ 4 h 111"/>
                  <a:gd name="T82" fmla="*/ 34 w 84"/>
                  <a:gd name="T83" fmla="*/ 0 h 111"/>
                  <a:gd name="T84" fmla="*/ 29 w 84"/>
                  <a:gd name="T85" fmla="*/ 0 h 111"/>
                  <a:gd name="T86" fmla="*/ 25 w 84"/>
                  <a:gd name="T87" fmla="*/ 6 h 111"/>
                  <a:gd name="T88" fmla="*/ 21 w 84"/>
                  <a:gd name="T89" fmla="*/ 21 h 111"/>
                  <a:gd name="T90" fmla="*/ 13 w 84"/>
                  <a:gd name="T91" fmla="*/ 29 h 111"/>
                  <a:gd name="T92" fmla="*/ 13 w 84"/>
                  <a:gd name="T93" fmla="*/ 33 h 111"/>
                  <a:gd name="T94" fmla="*/ 9 w 84"/>
                  <a:gd name="T95" fmla="*/ 34 h 111"/>
                  <a:gd name="T96" fmla="*/ 4 w 84"/>
                  <a:gd name="T97" fmla="*/ 36 h 111"/>
                  <a:gd name="T98" fmla="*/ 0 w 84"/>
                  <a:gd name="T99" fmla="*/ 40 h 111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84"/>
                  <a:gd name="T151" fmla="*/ 0 h 111"/>
                  <a:gd name="T152" fmla="*/ 84 w 84"/>
                  <a:gd name="T153" fmla="*/ 111 h 111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84" h="111">
                    <a:moveTo>
                      <a:pt x="0" y="40"/>
                    </a:moveTo>
                    <a:lnTo>
                      <a:pt x="4" y="58"/>
                    </a:lnTo>
                    <a:lnTo>
                      <a:pt x="8" y="73"/>
                    </a:lnTo>
                    <a:lnTo>
                      <a:pt x="15" y="84"/>
                    </a:lnTo>
                    <a:lnTo>
                      <a:pt x="15" y="86"/>
                    </a:lnTo>
                    <a:lnTo>
                      <a:pt x="11" y="88"/>
                    </a:lnTo>
                    <a:lnTo>
                      <a:pt x="11" y="92"/>
                    </a:lnTo>
                    <a:lnTo>
                      <a:pt x="13" y="94"/>
                    </a:lnTo>
                    <a:lnTo>
                      <a:pt x="15" y="90"/>
                    </a:lnTo>
                    <a:lnTo>
                      <a:pt x="15" y="88"/>
                    </a:lnTo>
                    <a:lnTo>
                      <a:pt x="19" y="96"/>
                    </a:lnTo>
                    <a:lnTo>
                      <a:pt x="27" y="106"/>
                    </a:lnTo>
                    <a:lnTo>
                      <a:pt x="34" y="111"/>
                    </a:lnTo>
                    <a:lnTo>
                      <a:pt x="38" y="111"/>
                    </a:lnTo>
                    <a:lnTo>
                      <a:pt x="42" y="109"/>
                    </a:lnTo>
                    <a:lnTo>
                      <a:pt x="46" y="111"/>
                    </a:lnTo>
                    <a:lnTo>
                      <a:pt x="48" y="111"/>
                    </a:lnTo>
                    <a:lnTo>
                      <a:pt x="48" y="107"/>
                    </a:lnTo>
                    <a:lnTo>
                      <a:pt x="54" y="100"/>
                    </a:lnTo>
                    <a:lnTo>
                      <a:pt x="59" y="90"/>
                    </a:lnTo>
                    <a:lnTo>
                      <a:pt x="63" y="81"/>
                    </a:lnTo>
                    <a:lnTo>
                      <a:pt x="71" y="73"/>
                    </a:lnTo>
                    <a:lnTo>
                      <a:pt x="71" y="71"/>
                    </a:lnTo>
                    <a:lnTo>
                      <a:pt x="75" y="67"/>
                    </a:lnTo>
                    <a:lnTo>
                      <a:pt x="80" y="63"/>
                    </a:lnTo>
                    <a:lnTo>
                      <a:pt x="84" y="59"/>
                    </a:lnTo>
                    <a:lnTo>
                      <a:pt x="84" y="54"/>
                    </a:lnTo>
                    <a:lnTo>
                      <a:pt x="75" y="56"/>
                    </a:lnTo>
                    <a:lnTo>
                      <a:pt x="75" y="54"/>
                    </a:lnTo>
                    <a:lnTo>
                      <a:pt x="79" y="46"/>
                    </a:lnTo>
                    <a:lnTo>
                      <a:pt x="79" y="40"/>
                    </a:lnTo>
                    <a:lnTo>
                      <a:pt x="73" y="29"/>
                    </a:lnTo>
                    <a:lnTo>
                      <a:pt x="69" y="23"/>
                    </a:lnTo>
                    <a:lnTo>
                      <a:pt x="67" y="21"/>
                    </a:lnTo>
                    <a:lnTo>
                      <a:pt x="65" y="17"/>
                    </a:lnTo>
                    <a:lnTo>
                      <a:pt x="63" y="9"/>
                    </a:lnTo>
                    <a:lnTo>
                      <a:pt x="61" y="6"/>
                    </a:lnTo>
                    <a:lnTo>
                      <a:pt x="57" y="4"/>
                    </a:lnTo>
                    <a:lnTo>
                      <a:pt x="54" y="4"/>
                    </a:lnTo>
                    <a:lnTo>
                      <a:pt x="50" y="6"/>
                    </a:lnTo>
                    <a:lnTo>
                      <a:pt x="42" y="4"/>
                    </a:lnTo>
                    <a:lnTo>
                      <a:pt x="34" y="0"/>
                    </a:lnTo>
                    <a:lnTo>
                      <a:pt x="29" y="0"/>
                    </a:lnTo>
                    <a:lnTo>
                      <a:pt x="25" y="6"/>
                    </a:lnTo>
                    <a:lnTo>
                      <a:pt x="21" y="21"/>
                    </a:lnTo>
                    <a:lnTo>
                      <a:pt x="13" y="29"/>
                    </a:lnTo>
                    <a:lnTo>
                      <a:pt x="13" y="33"/>
                    </a:lnTo>
                    <a:lnTo>
                      <a:pt x="9" y="34"/>
                    </a:lnTo>
                    <a:lnTo>
                      <a:pt x="4" y="36"/>
                    </a:lnTo>
                    <a:lnTo>
                      <a:pt x="0" y="4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8" name="Freeform 56"/>
              <p:cNvSpPr>
                <a:spLocks/>
              </p:cNvSpPr>
              <p:nvPr/>
            </p:nvSpPr>
            <p:spPr bwMode="gray">
              <a:xfrm>
                <a:off x="2812" y="2514"/>
                <a:ext cx="73" cy="74"/>
              </a:xfrm>
              <a:custGeom>
                <a:avLst/>
                <a:gdLst>
                  <a:gd name="T0" fmla="*/ 36 w 146"/>
                  <a:gd name="T1" fmla="*/ 144 h 148"/>
                  <a:gd name="T2" fmla="*/ 77 w 146"/>
                  <a:gd name="T3" fmla="*/ 134 h 148"/>
                  <a:gd name="T4" fmla="*/ 96 w 146"/>
                  <a:gd name="T5" fmla="*/ 138 h 148"/>
                  <a:gd name="T6" fmla="*/ 111 w 146"/>
                  <a:gd name="T7" fmla="*/ 136 h 148"/>
                  <a:gd name="T8" fmla="*/ 121 w 146"/>
                  <a:gd name="T9" fmla="*/ 140 h 148"/>
                  <a:gd name="T10" fmla="*/ 140 w 146"/>
                  <a:gd name="T11" fmla="*/ 140 h 148"/>
                  <a:gd name="T12" fmla="*/ 144 w 146"/>
                  <a:gd name="T13" fmla="*/ 134 h 148"/>
                  <a:gd name="T14" fmla="*/ 134 w 146"/>
                  <a:gd name="T15" fmla="*/ 109 h 148"/>
                  <a:gd name="T16" fmla="*/ 130 w 146"/>
                  <a:gd name="T17" fmla="*/ 99 h 148"/>
                  <a:gd name="T18" fmla="*/ 136 w 146"/>
                  <a:gd name="T19" fmla="*/ 84 h 148"/>
                  <a:gd name="T20" fmla="*/ 132 w 146"/>
                  <a:gd name="T21" fmla="*/ 75 h 148"/>
                  <a:gd name="T22" fmla="*/ 134 w 146"/>
                  <a:gd name="T23" fmla="*/ 63 h 148"/>
                  <a:gd name="T24" fmla="*/ 130 w 146"/>
                  <a:gd name="T25" fmla="*/ 57 h 148"/>
                  <a:gd name="T26" fmla="*/ 123 w 146"/>
                  <a:gd name="T27" fmla="*/ 51 h 148"/>
                  <a:gd name="T28" fmla="*/ 113 w 146"/>
                  <a:gd name="T29" fmla="*/ 48 h 148"/>
                  <a:gd name="T30" fmla="*/ 111 w 146"/>
                  <a:gd name="T31" fmla="*/ 34 h 148"/>
                  <a:gd name="T32" fmla="*/ 98 w 146"/>
                  <a:gd name="T33" fmla="*/ 30 h 148"/>
                  <a:gd name="T34" fmla="*/ 96 w 146"/>
                  <a:gd name="T35" fmla="*/ 19 h 148"/>
                  <a:gd name="T36" fmla="*/ 88 w 146"/>
                  <a:gd name="T37" fmla="*/ 11 h 148"/>
                  <a:gd name="T38" fmla="*/ 82 w 146"/>
                  <a:gd name="T39" fmla="*/ 3 h 148"/>
                  <a:gd name="T40" fmla="*/ 50 w 146"/>
                  <a:gd name="T41" fmla="*/ 1 h 148"/>
                  <a:gd name="T42" fmla="*/ 44 w 146"/>
                  <a:gd name="T43" fmla="*/ 3 h 148"/>
                  <a:gd name="T44" fmla="*/ 33 w 146"/>
                  <a:gd name="T45" fmla="*/ 11 h 148"/>
                  <a:gd name="T46" fmla="*/ 29 w 146"/>
                  <a:gd name="T47" fmla="*/ 17 h 148"/>
                  <a:gd name="T48" fmla="*/ 27 w 146"/>
                  <a:gd name="T49" fmla="*/ 25 h 148"/>
                  <a:gd name="T50" fmla="*/ 19 w 146"/>
                  <a:gd name="T51" fmla="*/ 38 h 148"/>
                  <a:gd name="T52" fmla="*/ 15 w 146"/>
                  <a:gd name="T53" fmla="*/ 63 h 148"/>
                  <a:gd name="T54" fmla="*/ 4 w 146"/>
                  <a:gd name="T55" fmla="*/ 75 h 148"/>
                  <a:gd name="T56" fmla="*/ 0 w 146"/>
                  <a:gd name="T57" fmla="*/ 88 h 148"/>
                  <a:gd name="T58" fmla="*/ 13 w 146"/>
                  <a:gd name="T59" fmla="*/ 109 h 148"/>
                  <a:gd name="T60" fmla="*/ 21 w 146"/>
                  <a:gd name="T61" fmla="*/ 105 h 148"/>
                  <a:gd name="T62" fmla="*/ 42 w 146"/>
                  <a:gd name="T63" fmla="*/ 103 h 148"/>
                  <a:gd name="T64" fmla="*/ 50 w 146"/>
                  <a:gd name="T65" fmla="*/ 101 h 148"/>
                  <a:gd name="T66" fmla="*/ 65 w 146"/>
                  <a:gd name="T67" fmla="*/ 103 h 148"/>
                  <a:gd name="T68" fmla="*/ 98 w 146"/>
                  <a:gd name="T69" fmla="*/ 101 h 148"/>
                  <a:gd name="T70" fmla="*/ 98 w 146"/>
                  <a:gd name="T71" fmla="*/ 111 h 148"/>
                  <a:gd name="T72" fmla="*/ 88 w 146"/>
                  <a:gd name="T73" fmla="*/ 117 h 148"/>
                  <a:gd name="T74" fmla="*/ 42 w 146"/>
                  <a:gd name="T75" fmla="*/ 119 h 148"/>
                  <a:gd name="T76" fmla="*/ 40 w 146"/>
                  <a:gd name="T77" fmla="*/ 124 h 148"/>
                  <a:gd name="T78" fmla="*/ 13 w 146"/>
                  <a:gd name="T79" fmla="*/ 132 h 14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46"/>
                  <a:gd name="T121" fmla="*/ 0 h 148"/>
                  <a:gd name="T122" fmla="*/ 146 w 146"/>
                  <a:gd name="T123" fmla="*/ 148 h 14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46" h="148">
                    <a:moveTo>
                      <a:pt x="21" y="148"/>
                    </a:moveTo>
                    <a:lnTo>
                      <a:pt x="36" y="144"/>
                    </a:lnTo>
                    <a:lnTo>
                      <a:pt x="50" y="134"/>
                    </a:lnTo>
                    <a:lnTo>
                      <a:pt x="77" y="134"/>
                    </a:lnTo>
                    <a:lnTo>
                      <a:pt x="88" y="136"/>
                    </a:lnTo>
                    <a:lnTo>
                      <a:pt x="96" y="138"/>
                    </a:lnTo>
                    <a:lnTo>
                      <a:pt x="105" y="138"/>
                    </a:lnTo>
                    <a:lnTo>
                      <a:pt x="111" y="136"/>
                    </a:lnTo>
                    <a:lnTo>
                      <a:pt x="117" y="138"/>
                    </a:lnTo>
                    <a:lnTo>
                      <a:pt x="121" y="140"/>
                    </a:lnTo>
                    <a:lnTo>
                      <a:pt x="130" y="142"/>
                    </a:lnTo>
                    <a:lnTo>
                      <a:pt x="140" y="140"/>
                    </a:lnTo>
                    <a:lnTo>
                      <a:pt x="146" y="138"/>
                    </a:lnTo>
                    <a:lnTo>
                      <a:pt x="144" y="134"/>
                    </a:lnTo>
                    <a:lnTo>
                      <a:pt x="144" y="119"/>
                    </a:lnTo>
                    <a:lnTo>
                      <a:pt x="134" y="109"/>
                    </a:lnTo>
                    <a:lnTo>
                      <a:pt x="130" y="101"/>
                    </a:lnTo>
                    <a:lnTo>
                      <a:pt x="130" y="99"/>
                    </a:lnTo>
                    <a:lnTo>
                      <a:pt x="132" y="94"/>
                    </a:lnTo>
                    <a:lnTo>
                      <a:pt x="136" y="84"/>
                    </a:lnTo>
                    <a:lnTo>
                      <a:pt x="134" y="78"/>
                    </a:lnTo>
                    <a:lnTo>
                      <a:pt x="132" y="75"/>
                    </a:lnTo>
                    <a:lnTo>
                      <a:pt x="132" y="67"/>
                    </a:lnTo>
                    <a:lnTo>
                      <a:pt x="134" y="63"/>
                    </a:lnTo>
                    <a:lnTo>
                      <a:pt x="132" y="61"/>
                    </a:lnTo>
                    <a:lnTo>
                      <a:pt x="130" y="57"/>
                    </a:lnTo>
                    <a:lnTo>
                      <a:pt x="127" y="53"/>
                    </a:lnTo>
                    <a:lnTo>
                      <a:pt x="123" y="51"/>
                    </a:lnTo>
                    <a:lnTo>
                      <a:pt x="117" y="51"/>
                    </a:lnTo>
                    <a:lnTo>
                      <a:pt x="113" y="48"/>
                    </a:lnTo>
                    <a:lnTo>
                      <a:pt x="113" y="40"/>
                    </a:lnTo>
                    <a:lnTo>
                      <a:pt x="111" y="34"/>
                    </a:lnTo>
                    <a:lnTo>
                      <a:pt x="109" y="32"/>
                    </a:lnTo>
                    <a:lnTo>
                      <a:pt x="98" y="30"/>
                    </a:lnTo>
                    <a:lnTo>
                      <a:pt x="96" y="25"/>
                    </a:lnTo>
                    <a:lnTo>
                      <a:pt x="96" y="19"/>
                    </a:lnTo>
                    <a:lnTo>
                      <a:pt x="94" y="13"/>
                    </a:lnTo>
                    <a:lnTo>
                      <a:pt x="88" y="11"/>
                    </a:lnTo>
                    <a:lnTo>
                      <a:pt x="86" y="7"/>
                    </a:lnTo>
                    <a:lnTo>
                      <a:pt x="82" y="3"/>
                    </a:lnTo>
                    <a:lnTo>
                      <a:pt x="57" y="3"/>
                    </a:lnTo>
                    <a:lnTo>
                      <a:pt x="50" y="1"/>
                    </a:lnTo>
                    <a:lnTo>
                      <a:pt x="46" y="0"/>
                    </a:lnTo>
                    <a:lnTo>
                      <a:pt x="44" y="3"/>
                    </a:lnTo>
                    <a:lnTo>
                      <a:pt x="40" y="9"/>
                    </a:lnTo>
                    <a:lnTo>
                      <a:pt x="33" y="11"/>
                    </a:lnTo>
                    <a:lnTo>
                      <a:pt x="29" y="13"/>
                    </a:lnTo>
                    <a:lnTo>
                      <a:pt x="29" y="17"/>
                    </a:lnTo>
                    <a:lnTo>
                      <a:pt x="27" y="21"/>
                    </a:lnTo>
                    <a:lnTo>
                      <a:pt x="27" y="25"/>
                    </a:lnTo>
                    <a:lnTo>
                      <a:pt x="19" y="25"/>
                    </a:lnTo>
                    <a:lnTo>
                      <a:pt x="19" y="38"/>
                    </a:lnTo>
                    <a:lnTo>
                      <a:pt x="17" y="51"/>
                    </a:lnTo>
                    <a:lnTo>
                      <a:pt x="15" y="63"/>
                    </a:lnTo>
                    <a:lnTo>
                      <a:pt x="9" y="67"/>
                    </a:lnTo>
                    <a:lnTo>
                      <a:pt x="4" y="75"/>
                    </a:lnTo>
                    <a:lnTo>
                      <a:pt x="0" y="78"/>
                    </a:lnTo>
                    <a:lnTo>
                      <a:pt x="0" y="88"/>
                    </a:lnTo>
                    <a:lnTo>
                      <a:pt x="6" y="98"/>
                    </a:lnTo>
                    <a:lnTo>
                      <a:pt x="13" y="109"/>
                    </a:lnTo>
                    <a:lnTo>
                      <a:pt x="15" y="109"/>
                    </a:lnTo>
                    <a:lnTo>
                      <a:pt x="21" y="105"/>
                    </a:lnTo>
                    <a:lnTo>
                      <a:pt x="36" y="105"/>
                    </a:lnTo>
                    <a:lnTo>
                      <a:pt x="42" y="103"/>
                    </a:lnTo>
                    <a:lnTo>
                      <a:pt x="46" y="99"/>
                    </a:lnTo>
                    <a:lnTo>
                      <a:pt x="50" y="101"/>
                    </a:lnTo>
                    <a:lnTo>
                      <a:pt x="56" y="103"/>
                    </a:lnTo>
                    <a:lnTo>
                      <a:pt x="65" y="103"/>
                    </a:lnTo>
                    <a:lnTo>
                      <a:pt x="73" y="101"/>
                    </a:lnTo>
                    <a:lnTo>
                      <a:pt x="98" y="101"/>
                    </a:lnTo>
                    <a:lnTo>
                      <a:pt x="100" y="105"/>
                    </a:lnTo>
                    <a:lnTo>
                      <a:pt x="98" y="111"/>
                    </a:lnTo>
                    <a:lnTo>
                      <a:pt x="94" y="115"/>
                    </a:lnTo>
                    <a:lnTo>
                      <a:pt x="88" y="117"/>
                    </a:lnTo>
                    <a:lnTo>
                      <a:pt x="50" y="117"/>
                    </a:lnTo>
                    <a:lnTo>
                      <a:pt x="42" y="119"/>
                    </a:lnTo>
                    <a:lnTo>
                      <a:pt x="40" y="123"/>
                    </a:lnTo>
                    <a:lnTo>
                      <a:pt x="40" y="124"/>
                    </a:lnTo>
                    <a:lnTo>
                      <a:pt x="15" y="126"/>
                    </a:lnTo>
                    <a:lnTo>
                      <a:pt x="13" y="132"/>
                    </a:lnTo>
                    <a:lnTo>
                      <a:pt x="21" y="14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69" name="Freeform 57"/>
              <p:cNvSpPr>
                <a:spLocks/>
              </p:cNvSpPr>
              <p:nvPr/>
            </p:nvSpPr>
            <p:spPr bwMode="gray">
              <a:xfrm>
                <a:off x="3464" y="2277"/>
                <a:ext cx="263" cy="254"/>
              </a:xfrm>
              <a:custGeom>
                <a:avLst/>
                <a:gdLst>
                  <a:gd name="T0" fmla="*/ 202 w 526"/>
                  <a:gd name="T1" fmla="*/ 482 h 507"/>
                  <a:gd name="T2" fmla="*/ 205 w 526"/>
                  <a:gd name="T3" fmla="*/ 476 h 507"/>
                  <a:gd name="T4" fmla="*/ 209 w 526"/>
                  <a:gd name="T5" fmla="*/ 473 h 507"/>
                  <a:gd name="T6" fmla="*/ 211 w 526"/>
                  <a:gd name="T7" fmla="*/ 465 h 507"/>
                  <a:gd name="T8" fmla="*/ 213 w 526"/>
                  <a:gd name="T9" fmla="*/ 461 h 507"/>
                  <a:gd name="T10" fmla="*/ 221 w 526"/>
                  <a:gd name="T11" fmla="*/ 455 h 507"/>
                  <a:gd name="T12" fmla="*/ 227 w 526"/>
                  <a:gd name="T13" fmla="*/ 461 h 507"/>
                  <a:gd name="T14" fmla="*/ 234 w 526"/>
                  <a:gd name="T15" fmla="*/ 465 h 507"/>
                  <a:gd name="T16" fmla="*/ 246 w 526"/>
                  <a:gd name="T17" fmla="*/ 463 h 507"/>
                  <a:gd name="T18" fmla="*/ 278 w 526"/>
                  <a:gd name="T19" fmla="*/ 473 h 507"/>
                  <a:gd name="T20" fmla="*/ 294 w 526"/>
                  <a:gd name="T21" fmla="*/ 507 h 507"/>
                  <a:gd name="T22" fmla="*/ 307 w 526"/>
                  <a:gd name="T23" fmla="*/ 490 h 507"/>
                  <a:gd name="T24" fmla="*/ 426 w 526"/>
                  <a:gd name="T25" fmla="*/ 419 h 507"/>
                  <a:gd name="T26" fmla="*/ 480 w 526"/>
                  <a:gd name="T27" fmla="*/ 394 h 507"/>
                  <a:gd name="T28" fmla="*/ 514 w 526"/>
                  <a:gd name="T29" fmla="*/ 363 h 507"/>
                  <a:gd name="T30" fmla="*/ 526 w 526"/>
                  <a:gd name="T31" fmla="*/ 309 h 507"/>
                  <a:gd name="T32" fmla="*/ 507 w 526"/>
                  <a:gd name="T33" fmla="*/ 288 h 507"/>
                  <a:gd name="T34" fmla="*/ 501 w 526"/>
                  <a:gd name="T35" fmla="*/ 290 h 507"/>
                  <a:gd name="T36" fmla="*/ 419 w 526"/>
                  <a:gd name="T37" fmla="*/ 275 h 507"/>
                  <a:gd name="T38" fmla="*/ 405 w 526"/>
                  <a:gd name="T39" fmla="*/ 234 h 507"/>
                  <a:gd name="T40" fmla="*/ 395 w 526"/>
                  <a:gd name="T41" fmla="*/ 215 h 507"/>
                  <a:gd name="T42" fmla="*/ 382 w 526"/>
                  <a:gd name="T43" fmla="*/ 192 h 507"/>
                  <a:gd name="T44" fmla="*/ 386 w 526"/>
                  <a:gd name="T45" fmla="*/ 173 h 507"/>
                  <a:gd name="T46" fmla="*/ 372 w 526"/>
                  <a:gd name="T47" fmla="*/ 163 h 507"/>
                  <a:gd name="T48" fmla="*/ 363 w 526"/>
                  <a:gd name="T49" fmla="*/ 150 h 507"/>
                  <a:gd name="T50" fmla="*/ 348 w 526"/>
                  <a:gd name="T51" fmla="*/ 127 h 507"/>
                  <a:gd name="T52" fmla="*/ 342 w 526"/>
                  <a:gd name="T53" fmla="*/ 115 h 507"/>
                  <a:gd name="T54" fmla="*/ 340 w 526"/>
                  <a:gd name="T55" fmla="*/ 96 h 507"/>
                  <a:gd name="T56" fmla="*/ 311 w 526"/>
                  <a:gd name="T57" fmla="*/ 88 h 507"/>
                  <a:gd name="T58" fmla="*/ 232 w 526"/>
                  <a:gd name="T59" fmla="*/ 77 h 507"/>
                  <a:gd name="T60" fmla="*/ 209 w 526"/>
                  <a:gd name="T61" fmla="*/ 50 h 507"/>
                  <a:gd name="T62" fmla="*/ 190 w 526"/>
                  <a:gd name="T63" fmla="*/ 40 h 507"/>
                  <a:gd name="T64" fmla="*/ 119 w 526"/>
                  <a:gd name="T65" fmla="*/ 8 h 507"/>
                  <a:gd name="T66" fmla="*/ 85 w 526"/>
                  <a:gd name="T67" fmla="*/ 44 h 507"/>
                  <a:gd name="T68" fmla="*/ 73 w 526"/>
                  <a:gd name="T69" fmla="*/ 58 h 507"/>
                  <a:gd name="T70" fmla="*/ 65 w 526"/>
                  <a:gd name="T71" fmla="*/ 63 h 507"/>
                  <a:gd name="T72" fmla="*/ 58 w 526"/>
                  <a:gd name="T73" fmla="*/ 73 h 507"/>
                  <a:gd name="T74" fmla="*/ 54 w 526"/>
                  <a:gd name="T75" fmla="*/ 79 h 507"/>
                  <a:gd name="T76" fmla="*/ 2 w 526"/>
                  <a:gd name="T77" fmla="*/ 84 h 507"/>
                  <a:gd name="T78" fmla="*/ 0 w 526"/>
                  <a:gd name="T79" fmla="*/ 98 h 507"/>
                  <a:gd name="T80" fmla="*/ 23 w 526"/>
                  <a:gd name="T81" fmla="*/ 119 h 507"/>
                  <a:gd name="T82" fmla="*/ 44 w 526"/>
                  <a:gd name="T83" fmla="*/ 161 h 507"/>
                  <a:gd name="T84" fmla="*/ 58 w 526"/>
                  <a:gd name="T85" fmla="*/ 173 h 507"/>
                  <a:gd name="T86" fmla="*/ 65 w 526"/>
                  <a:gd name="T87" fmla="*/ 192 h 507"/>
                  <a:gd name="T88" fmla="*/ 71 w 526"/>
                  <a:gd name="T89" fmla="*/ 219 h 507"/>
                  <a:gd name="T90" fmla="*/ 96 w 526"/>
                  <a:gd name="T91" fmla="*/ 242 h 507"/>
                  <a:gd name="T92" fmla="*/ 106 w 526"/>
                  <a:gd name="T93" fmla="*/ 263 h 507"/>
                  <a:gd name="T94" fmla="*/ 102 w 526"/>
                  <a:gd name="T95" fmla="*/ 277 h 507"/>
                  <a:gd name="T96" fmla="*/ 104 w 526"/>
                  <a:gd name="T97" fmla="*/ 304 h 507"/>
                  <a:gd name="T98" fmla="*/ 110 w 526"/>
                  <a:gd name="T99" fmla="*/ 340 h 507"/>
                  <a:gd name="T100" fmla="*/ 125 w 526"/>
                  <a:gd name="T101" fmla="*/ 367 h 507"/>
                  <a:gd name="T102" fmla="*/ 156 w 526"/>
                  <a:gd name="T103" fmla="*/ 388 h 507"/>
                  <a:gd name="T104" fmla="*/ 163 w 526"/>
                  <a:gd name="T105" fmla="*/ 419 h 507"/>
                  <a:gd name="T106" fmla="*/ 182 w 526"/>
                  <a:gd name="T107" fmla="*/ 442 h 507"/>
                  <a:gd name="T108" fmla="*/ 202 w 526"/>
                  <a:gd name="T109" fmla="*/ 480 h 507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526"/>
                  <a:gd name="T166" fmla="*/ 0 h 507"/>
                  <a:gd name="T167" fmla="*/ 526 w 526"/>
                  <a:gd name="T168" fmla="*/ 507 h 507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526" h="507">
                    <a:moveTo>
                      <a:pt x="200" y="484"/>
                    </a:moveTo>
                    <a:lnTo>
                      <a:pt x="202" y="482"/>
                    </a:lnTo>
                    <a:lnTo>
                      <a:pt x="205" y="480"/>
                    </a:lnTo>
                    <a:lnTo>
                      <a:pt x="205" y="476"/>
                    </a:lnTo>
                    <a:lnTo>
                      <a:pt x="207" y="473"/>
                    </a:lnTo>
                    <a:lnTo>
                      <a:pt x="209" y="473"/>
                    </a:lnTo>
                    <a:lnTo>
                      <a:pt x="211" y="469"/>
                    </a:lnTo>
                    <a:lnTo>
                      <a:pt x="211" y="465"/>
                    </a:lnTo>
                    <a:lnTo>
                      <a:pt x="213" y="463"/>
                    </a:lnTo>
                    <a:lnTo>
                      <a:pt x="213" y="461"/>
                    </a:lnTo>
                    <a:lnTo>
                      <a:pt x="217" y="457"/>
                    </a:lnTo>
                    <a:lnTo>
                      <a:pt x="221" y="455"/>
                    </a:lnTo>
                    <a:lnTo>
                      <a:pt x="227" y="455"/>
                    </a:lnTo>
                    <a:lnTo>
                      <a:pt x="227" y="461"/>
                    </a:lnTo>
                    <a:lnTo>
                      <a:pt x="229" y="463"/>
                    </a:lnTo>
                    <a:lnTo>
                      <a:pt x="234" y="465"/>
                    </a:lnTo>
                    <a:lnTo>
                      <a:pt x="238" y="465"/>
                    </a:lnTo>
                    <a:lnTo>
                      <a:pt x="246" y="463"/>
                    </a:lnTo>
                    <a:lnTo>
                      <a:pt x="259" y="467"/>
                    </a:lnTo>
                    <a:lnTo>
                      <a:pt x="278" y="473"/>
                    </a:lnTo>
                    <a:lnTo>
                      <a:pt x="288" y="475"/>
                    </a:lnTo>
                    <a:lnTo>
                      <a:pt x="294" y="507"/>
                    </a:lnTo>
                    <a:lnTo>
                      <a:pt x="296" y="503"/>
                    </a:lnTo>
                    <a:lnTo>
                      <a:pt x="307" y="490"/>
                    </a:lnTo>
                    <a:lnTo>
                      <a:pt x="340" y="450"/>
                    </a:lnTo>
                    <a:lnTo>
                      <a:pt x="426" y="419"/>
                    </a:lnTo>
                    <a:lnTo>
                      <a:pt x="445" y="411"/>
                    </a:lnTo>
                    <a:lnTo>
                      <a:pt x="480" y="394"/>
                    </a:lnTo>
                    <a:lnTo>
                      <a:pt x="509" y="382"/>
                    </a:lnTo>
                    <a:lnTo>
                      <a:pt x="514" y="363"/>
                    </a:lnTo>
                    <a:lnTo>
                      <a:pt x="522" y="330"/>
                    </a:lnTo>
                    <a:lnTo>
                      <a:pt x="526" y="309"/>
                    </a:lnTo>
                    <a:lnTo>
                      <a:pt x="509" y="288"/>
                    </a:lnTo>
                    <a:lnTo>
                      <a:pt x="507" y="288"/>
                    </a:lnTo>
                    <a:lnTo>
                      <a:pt x="505" y="290"/>
                    </a:lnTo>
                    <a:lnTo>
                      <a:pt x="501" y="290"/>
                    </a:lnTo>
                    <a:lnTo>
                      <a:pt x="476" y="286"/>
                    </a:lnTo>
                    <a:lnTo>
                      <a:pt x="419" y="275"/>
                    </a:lnTo>
                    <a:lnTo>
                      <a:pt x="417" y="250"/>
                    </a:lnTo>
                    <a:lnTo>
                      <a:pt x="405" y="234"/>
                    </a:lnTo>
                    <a:lnTo>
                      <a:pt x="405" y="223"/>
                    </a:lnTo>
                    <a:lnTo>
                      <a:pt x="395" y="215"/>
                    </a:lnTo>
                    <a:lnTo>
                      <a:pt x="390" y="215"/>
                    </a:lnTo>
                    <a:lnTo>
                      <a:pt x="382" y="192"/>
                    </a:lnTo>
                    <a:lnTo>
                      <a:pt x="386" y="181"/>
                    </a:lnTo>
                    <a:lnTo>
                      <a:pt x="386" y="173"/>
                    </a:lnTo>
                    <a:lnTo>
                      <a:pt x="380" y="167"/>
                    </a:lnTo>
                    <a:lnTo>
                      <a:pt x="372" y="163"/>
                    </a:lnTo>
                    <a:lnTo>
                      <a:pt x="367" y="157"/>
                    </a:lnTo>
                    <a:lnTo>
                      <a:pt x="363" y="150"/>
                    </a:lnTo>
                    <a:lnTo>
                      <a:pt x="359" y="134"/>
                    </a:lnTo>
                    <a:lnTo>
                      <a:pt x="348" y="127"/>
                    </a:lnTo>
                    <a:lnTo>
                      <a:pt x="344" y="123"/>
                    </a:lnTo>
                    <a:lnTo>
                      <a:pt x="342" y="115"/>
                    </a:lnTo>
                    <a:lnTo>
                      <a:pt x="342" y="106"/>
                    </a:lnTo>
                    <a:lnTo>
                      <a:pt x="340" y="96"/>
                    </a:lnTo>
                    <a:lnTo>
                      <a:pt x="315" y="100"/>
                    </a:lnTo>
                    <a:lnTo>
                      <a:pt x="311" y="88"/>
                    </a:lnTo>
                    <a:lnTo>
                      <a:pt x="276" y="83"/>
                    </a:lnTo>
                    <a:lnTo>
                      <a:pt x="232" y="77"/>
                    </a:lnTo>
                    <a:lnTo>
                      <a:pt x="213" y="65"/>
                    </a:lnTo>
                    <a:lnTo>
                      <a:pt x="209" y="50"/>
                    </a:lnTo>
                    <a:lnTo>
                      <a:pt x="192" y="50"/>
                    </a:lnTo>
                    <a:lnTo>
                      <a:pt x="190" y="40"/>
                    </a:lnTo>
                    <a:lnTo>
                      <a:pt x="121" y="0"/>
                    </a:lnTo>
                    <a:lnTo>
                      <a:pt x="119" y="8"/>
                    </a:lnTo>
                    <a:lnTo>
                      <a:pt x="69" y="19"/>
                    </a:lnTo>
                    <a:lnTo>
                      <a:pt x="85" y="44"/>
                    </a:lnTo>
                    <a:lnTo>
                      <a:pt x="77" y="52"/>
                    </a:lnTo>
                    <a:lnTo>
                      <a:pt x="73" y="58"/>
                    </a:lnTo>
                    <a:lnTo>
                      <a:pt x="69" y="61"/>
                    </a:lnTo>
                    <a:lnTo>
                      <a:pt x="65" y="63"/>
                    </a:lnTo>
                    <a:lnTo>
                      <a:pt x="63" y="69"/>
                    </a:lnTo>
                    <a:lnTo>
                      <a:pt x="58" y="73"/>
                    </a:lnTo>
                    <a:lnTo>
                      <a:pt x="56" y="77"/>
                    </a:lnTo>
                    <a:lnTo>
                      <a:pt x="54" y="79"/>
                    </a:lnTo>
                    <a:lnTo>
                      <a:pt x="29" y="90"/>
                    </a:lnTo>
                    <a:lnTo>
                      <a:pt x="2" y="84"/>
                    </a:lnTo>
                    <a:lnTo>
                      <a:pt x="2" y="90"/>
                    </a:lnTo>
                    <a:lnTo>
                      <a:pt x="0" y="98"/>
                    </a:lnTo>
                    <a:lnTo>
                      <a:pt x="0" y="102"/>
                    </a:lnTo>
                    <a:lnTo>
                      <a:pt x="23" y="119"/>
                    </a:lnTo>
                    <a:lnTo>
                      <a:pt x="31" y="136"/>
                    </a:lnTo>
                    <a:lnTo>
                      <a:pt x="44" y="161"/>
                    </a:lnTo>
                    <a:lnTo>
                      <a:pt x="50" y="167"/>
                    </a:lnTo>
                    <a:lnTo>
                      <a:pt x="58" y="173"/>
                    </a:lnTo>
                    <a:lnTo>
                      <a:pt x="63" y="177"/>
                    </a:lnTo>
                    <a:lnTo>
                      <a:pt x="65" y="192"/>
                    </a:lnTo>
                    <a:lnTo>
                      <a:pt x="67" y="206"/>
                    </a:lnTo>
                    <a:lnTo>
                      <a:pt x="71" y="219"/>
                    </a:lnTo>
                    <a:lnTo>
                      <a:pt x="81" y="231"/>
                    </a:lnTo>
                    <a:lnTo>
                      <a:pt x="96" y="242"/>
                    </a:lnTo>
                    <a:lnTo>
                      <a:pt x="106" y="257"/>
                    </a:lnTo>
                    <a:lnTo>
                      <a:pt x="106" y="263"/>
                    </a:lnTo>
                    <a:lnTo>
                      <a:pt x="104" y="271"/>
                    </a:lnTo>
                    <a:lnTo>
                      <a:pt x="102" y="277"/>
                    </a:lnTo>
                    <a:lnTo>
                      <a:pt x="102" y="286"/>
                    </a:lnTo>
                    <a:lnTo>
                      <a:pt x="104" y="304"/>
                    </a:lnTo>
                    <a:lnTo>
                      <a:pt x="110" y="311"/>
                    </a:lnTo>
                    <a:lnTo>
                      <a:pt x="110" y="340"/>
                    </a:lnTo>
                    <a:lnTo>
                      <a:pt x="113" y="353"/>
                    </a:lnTo>
                    <a:lnTo>
                      <a:pt x="125" y="367"/>
                    </a:lnTo>
                    <a:lnTo>
                      <a:pt x="142" y="377"/>
                    </a:lnTo>
                    <a:lnTo>
                      <a:pt x="156" y="388"/>
                    </a:lnTo>
                    <a:lnTo>
                      <a:pt x="161" y="403"/>
                    </a:lnTo>
                    <a:lnTo>
                      <a:pt x="163" y="419"/>
                    </a:lnTo>
                    <a:lnTo>
                      <a:pt x="167" y="434"/>
                    </a:lnTo>
                    <a:lnTo>
                      <a:pt x="182" y="442"/>
                    </a:lnTo>
                    <a:lnTo>
                      <a:pt x="202" y="473"/>
                    </a:lnTo>
                    <a:lnTo>
                      <a:pt x="202" y="480"/>
                    </a:lnTo>
                    <a:lnTo>
                      <a:pt x="200" y="48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0" name="Freeform 58"/>
              <p:cNvSpPr>
                <a:spLocks/>
              </p:cNvSpPr>
              <p:nvPr/>
            </p:nvSpPr>
            <p:spPr bwMode="gray">
              <a:xfrm>
                <a:off x="3387" y="2808"/>
                <a:ext cx="30" cy="25"/>
              </a:xfrm>
              <a:custGeom>
                <a:avLst/>
                <a:gdLst>
                  <a:gd name="T0" fmla="*/ 9 w 61"/>
                  <a:gd name="T1" fmla="*/ 21 h 50"/>
                  <a:gd name="T2" fmla="*/ 9 w 61"/>
                  <a:gd name="T3" fmla="*/ 23 h 50"/>
                  <a:gd name="T4" fmla="*/ 5 w 61"/>
                  <a:gd name="T5" fmla="*/ 23 h 50"/>
                  <a:gd name="T6" fmla="*/ 3 w 61"/>
                  <a:gd name="T7" fmla="*/ 25 h 50"/>
                  <a:gd name="T8" fmla="*/ 1 w 61"/>
                  <a:gd name="T9" fmla="*/ 25 h 50"/>
                  <a:gd name="T10" fmla="*/ 0 w 61"/>
                  <a:gd name="T11" fmla="*/ 28 h 50"/>
                  <a:gd name="T12" fmla="*/ 0 w 61"/>
                  <a:gd name="T13" fmla="*/ 32 h 50"/>
                  <a:gd name="T14" fmla="*/ 3 w 61"/>
                  <a:gd name="T15" fmla="*/ 38 h 50"/>
                  <a:gd name="T16" fmla="*/ 11 w 61"/>
                  <a:gd name="T17" fmla="*/ 40 h 50"/>
                  <a:gd name="T18" fmla="*/ 13 w 61"/>
                  <a:gd name="T19" fmla="*/ 40 h 50"/>
                  <a:gd name="T20" fmla="*/ 15 w 61"/>
                  <a:gd name="T21" fmla="*/ 38 h 50"/>
                  <a:gd name="T22" fmla="*/ 19 w 61"/>
                  <a:gd name="T23" fmla="*/ 36 h 50"/>
                  <a:gd name="T24" fmla="*/ 23 w 61"/>
                  <a:gd name="T25" fmla="*/ 38 h 50"/>
                  <a:gd name="T26" fmla="*/ 28 w 61"/>
                  <a:gd name="T27" fmla="*/ 50 h 50"/>
                  <a:gd name="T28" fmla="*/ 32 w 61"/>
                  <a:gd name="T29" fmla="*/ 48 h 50"/>
                  <a:gd name="T30" fmla="*/ 38 w 61"/>
                  <a:gd name="T31" fmla="*/ 40 h 50"/>
                  <a:gd name="T32" fmla="*/ 40 w 61"/>
                  <a:gd name="T33" fmla="*/ 34 h 50"/>
                  <a:gd name="T34" fmla="*/ 42 w 61"/>
                  <a:gd name="T35" fmla="*/ 34 h 50"/>
                  <a:gd name="T36" fmla="*/ 49 w 61"/>
                  <a:gd name="T37" fmla="*/ 36 h 50"/>
                  <a:gd name="T38" fmla="*/ 55 w 61"/>
                  <a:gd name="T39" fmla="*/ 38 h 50"/>
                  <a:gd name="T40" fmla="*/ 59 w 61"/>
                  <a:gd name="T41" fmla="*/ 38 h 50"/>
                  <a:gd name="T42" fmla="*/ 61 w 61"/>
                  <a:gd name="T43" fmla="*/ 36 h 50"/>
                  <a:gd name="T44" fmla="*/ 59 w 61"/>
                  <a:gd name="T45" fmla="*/ 30 h 50"/>
                  <a:gd name="T46" fmla="*/ 59 w 61"/>
                  <a:gd name="T47" fmla="*/ 23 h 50"/>
                  <a:gd name="T48" fmla="*/ 61 w 61"/>
                  <a:gd name="T49" fmla="*/ 17 h 50"/>
                  <a:gd name="T50" fmla="*/ 61 w 61"/>
                  <a:gd name="T51" fmla="*/ 15 h 50"/>
                  <a:gd name="T52" fmla="*/ 53 w 61"/>
                  <a:gd name="T53" fmla="*/ 2 h 50"/>
                  <a:gd name="T54" fmla="*/ 51 w 61"/>
                  <a:gd name="T55" fmla="*/ 3 h 50"/>
                  <a:gd name="T56" fmla="*/ 46 w 61"/>
                  <a:gd name="T57" fmla="*/ 5 h 50"/>
                  <a:gd name="T58" fmla="*/ 42 w 61"/>
                  <a:gd name="T59" fmla="*/ 9 h 50"/>
                  <a:gd name="T60" fmla="*/ 36 w 61"/>
                  <a:gd name="T61" fmla="*/ 11 h 50"/>
                  <a:gd name="T62" fmla="*/ 32 w 61"/>
                  <a:gd name="T63" fmla="*/ 11 h 50"/>
                  <a:gd name="T64" fmla="*/ 21 w 61"/>
                  <a:gd name="T65" fmla="*/ 3 h 50"/>
                  <a:gd name="T66" fmla="*/ 17 w 61"/>
                  <a:gd name="T67" fmla="*/ 0 h 50"/>
                  <a:gd name="T68" fmla="*/ 15 w 61"/>
                  <a:gd name="T69" fmla="*/ 0 h 50"/>
                  <a:gd name="T70" fmla="*/ 13 w 61"/>
                  <a:gd name="T71" fmla="*/ 2 h 50"/>
                  <a:gd name="T72" fmla="*/ 11 w 61"/>
                  <a:gd name="T73" fmla="*/ 11 h 50"/>
                  <a:gd name="T74" fmla="*/ 11 w 61"/>
                  <a:gd name="T75" fmla="*/ 17 h 50"/>
                  <a:gd name="T76" fmla="*/ 9 w 61"/>
                  <a:gd name="T77" fmla="*/ 21 h 5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61"/>
                  <a:gd name="T118" fmla="*/ 0 h 50"/>
                  <a:gd name="T119" fmla="*/ 61 w 61"/>
                  <a:gd name="T120" fmla="*/ 50 h 50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61" h="50">
                    <a:moveTo>
                      <a:pt x="9" y="21"/>
                    </a:moveTo>
                    <a:lnTo>
                      <a:pt x="9" y="23"/>
                    </a:lnTo>
                    <a:lnTo>
                      <a:pt x="5" y="23"/>
                    </a:lnTo>
                    <a:lnTo>
                      <a:pt x="3" y="25"/>
                    </a:lnTo>
                    <a:lnTo>
                      <a:pt x="1" y="25"/>
                    </a:lnTo>
                    <a:lnTo>
                      <a:pt x="0" y="28"/>
                    </a:lnTo>
                    <a:lnTo>
                      <a:pt x="0" y="32"/>
                    </a:lnTo>
                    <a:lnTo>
                      <a:pt x="3" y="38"/>
                    </a:lnTo>
                    <a:lnTo>
                      <a:pt x="11" y="40"/>
                    </a:lnTo>
                    <a:lnTo>
                      <a:pt x="13" y="40"/>
                    </a:lnTo>
                    <a:lnTo>
                      <a:pt x="15" y="38"/>
                    </a:lnTo>
                    <a:lnTo>
                      <a:pt x="19" y="36"/>
                    </a:lnTo>
                    <a:lnTo>
                      <a:pt x="23" y="38"/>
                    </a:lnTo>
                    <a:lnTo>
                      <a:pt x="28" y="50"/>
                    </a:lnTo>
                    <a:lnTo>
                      <a:pt x="32" y="48"/>
                    </a:lnTo>
                    <a:lnTo>
                      <a:pt x="38" y="40"/>
                    </a:lnTo>
                    <a:lnTo>
                      <a:pt x="40" y="34"/>
                    </a:lnTo>
                    <a:lnTo>
                      <a:pt x="42" y="34"/>
                    </a:lnTo>
                    <a:lnTo>
                      <a:pt x="49" y="36"/>
                    </a:lnTo>
                    <a:lnTo>
                      <a:pt x="55" y="38"/>
                    </a:lnTo>
                    <a:lnTo>
                      <a:pt x="59" y="38"/>
                    </a:lnTo>
                    <a:lnTo>
                      <a:pt x="61" y="36"/>
                    </a:lnTo>
                    <a:lnTo>
                      <a:pt x="59" y="30"/>
                    </a:lnTo>
                    <a:lnTo>
                      <a:pt x="59" y="23"/>
                    </a:lnTo>
                    <a:lnTo>
                      <a:pt x="61" y="17"/>
                    </a:lnTo>
                    <a:lnTo>
                      <a:pt x="61" y="15"/>
                    </a:lnTo>
                    <a:lnTo>
                      <a:pt x="53" y="2"/>
                    </a:lnTo>
                    <a:lnTo>
                      <a:pt x="51" y="3"/>
                    </a:lnTo>
                    <a:lnTo>
                      <a:pt x="46" y="5"/>
                    </a:lnTo>
                    <a:lnTo>
                      <a:pt x="42" y="9"/>
                    </a:lnTo>
                    <a:lnTo>
                      <a:pt x="36" y="11"/>
                    </a:lnTo>
                    <a:lnTo>
                      <a:pt x="32" y="11"/>
                    </a:lnTo>
                    <a:lnTo>
                      <a:pt x="21" y="3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3" y="2"/>
                    </a:lnTo>
                    <a:lnTo>
                      <a:pt x="11" y="11"/>
                    </a:lnTo>
                    <a:lnTo>
                      <a:pt x="11" y="17"/>
                    </a:lnTo>
                    <a:lnTo>
                      <a:pt x="9" y="2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1" name="Freeform 59"/>
              <p:cNvSpPr>
                <a:spLocks/>
              </p:cNvSpPr>
              <p:nvPr/>
            </p:nvSpPr>
            <p:spPr bwMode="gray">
              <a:xfrm>
                <a:off x="4437" y="1466"/>
                <a:ext cx="5" cy="12"/>
              </a:xfrm>
              <a:custGeom>
                <a:avLst/>
                <a:gdLst>
                  <a:gd name="T0" fmla="*/ 8 w 12"/>
                  <a:gd name="T1" fmla="*/ 0 h 23"/>
                  <a:gd name="T2" fmla="*/ 12 w 12"/>
                  <a:gd name="T3" fmla="*/ 4 h 23"/>
                  <a:gd name="T4" fmla="*/ 8 w 12"/>
                  <a:gd name="T5" fmla="*/ 15 h 23"/>
                  <a:gd name="T6" fmla="*/ 4 w 12"/>
                  <a:gd name="T7" fmla="*/ 23 h 23"/>
                  <a:gd name="T8" fmla="*/ 0 w 12"/>
                  <a:gd name="T9" fmla="*/ 19 h 23"/>
                  <a:gd name="T10" fmla="*/ 0 w 12"/>
                  <a:gd name="T11" fmla="*/ 8 h 23"/>
                  <a:gd name="T12" fmla="*/ 8 w 12"/>
                  <a:gd name="T13" fmla="*/ 0 h 2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23"/>
                  <a:gd name="T23" fmla="*/ 12 w 12"/>
                  <a:gd name="T24" fmla="*/ 23 h 2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23">
                    <a:moveTo>
                      <a:pt x="8" y="0"/>
                    </a:moveTo>
                    <a:lnTo>
                      <a:pt x="12" y="4"/>
                    </a:lnTo>
                    <a:lnTo>
                      <a:pt x="8" y="15"/>
                    </a:lnTo>
                    <a:lnTo>
                      <a:pt x="4" y="23"/>
                    </a:lnTo>
                    <a:lnTo>
                      <a:pt x="0" y="19"/>
                    </a:lnTo>
                    <a:lnTo>
                      <a:pt x="0" y="8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2" name="Freeform 60"/>
              <p:cNvSpPr>
                <a:spLocks/>
              </p:cNvSpPr>
              <p:nvPr/>
            </p:nvSpPr>
            <p:spPr bwMode="gray">
              <a:xfrm>
                <a:off x="4434" y="1478"/>
                <a:ext cx="4" cy="5"/>
              </a:xfrm>
              <a:custGeom>
                <a:avLst/>
                <a:gdLst>
                  <a:gd name="T0" fmla="*/ 7 w 7"/>
                  <a:gd name="T1" fmla="*/ 0 h 12"/>
                  <a:gd name="T2" fmla="*/ 5 w 7"/>
                  <a:gd name="T3" fmla="*/ 2 h 12"/>
                  <a:gd name="T4" fmla="*/ 3 w 7"/>
                  <a:gd name="T5" fmla="*/ 8 h 12"/>
                  <a:gd name="T6" fmla="*/ 3 w 7"/>
                  <a:gd name="T7" fmla="*/ 12 h 12"/>
                  <a:gd name="T8" fmla="*/ 0 w 7"/>
                  <a:gd name="T9" fmla="*/ 10 h 12"/>
                  <a:gd name="T10" fmla="*/ 3 w 7"/>
                  <a:gd name="T11" fmla="*/ 4 h 12"/>
                  <a:gd name="T12" fmla="*/ 7 w 7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12"/>
                  <a:gd name="T23" fmla="*/ 7 w 7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12">
                    <a:moveTo>
                      <a:pt x="7" y="0"/>
                    </a:moveTo>
                    <a:lnTo>
                      <a:pt x="5" y="2"/>
                    </a:lnTo>
                    <a:lnTo>
                      <a:pt x="3" y="8"/>
                    </a:lnTo>
                    <a:lnTo>
                      <a:pt x="3" y="12"/>
                    </a:lnTo>
                    <a:lnTo>
                      <a:pt x="0" y="10"/>
                    </a:lnTo>
                    <a:lnTo>
                      <a:pt x="3" y="4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3" name="Freeform 61"/>
              <p:cNvSpPr>
                <a:spLocks/>
              </p:cNvSpPr>
              <p:nvPr/>
            </p:nvSpPr>
            <p:spPr bwMode="gray">
              <a:xfrm>
                <a:off x="4322" y="1851"/>
                <a:ext cx="77" cy="89"/>
              </a:xfrm>
              <a:custGeom>
                <a:avLst/>
                <a:gdLst>
                  <a:gd name="T0" fmla="*/ 148 w 153"/>
                  <a:gd name="T1" fmla="*/ 0 h 176"/>
                  <a:gd name="T2" fmla="*/ 153 w 153"/>
                  <a:gd name="T3" fmla="*/ 0 h 176"/>
                  <a:gd name="T4" fmla="*/ 146 w 153"/>
                  <a:gd name="T5" fmla="*/ 19 h 176"/>
                  <a:gd name="T6" fmla="*/ 146 w 153"/>
                  <a:gd name="T7" fmla="*/ 23 h 176"/>
                  <a:gd name="T8" fmla="*/ 148 w 153"/>
                  <a:gd name="T9" fmla="*/ 30 h 176"/>
                  <a:gd name="T10" fmla="*/ 148 w 153"/>
                  <a:gd name="T11" fmla="*/ 57 h 176"/>
                  <a:gd name="T12" fmla="*/ 146 w 153"/>
                  <a:gd name="T13" fmla="*/ 61 h 176"/>
                  <a:gd name="T14" fmla="*/ 140 w 153"/>
                  <a:gd name="T15" fmla="*/ 67 h 176"/>
                  <a:gd name="T16" fmla="*/ 138 w 153"/>
                  <a:gd name="T17" fmla="*/ 73 h 176"/>
                  <a:gd name="T18" fmla="*/ 138 w 153"/>
                  <a:gd name="T19" fmla="*/ 71 h 176"/>
                  <a:gd name="T20" fmla="*/ 132 w 153"/>
                  <a:gd name="T21" fmla="*/ 69 h 176"/>
                  <a:gd name="T22" fmla="*/ 129 w 153"/>
                  <a:gd name="T23" fmla="*/ 69 h 176"/>
                  <a:gd name="T24" fmla="*/ 127 w 153"/>
                  <a:gd name="T25" fmla="*/ 75 h 176"/>
                  <a:gd name="T26" fmla="*/ 127 w 153"/>
                  <a:gd name="T27" fmla="*/ 76 h 176"/>
                  <a:gd name="T28" fmla="*/ 121 w 153"/>
                  <a:gd name="T29" fmla="*/ 80 h 176"/>
                  <a:gd name="T30" fmla="*/ 123 w 153"/>
                  <a:gd name="T31" fmla="*/ 84 h 176"/>
                  <a:gd name="T32" fmla="*/ 134 w 153"/>
                  <a:gd name="T33" fmla="*/ 88 h 176"/>
                  <a:gd name="T34" fmla="*/ 127 w 153"/>
                  <a:gd name="T35" fmla="*/ 94 h 176"/>
                  <a:gd name="T36" fmla="*/ 121 w 153"/>
                  <a:gd name="T37" fmla="*/ 100 h 176"/>
                  <a:gd name="T38" fmla="*/ 113 w 153"/>
                  <a:gd name="T39" fmla="*/ 103 h 176"/>
                  <a:gd name="T40" fmla="*/ 113 w 153"/>
                  <a:gd name="T41" fmla="*/ 107 h 176"/>
                  <a:gd name="T42" fmla="*/ 109 w 153"/>
                  <a:gd name="T43" fmla="*/ 107 h 176"/>
                  <a:gd name="T44" fmla="*/ 104 w 153"/>
                  <a:gd name="T45" fmla="*/ 105 h 176"/>
                  <a:gd name="T46" fmla="*/ 100 w 153"/>
                  <a:gd name="T47" fmla="*/ 107 h 176"/>
                  <a:gd name="T48" fmla="*/ 98 w 153"/>
                  <a:gd name="T49" fmla="*/ 111 h 176"/>
                  <a:gd name="T50" fmla="*/ 94 w 153"/>
                  <a:gd name="T51" fmla="*/ 117 h 176"/>
                  <a:gd name="T52" fmla="*/ 86 w 153"/>
                  <a:gd name="T53" fmla="*/ 123 h 176"/>
                  <a:gd name="T54" fmla="*/ 86 w 153"/>
                  <a:gd name="T55" fmla="*/ 126 h 176"/>
                  <a:gd name="T56" fmla="*/ 82 w 153"/>
                  <a:gd name="T57" fmla="*/ 126 h 176"/>
                  <a:gd name="T58" fmla="*/ 77 w 153"/>
                  <a:gd name="T59" fmla="*/ 124 h 176"/>
                  <a:gd name="T60" fmla="*/ 73 w 153"/>
                  <a:gd name="T61" fmla="*/ 126 h 176"/>
                  <a:gd name="T62" fmla="*/ 57 w 153"/>
                  <a:gd name="T63" fmla="*/ 144 h 176"/>
                  <a:gd name="T64" fmla="*/ 46 w 153"/>
                  <a:gd name="T65" fmla="*/ 165 h 176"/>
                  <a:gd name="T66" fmla="*/ 27 w 153"/>
                  <a:gd name="T67" fmla="*/ 176 h 176"/>
                  <a:gd name="T68" fmla="*/ 15 w 153"/>
                  <a:gd name="T69" fmla="*/ 174 h 176"/>
                  <a:gd name="T70" fmla="*/ 6 w 153"/>
                  <a:gd name="T71" fmla="*/ 169 h 176"/>
                  <a:gd name="T72" fmla="*/ 0 w 153"/>
                  <a:gd name="T73" fmla="*/ 165 h 176"/>
                  <a:gd name="T74" fmla="*/ 17 w 153"/>
                  <a:gd name="T75" fmla="*/ 157 h 176"/>
                  <a:gd name="T76" fmla="*/ 33 w 153"/>
                  <a:gd name="T77" fmla="*/ 148 h 176"/>
                  <a:gd name="T78" fmla="*/ 46 w 153"/>
                  <a:gd name="T79" fmla="*/ 134 h 176"/>
                  <a:gd name="T80" fmla="*/ 48 w 153"/>
                  <a:gd name="T81" fmla="*/ 128 h 176"/>
                  <a:gd name="T82" fmla="*/ 50 w 153"/>
                  <a:gd name="T83" fmla="*/ 121 h 176"/>
                  <a:gd name="T84" fmla="*/ 52 w 153"/>
                  <a:gd name="T85" fmla="*/ 115 h 176"/>
                  <a:gd name="T86" fmla="*/ 57 w 153"/>
                  <a:gd name="T87" fmla="*/ 113 h 176"/>
                  <a:gd name="T88" fmla="*/ 63 w 153"/>
                  <a:gd name="T89" fmla="*/ 113 h 176"/>
                  <a:gd name="T90" fmla="*/ 67 w 153"/>
                  <a:gd name="T91" fmla="*/ 111 h 176"/>
                  <a:gd name="T92" fmla="*/ 71 w 153"/>
                  <a:gd name="T93" fmla="*/ 107 h 176"/>
                  <a:gd name="T94" fmla="*/ 73 w 153"/>
                  <a:gd name="T95" fmla="*/ 100 h 176"/>
                  <a:gd name="T96" fmla="*/ 75 w 153"/>
                  <a:gd name="T97" fmla="*/ 96 h 176"/>
                  <a:gd name="T98" fmla="*/ 79 w 153"/>
                  <a:gd name="T99" fmla="*/ 94 h 176"/>
                  <a:gd name="T100" fmla="*/ 82 w 153"/>
                  <a:gd name="T101" fmla="*/ 94 h 176"/>
                  <a:gd name="T102" fmla="*/ 86 w 153"/>
                  <a:gd name="T103" fmla="*/ 92 h 176"/>
                  <a:gd name="T104" fmla="*/ 109 w 153"/>
                  <a:gd name="T105" fmla="*/ 69 h 176"/>
                  <a:gd name="T106" fmla="*/ 130 w 153"/>
                  <a:gd name="T107" fmla="*/ 32 h 176"/>
                  <a:gd name="T108" fmla="*/ 146 w 153"/>
                  <a:gd name="T109" fmla="*/ 0 h 176"/>
                  <a:gd name="T110" fmla="*/ 148 w 153"/>
                  <a:gd name="T111" fmla="*/ 0 h 17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3"/>
                  <a:gd name="T169" fmla="*/ 0 h 176"/>
                  <a:gd name="T170" fmla="*/ 153 w 153"/>
                  <a:gd name="T171" fmla="*/ 176 h 17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3" h="176">
                    <a:moveTo>
                      <a:pt x="148" y="0"/>
                    </a:moveTo>
                    <a:lnTo>
                      <a:pt x="153" y="0"/>
                    </a:lnTo>
                    <a:lnTo>
                      <a:pt x="146" y="19"/>
                    </a:lnTo>
                    <a:lnTo>
                      <a:pt x="146" y="23"/>
                    </a:lnTo>
                    <a:lnTo>
                      <a:pt x="148" y="30"/>
                    </a:lnTo>
                    <a:lnTo>
                      <a:pt x="148" y="57"/>
                    </a:lnTo>
                    <a:lnTo>
                      <a:pt x="146" y="61"/>
                    </a:lnTo>
                    <a:lnTo>
                      <a:pt x="140" y="67"/>
                    </a:lnTo>
                    <a:lnTo>
                      <a:pt x="138" y="73"/>
                    </a:lnTo>
                    <a:lnTo>
                      <a:pt x="138" y="71"/>
                    </a:lnTo>
                    <a:lnTo>
                      <a:pt x="132" y="69"/>
                    </a:lnTo>
                    <a:lnTo>
                      <a:pt x="129" y="69"/>
                    </a:lnTo>
                    <a:lnTo>
                      <a:pt x="127" y="75"/>
                    </a:lnTo>
                    <a:lnTo>
                      <a:pt x="127" y="76"/>
                    </a:lnTo>
                    <a:lnTo>
                      <a:pt x="121" y="80"/>
                    </a:lnTo>
                    <a:lnTo>
                      <a:pt x="123" y="84"/>
                    </a:lnTo>
                    <a:lnTo>
                      <a:pt x="134" y="88"/>
                    </a:lnTo>
                    <a:lnTo>
                      <a:pt x="127" y="94"/>
                    </a:lnTo>
                    <a:lnTo>
                      <a:pt x="121" y="100"/>
                    </a:lnTo>
                    <a:lnTo>
                      <a:pt x="113" y="103"/>
                    </a:lnTo>
                    <a:lnTo>
                      <a:pt x="113" y="107"/>
                    </a:lnTo>
                    <a:lnTo>
                      <a:pt x="109" y="107"/>
                    </a:lnTo>
                    <a:lnTo>
                      <a:pt x="104" y="105"/>
                    </a:lnTo>
                    <a:lnTo>
                      <a:pt x="100" y="107"/>
                    </a:lnTo>
                    <a:lnTo>
                      <a:pt x="98" y="111"/>
                    </a:lnTo>
                    <a:lnTo>
                      <a:pt x="94" y="117"/>
                    </a:lnTo>
                    <a:lnTo>
                      <a:pt x="86" y="123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77" y="124"/>
                    </a:lnTo>
                    <a:lnTo>
                      <a:pt x="73" y="126"/>
                    </a:lnTo>
                    <a:lnTo>
                      <a:pt x="57" y="144"/>
                    </a:lnTo>
                    <a:lnTo>
                      <a:pt x="46" y="165"/>
                    </a:lnTo>
                    <a:lnTo>
                      <a:pt x="27" y="176"/>
                    </a:lnTo>
                    <a:lnTo>
                      <a:pt x="15" y="174"/>
                    </a:lnTo>
                    <a:lnTo>
                      <a:pt x="6" y="169"/>
                    </a:lnTo>
                    <a:lnTo>
                      <a:pt x="0" y="165"/>
                    </a:lnTo>
                    <a:lnTo>
                      <a:pt x="17" y="157"/>
                    </a:lnTo>
                    <a:lnTo>
                      <a:pt x="33" y="148"/>
                    </a:lnTo>
                    <a:lnTo>
                      <a:pt x="46" y="134"/>
                    </a:lnTo>
                    <a:lnTo>
                      <a:pt x="48" y="128"/>
                    </a:lnTo>
                    <a:lnTo>
                      <a:pt x="50" y="121"/>
                    </a:lnTo>
                    <a:lnTo>
                      <a:pt x="52" y="115"/>
                    </a:lnTo>
                    <a:lnTo>
                      <a:pt x="57" y="113"/>
                    </a:lnTo>
                    <a:lnTo>
                      <a:pt x="63" y="113"/>
                    </a:lnTo>
                    <a:lnTo>
                      <a:pt x="67" y="111"/>
                    </a:lnTo>
                    <a:lnTo>
                      <a:pt x="71" y="107"/>
                    </a:lnTo>
                    <a:lnTo>
                      <a:pt x="73" y="100"/>
                    </a:lnTo>
                    <a:lnTo>
                      <a:pt x="75" y="96"/>
                    </a:lnTo>
                    <a:lnTo>
                      <a:pt x="79" y="94"/>
                    </a:lnTo>
                    <a:lnTo>
                      <a:pt x="82" y="94"/>
                    </a:lnTo>
                    <a:lnTo>
                      <a:pt x="86" y="92"/>
                    </a:lnTo>
                    <a:lnTo>
                      <a:pt x="109" y="69"/>
                    </a:lnTo>
                    <a:lnTo>
                      <a:pt x="130" y="32"/>
                    </a:lnTo>
                    <a:lnTo>
                      <a:pt x="146" y="0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4" name="Freeform 62"/>
              <p:cNvSpPr>
                <a:spLocks/>
              </p:cNvSpPr>
              <p:nvPr/>
            </p:nvSpPr>
            <p:spPr bwMode="gray">
              <a:xfrm>
                <a:off x="4793" y="1880"/>
                <a:ext cx="33" cy="156"/>
              </a:xfrm>
              <a:custGeom>
                <a:avLst/>
                <a:gdLst>
                  <a:gd name="T0" fmla="*/ 25 w 68"/>
                  <a:gd name="T1" fmla="*/ 0 h 312"/>
                  <a:gd name="T2" fmla="*/ 23 w 68"/>
                  <a:gd name="T3" fmla="*/ 6 h 312"/>
                  <a:gd name="T4" fmla="*/ 20 w 68"/>
                  <a:gd name="T5" fmla="*/ 8 h 312"/>
                  <a:gd name="T6" fmla="*/ 14 w 68"/>
                  <a:gd name="T7" fmla="*/ 12 h 312"/>
                  <a:gd name="T8" fmla="*/ 21 w 68"/>
                  <a:gd name="T9" fmla="*/ 31 h 312"/>
                  <a:gd name="T10" fmla="*/ 21 w 68"/>
                  <a:gd name="T11" fmla="*/ 43 h 312"/>
                  <a:gd name="T12" fmla="*/ 18 w 68"/>
                  <a:gd name="T13" fmla="*/ 44 h 312"/>
                  <a:gd name="T14" fmla="*/ 10 w 68"/>
                  <a:gd name="T15" fmla="*/ 52 h 312"/>
                  <a:gd name="T16" fmla="*/ 2 w 68"/>
                  <a:gd name="T17" fmla="*/ 62 h 312"/>
                  <a:gd name="T18" fmla="*/ 0 w 68"/>
                  <a:gd name="T19" fmla="*/ 83 h 312"/>
                  <a:gd name="T20" fmla="*/ 2 w 68"/>
                  <a:gd name="T21" fmla="*/ 100 h 312"/>
                  <a:gd name="T22" fmla="*/ 6 w 68"/>
                  <a:gd name="T23" fmla="*/ 116 h 312"/>
                  <a:gd name="T24" fmla="*/ 8 w 68"/>
                  <a:gd name="T25" fmla="*/ 144 h 312"/>
                  <a:gd name="T26" fmla="*/ 6 w 68"/>
                  <a:gd name="T27" fmla="*/ 171 h 312"/>
                  <a:gd name="T28" fmla="*/ 2 w 68"/>
                  <a:gd name="T29" fmla="*/ 196 h 312"/>
                  <a:gd name="T30" fmla="*/ 6 w 68"/>
                  <a:gd name="T31" fmla="*/ 198 h 312"/>
                  <a:gd name="T32" fmla="*/ 8 w 68"/>
                  <a:gd name="T33" fmla="*/ 206 h 312"/>
                  <a:gd name="T34" fmla="*/ 6 w 68"/>
                  <a:gd name="T35" fmla="*/ 212 h 312"/>
                  <a:gd name="T36" fmla="*/ 4 w 68"/>
                  <a:gd name="T37" fmla="*/ 214 h 312"/>
                  <a:gd name="T38" fmla="*/ 2 w 68"/>
                  <a:gd name="T39" fmla="*/ 219 h 312"/>
                  <a:gd name="T40" fmla="*/ 10 w 68"/>
                  <a:gd name="T41" fmla="*/ 235 h 312"/>
                  <a:gd name="T42" fmla="*/ 10 w 68"/>
                  <a:gd name="T43" fmla="*/ 258 h 312"/>
                  <a:gd name="T44" fmla="*/ 4 w 68"/>
                  <a:gd name="T45" fmla="*/ 283 h 312"/>
                  <a:gd name="T46" fmla="*/ 0 w 68"/>
                  <a:gd name="T47" fmla="*/ 308 h 312"/>
                  <a:gd name="T48" fmla="*/ 10 w 68"/>
                  <a:gd name="T49" fmla="*/ 288 h 312"/>
                  <a:gd name="T50" fmla="*/ 16 w 68"/>
                  <a:gd name="T51" fmla="*/ 288 h 312"/>
                  <a:gd name="T52" fmla="*/ 29 w 68"/>
                  <a:gd name="T53" fmla="*/ 300 h 312"/>
                  <a:gd name="T54" fmla="*/ 31 w 68"/>
                  <a:gd name="T55" fmla="*/ 302 h 312"/>
                  <a:gd name="T56" fmla="*/ 35 w 68"/>
                  <a:gd name="T57" fmla="*/ 308 h 312"/>
                  <a:gd name="T58" fmla="*/ 37 w 68"/>
                  <a:gd name="T59" fmla="*/ 312 h 312"/>
                  <a:gd name="T60" fmla="*/ 37 w 68"/>
                  <a:gd name="T61" fmla="*/ 292 h 312"/>
                  <a:gd name="T62" fmla="*/ 31 w 68"/>
                  <a:gd name="T63" fmla="*/ 281 h 312"/>
                  <a:gd name="T64" fmla="*/ 23 w 68"/>
                  <a:gd name="T65" fmla="*/ 269 h 312"/>
                  <a:gd name="T66" fmla="*/ 18 w 68"/>
                  <a:gd name="T67" fmla="*/ 258 h 312"/>
                  <a:gd name="T68" fmla="*/ 20 w 68"/>
                  <a:gd name="T69" fmla="*/ 235 h 312"/>
                  <a:gd name="T70" fmla="*/ 25 w 68"/>
                  <a:gd name="T71" fmla="*/ 212 h 312"/>
                  <a:gd name="T72" fmla="*/ 29 w 68"/>
                  <a:gd name="T73" fmla="*/ 189 h 312"/>
                  <a:gd name="T74" fmla="*/ 33 w 68"/>
                  <a:gd name="T75" fmla="*/ 187 h 312"/>
                  <a:gd name="T76" fmla="*/ 33 w 68"/>
                  <a:gd name="T77" fmla="*/ 181 h 312"/>
                  <a:gd name="T78" fmla="*/ 52 w 68"/>
                  <a:gd name="T79" fmla="*/ 181 h 312"/>
                  <a:gd name="T80" fmla="*/ 58 w 68"/>
                  <a:gd name="T81" fmla="*/ 185 h 312"/>
                  <a:gd name="T82" fmla="*/ 64 w 68"/>
                  <a:gd name="T83" fmla="*/ 190 h 312"/>
                  <a:gd name="T84" fmla="*/ 68 w 68"/>
                  <a:gd name="T85" fmla="*/ 196 h 312"/>
                  <a:gd name="T86" fmla="*/ 62 w 68"/>
                  <a:gd name="T87" fmla="*/ 183 h 312"/>
                  <a:gd name="T88" fmla="*/ 54 w 68"/>
                  <a:gd name="T89" fmla="*/ 167 h 312"/>
                  <a:gd name="T90" fmla="*/ 45 w 68"/>
                  <a:gd name="T91" fmla="*/ 158 h 312"/>
                  <a:gd name="T92" fmla="*/ 41 w 68"/>
                  <a:gd name="T93" fmla="*/ 158 h 312"/>
                  <a:gd name="T94" fmla="*/ 41 w 68"/>
                  <a:gd name="T95" fmla="*/ 104 h 312"/>
                  <a:gd name="T96" fmla="*/ 37 w 68"/>
                  <a:gd name="T97" fmla="*/ 85 h 312"/>
                  <a:gd name="T98" fmla="*/ 45 w 68"/>
                  <a:gd name="T99" fmla="*/ 73 h 312"/>
                  <a:gd name="T100" fmla="*/ 45 w 68"/>
                  <a:gd name="T101" fmla="*/ 66 h 312"/>
                  <a:gd name="T102" fmla="*/ 35 w 68"/>
                  <a:gd name="T103" fmla="*/ 46 h 312"/>
                  <a:gd name="T104" fmla="*/ 29 w 68"/>
                  <a:gd name="T105" fmla="*/ 39 h 312"/>
                  <a:gd name="T106" fmla="*/ 31 w 68"/>
                  <a:gd name="T107" fmla="*/ 33 h 312"/>
                  <a:gd name="T108" fmla="*/ 37 w 68"/>
                  <a:gd name="T109" fmla="*/ 23 h 312"/>
                  <a:gd name="T110" fmla="*/ 37 w 68"/>
                  <a:gd name="T111" fmla="*/ 16 h 312"/>
                  <a:gd name="T112" fmla="*/ 35 w 68"/>
                  <a:gd name="T113" fmla="*/ 12 h 312"/>
                  <a:gd name="T114" fmla="*/ 29 w 68"/>
                  <a:gd name="T115" fmla="*/ 6 h 312"/>
                  <a:gd name="T116" fmla="*/ 25 w 68"/>
                  <a:gd name="T117" fmla="*/ 0 h 31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8"/>
                  <a:gd name="T178" fmla="*/ 0 h 312"/>
                  <a:gd name="T179" fmla="*/ 68 w 68"/>
                  <a:gd name="T180" fmla="*/ 312 h 31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8" h="312">
                    <a:moveTo>
                      <a:pt x="25" y="0"/>
                    </a:moveTo>
                    <a:lnTo>
                      <a:pt x="23" y="6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21" y="31"/>
                    </a:lnTo>
                    <a:lnTo>
                      <a:pt x="21" y="43"/>
                    </a:lnTo>
                    <a:lnTo>
                      <a:pt x="18" y="44"/>
                    </a:lnTo>
                    <a:lnTo>
                      <a:pt x="10" y="52"/>
                    </a:lnTo>
                    <a:lnTo>
                      <a:pt x="2" y="62"/>
                    </a:lnTo>
                    <a:lnTo>
                      <a:pt x="0" y="83"/>
                    </a:lnTo>
                    <a:lnTo>
                      <a:pt x="2" y="100"/>
                    </a:lnTo>
                    <a:lnTo>
                      <a:pt x="6" y="116"/>
                    </a:lnTo>
                    <a:lnTo>
                      <a:pt x="8" y="144"/>
                    </a:lnTo>
                    <a:lnTo>
                      <a:pt x="6" y="171"/>
                    </a:lnTo>
                    <a:lnTo>
                      <a:pt x="2" y="196"/>
                    </a:lnTo>
                    <a:lnTo>
                      <a:pt x="6" y="198"/>
                    </a:lnTo>
                    <a:lnTo>
                      <a:pt x="8" y="206"/>
                    </a:lnTo>
                    <a:lnTo>
                      <a:pt x="6" y="212"/>
                    </a:lnTo>
                    <a:lnTo>
                      <a:pt x="4" y="214"/>
                    </a:lnTo>
                    <a:lnTo>
                      <a:pt x="2" y="219"/>
                    </a:lnTo>
                    <a:lnTo>
                      <a:pt x="10" y="235"/>
                    </a:lnTo>
                    <a:lnTo>
                      <a:pt x="10" y="258"/>
                    </a:lnTo>
                    <a:lnTo>
                      <a:pt x="4" y="283"/>
                    </a:lnTo>
                    <a:lnTo>
                      <a:pt x="0" y="308"/>
                    </a:lnTo>
                    <a:lnTo>
                      <a:pt x="10" y="288"/>
                    </a:lnTo>
                    <a:lnTo>
                      <a:pt x="16" y="288"/>
                    </a:lnTo>
                    <a:lnTo>
                      <a:pt x="29" y="300"/>
                    </a:lnTo>
                    <a:lnTo>
                      <a:pt x="31" y="302"/>
                    </a:lnTo>
                    <a:lnTo>
                      <a:pt x="35" y="308"/>
                    </a:lnTo>
                    <a:lnTo>
                      <a:pt x="37" y="312"/>
                    </a:lnTo>
                    <a:lnTo>
                      <a:pt x="37" y="292"/>
                    </a:lnTo>
                    <a:lnTo>
                      <a:pt x="31" y="281"/>
                    </a:lnTo>
                    <a:lnTo>
                      <a:pt x="23" y="269"/>
                    </a:lnTo>
                    <a:lnTo>
                      <a:pt x="18" y="258"/>
                    </a:lnTo>
                    <a:lnTo>
                      <a:pt x="20" y="235"/>
                    </a:lnTo>
                    <a:lnTo>
                      <a:pt x="25" y="212"/>
                    </a:lnTo>
                    <a:lnTo>
                      <a:pt x="29" y="189"/>
                    </a:lnTo>
                    <a:lnTo>
                      <a:pt x="33" y="187"/>
                    </a:lnTo>
                    <a:lnTo>
                      <a:pt x="33" y="181"/>
                    </a:lnTo>
                    <a:lnTo>
                      <a:pt x="52" y="181"/>
                    </a:lnTo>
                    <a:lnTo>
                      <a:pt x="58" y="185"/>
                    </a:lnTo>
                    <a:lnTo>
                      <a:pt x="64" y="190"/>
                    </a:lnTo>
                    <a:lnTo>
                      <a:pt x="68" y="196"/>
                    </a:lnTo>
                    <a:lnTo>
                      <a:pt x="62" y="183"/>
                    </a:lnTo>
                    <a:lnTo>
                      <a:pt x="54" y="167"/>
                    </a:lnTo>
                    <a:lnTo>
                      <a:pt x="45" y="158"/>
                    </a:lnTo>
                    <a:lnTo>
                      <a:pt x="41" y="158"/>
                    </a:lnTo>
                    <a:lnTo>
                      <a:pt x="41" y="104"/>
                    </a:lnTo>
                    <a:lnTo>
                      <a:pt x="37" y="85"/>
                    </a:lnTo>
                    <a:lnTo>
                      <a:pt x="45" y="73"/>
                    </a:lnTo>
                    <a:lnTo>
                      <a:pt x="45" y="66"/>
                    </a:lnTo>
                    <a:lnTo>
                      <a:pt x="35" y="46"/>
                    </a:lnTo>
                    <a:lnTo>
                      <a:pt x="29" y="39"/>
                    </a:lnTo>
                    <a:lnTo>
                      <a:pt x="31" y="33"/>
                    </a:lnTo>
                    <a:lnTo>
                      <a:pt x="37" y="23"/>
                    </a:lnTo>
                    <a:lnTo>
                      <a:pt x="37" y="16"/>
                    </a:lnTo>
                    <a:lnTo>
                      <a:pt x="35" y="12"/>
                    </a:lnTo>
                    <a:lnTo>
                      <a:pt x="29" y="6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5" name="Freeform 63"/>
              <p:cNvSpPr>
                <a:spLocks/>
              </p:cNvSpPr>
              <p:nvPr/>
            </p:nvSpPr>
            <p:spPr bwMode="gray">
              <a:xfrm>
                <a:off x="3275" y="1857"/>
                <a:ext cx="44" cy="29"/>
              </a:xfrm>
              <a:custGeom>
                <a:avLst/>
                <a:gdLst>
                  <a:gd name="T0" fmla="*/ 33 w 86"/>
                  <a:gd name="T1" fmla="*/ 4 h 58"/>
                  <a:gd name="T2" fmla="*/ 29 w 86"/>
                  <a:gd name="T3" fmla="*/ 6 h 58"/>
                  <a:gd name="T4" fmla="*/ 25 w 86"/>
                  <a:gd name="T5" fmla="*/ 10 h 58"/>
                  <a:gd name="T6" fmla="*/ 21 w 86"/>
                  <a:gd name="T7" fmla="*/ 12 h 58"/>
                  <a:gd name="T8" fmla="*/ 25 w 86"/>
                  <a:gd name="T9" fmla="*/ 0 h 58"/>
                  <a:gd name="T10" fmla="*/ 17 w 86"/>
                  <a:gd name="T11" fmla="*/ 0 h 58"/>
                  <a:gd name="T12" fmla="*/ 13 w 86"/>
                  <a:gd name="T13" fmla="*/ 4 h 58"/>
                  <a:gd name="T14" fmla="*/ 8 w 86"/>
                  <a:gd name="T15" fmla="*/ 8 h 58"/>
                  <a:gd name="T16" fmla="*/ 6 w 86"/>
                  <a:gd name="T17" fmla="*/ 12 h 58"/>
                  <a:gd name="T18" fmla="*/ 4 w 86"/>
                  <a:gd name="T19" fmla="*/ 17 h 58"/>
                  <a:gd name="T20" fmla="*/ 6 w 86"/>
                  <a:gd name="T21" fmla="*/ 25 h 58"/>
                  <a:gd name="T22" fmla="*/ 6 w 86"/>
                  <a:gd name="T23" fmla="*/ 31 h 58"/>
                  <a:gd name="T24" fmla="*/ 2 w 86"/>
                  <a:gd name="T25" fmla="*/ 35 h 58"/>
                  <a:gd name="T26" fmla="*/ 0 w 86"/>
                  <a:gd name="T27" fmla="*/ 39 h 58"/>
                  <a:gd name="T28" fmla="*/ 4 w 86"/>
                  <a:gd name="T29" fmla="*/ 40 h 58"/>
                  <a:gd name="T30" fmla="*/ 13 w 86"/>
                  <a:gd name="T31" fmla="*/ 46 h 58"/>
                  <a:gd name="T32" fmla="*/ 29 w 86"/>
                  <a:gd name="T33" fmla="*/ 52 h 58"/>
                  <a:gd name="T34" fmla="*/ 44 w 86"/>
                  <a:gd name="T35" fmla="*/ 56 h 58"/>
                  <a:gd name="T36" fmla="*/ 69 w 86"/>
                  <a:gd name="T37" fmla="*/ 56 h 58"/>
                  <a:gd name="T38" fmla="*/ 75 w 86"/>
                  <a:gd name="T39" fmla="*/ 58 h 58"/>
                  <a:gd name="T40" fmla="*/ 77 w 86"/>
                  <a:gd name="T41" fmla="*/ 58 h 58"/>
                  <a:gd name="T42" fmla="*/ 86 w 86"/>
                  <a:gd name="T43" fmla="*/ 54 h 58"/>
                  <a:gd name="T44" fmla="*/ 82 w 86"/>
                  <a:gd name="T45" fmla="*/ 29 h 58"/>
                  <a:gd name="T46" fmla="*/ 75 w 86"/>
                  <a:gd name="T47" fmla="*/ 29 h 58"/>
                  <a:gd name="T48" fmla="*/ 61 w 86"/>
                  <a:gd name="T49" fmla="*/ 27 h 58"/>
                  <a:gd name="T50" fmla="*/ 52 w 86"/>
                  <a:gd name="T51" fmla="*/ 23 h 58"/>
                  <a:gd name="T52" fmla="*/ 33 w 86"/>
                  <a:gd name="T53" fmla="*/ 4 h 5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6"/>
                  <a:gd name="T82" fmla="*/ 0 h 58"/>
                  <a:gd name="T83" fmla="*/ 86 w 86"/>
                  <a:gd name="T84" fmla="*/ 58 h 58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6" h="58">
                    <a:moveTo>
                      <a:pt x="33" y="4"/>
                    </a:moveTo>
                    <a:lnTo>
                      <a:pt x="29" y="6"/>
                    </a:lnTo>
                    <a:lnTo>
                      <a:pt x="25" y="10"/>
                    </a:lnTo>
                    <a:lnTo>
                      <a:pt x="21" y="12"/>
                    </a:lnTo>
                    <a:lnTo>
                      <a:pt x="25" y="0"/>
                    </a:lnTo>
                    <a:lnTo>
                      <a:pt x="17" y="0"/>
                    </a:lnTo>
                    <a:lnTo>
                      <a:pt x="13" y="4"/>
                    </a:lnTo>
                    <a:lnTo>
                      <a:pt x="8" y="8"/>
                    </a:lnTo>
                    <a:lnTo>
                      <a:pt x="6" y="12"/>
                    </a:lnTo>
                    <a:lnTo>
                      <a:pt x="4" y="17"/>
                    </a:lnTo>
                    <a:lnTo>
                      <a:pt x="6" y="25"/>
                    </a:lnTo>
                    <a:lnTo>
                      <a:pt x="6" y="31"/>
                    </a:lnTo>
                    <a:lnTo>
                      <a:pt x="2" y="35"/>
                    </a:lnTo>
                    <a:lnTo>
                      <a:pt x="0" y="39"/>
                    </a:lnTo>
                    <a:lnTo>
                      <a:pt x="4" y="40"/>
                    </a:lnTo>
                    <a:lnTo>
                      <a:pt x="13" y="46"/>
                    </a:lnTo>
                    <a:lnTo>
                      <a:pt x="29" y="52"/>
                    </a:lnTo>
                    <a:lnTo>
                      <a:pt x="44" y="56"/>
                    </a:lnTo>
                    <a:lnTo>
                      <a:pt x="69" y="56"/>
                    </a:lnTo>
                    <a:lnTo>
                      <a:pt x="75" y="58"/>
                    </a:lnTo>
                    <a:lnTo>
                      <a:pt x="77" y="58"/>
                    </a:lnTo>
                    <a:lnTo>
                      <a:pt x="86" y="54"/>
                    </a:lnTo>
                    <a:lnTo>
                      <a:pt x="82" y="29"/>
                    </a:lnTo>
                    <a:lnTo>
                      <a:pt x="75" y="29"/>
                    </a:lnTo>
                    <a:lnTo>
                      <a:pt x="61" y="27"/>
                    </a:lnTo>
                    <a:lnTo>
                      <a:pt x="52" y="23"/>
                    </a:lnTo>
                    <a:lnTo>
                      <a:pt x="33" y="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6" name="Freeform 64"/>
              <p:cNvSpPr>
                <a:spLocks/>
              </p:cNvSpPr>
              <p:nvPr/>
            </p:nvSpPr>
            <p:spPr bwMode="gray">
              <a:xfrm>
                <a:off x="3495" y="1778"/>
                <a:ext cx="23" cy="18"/>
              </a:xfrm>
              <a:custGeom>
                <a:avLst/>
                <a:gdLst>
                  <a:gd name="T0" fmla="*/ 27 w 47"/>
                  <a:gd name="T1" fmla="*/ 0 h 34"/>
                  <a:gd name="T2" fmla="*/ 29 w 47"/>
                  <a:gd name="T3" fmla="*/ 3 h 34"/>
                  <a:gd name="T4" fmla="*/ 39 w 47"/>
                  <a:gd name="T5" fmla="*/ 11 h 34"/>
                  <a:gd name="T6" fmla="*/ 41 w 47"/>
                  <a:gd name="T7" fmla="*/ 11 h 34"/>
                  <a:gd name="T8" fmla="*/ 47 w 47"/>
                  <a:gd name="T9" fmla="*/ 15 h 34"/>
                  <a:gd name="T10" fmla="*/ 43 w 47"/>
                  <a:gd name="T11" fmla="*/ 26 h 34"/>
                  <a:gd name="T12" fmla="*/ 37 w 47"/>
                  <a:gd name="T13" fmla="*/ 30 h 34"/>
                  <a:gd name="T14" fmla="*/ 29 w 47"/>
                  <a:gd name="T15" fmla="*/ 32 h 34"/>
                  <a:gd name="T16" fmla="*/ 23 w 47"/>
                  <a:gd name="T17" fmla="*/ 34 h 34"/>
                  <a:gd name="T18" fmla="*/ 14 w 47"/>
                  <a:gd name="T19" fmla="*/ 26 h 34"/>
                  <a:gd name="T20" fmla="*/ 6 w 47"/>
                  <a:gd name="T21" fmla="*/ 17 h 34"/>
                  <a:gd name="T22" fmla="*/ 0 w 47"/>
                  <a:gd name="T23" fmla="*/ 7 h 34"/>
                  <a:gd name="T24" fmla="*/ 6 w 47"/>
                  <a:gd name="T25" fmla="*/ 9 h 34"/>
                  <a:gd name="T26" fmla="*/ 14 w 47"/>
                  <a:gd name="T27" fmla="*/ 11 h 34"/>
                  <a:gd name="T28" fmla="*/ 23 w 47"/>
                  <a:gd name="T29" fmla="*/ 11 h 34"/>
                  <a:gd name="T30" fmla="*/ 23 w 47"/>
                  <a:gd name="T31" fmla="*/ 1 h 34"/>
                  <a:gd name="T32" fmla="*/ 27 w 47"/>
                  <a:gd name="T33" fmla="*/ 0 h 3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7"/>
                  <a:gd name="T52" fmla="*/ 0 h 34"/>
                  <a:gd name="T53" fmla="*/ 47 w 47"/>
                  <a:gd name="T54" fmla="*/ 34 h 3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7" h="34">
                    <a:moveTo>
                      <a:pt x="27" y="0"/>
                    </a:moveTo>
                    <a:lnTo>
                      <a:pt x="29" y="3"/>
                    </a:lnTo>
                    <a:lnTo>
                      <a:pt x="39" y="11"/>
                    </a:lnTo>
                    <a:lnTo>
                      <a:pt x="41" y="11"/>
                    </a:lnTo>
                    <a:lnTo>
                      <a:pt x="47" y="15"/>
                    </a:lnTo>
                    <a:lnTo>
                      <a:pt x="43" y="26"/>
                    </a:lnTo>
                    <a:lnTo>
                      <a:pt x="37" y="30"/>
                    </a:lnTo>
                    <a:lnTo>
                      <a:pt x="29" y="32"/>
                    </a:lnTo>
                    <a:lnTo>
                      <a:pt x="23" y="34"/>
                    </a:lnTo>
                    <a:lnTo>
                      <a:pt x="14" y="26"/>
                    </a:lnTo>
                    <a:lnTo>
                      <a:pt x="6" y="17"/>
                    </a:lnTo>
                    <a:lnTo>
                      <a:pt x="0" y="7"/>
                    </a:lnTo>
                    <a:lnTo>
                      <a:pt x="6" y="9"/>
                    </a:lnTo>
                    <a:lnTo>
                      <a:pt x="14" y="11"/>
                    </a:lnTo>
                    <a:lnTo>
                      <a:pt x="23" y="11"/>
                    </a:lnTo>
                    <a:lnTo>
                      <a:pt x="23" y="1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7" name="Freeform 65"/>
              <p:cNvSpPr>
                <a:spLocks/>
              </p:cNvSpPr>
              <p:nvPr/>
            </p:nvSpPr>
            <p:spPr bwMode="gray">
              <a:xfrm>
                <a:off x="3501" y="1771"/>
                <a:ext cx="4" cy="5"/>
              </a:xfrm>
              <a:custGeom>
                <a:avLst/>
                <a:gdLst>
                  <a:gd name="T0" fmla="*/ 4 w 8"/>
                  <a:gd name="T1" fmla="*/ 0 h 12"/>
                  <a:gd name="T2" fmla="*/ 6 w 8"/>
                  <a:gd name="T3" fmla="*/ 4 h 12"/>
                  <a:gd name="T4" fmla="*/ 8 w 8"/>
                  <a:gd name="T5" fmla="*/ 10 h 12"/>
                  <a:gd name="T6" fmla="*/ 4 w 8"/>
                  <a:gd name="T7" fmla="*/ 12 h 12"/>
                  <a:gd name="T8" fmla="*/ 2 w 8"/>
                  <a:gd name="T9" fmla="*/ 8 h 12"/>
                  <a:gd name="T10" fmla="*/ 0 w 8"/>
                  <a:gd name="T11" fmla="*/ 2 h 12"/>
                  <a:gd name="T12" fmla="*/ 4 w 8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12"/>
                  <a:gd name="T23" fmla="*/ 8 w 8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12">
                    <a:moveTo>
                      <a:pt x="4" y="0"/>
                    </a:moveTo>
                    <a:lnTo>
                      <a:pt x="6" y="4"/>
                    </a:lnTo>
                    <a:lnTo>
                      <a:pt x="8" y="10"/>
                    </a:lnTo>
                    <a:lnTo>
                      <a:pt x="4" y="12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8" name="Freeform 66"/>
              <p:cNvSpPr>
                <a:spLocks/>
              </p:cNvSpPr>
              <p:nvPr/>
            </p:nvSpPr>
            <p:spPr bwMode="gray">
              <a:xfrm>
                <a:off x="3493" y="1748"/>
                <a:ext cx="9" cy="3"/>
              </a:xfrm>
              <a:custGeom>
                <a:avLst/>
                <a:gdLst>
                  <a:gd name="T0" fmla="*/ 3 w 17"/>
                  <a:gd name="T1" fmla="*/ 0 h 8"/>
                  <a:gd name="T2" fmla="*/ 17 w 17"/>
                  <a:gd name="T3" fmla="*/ 4 h 8"/>
                  <a:gd name="T4" fmla="*/ 15 w 17"/>
                  <a:gd name="T5" fmla="*/ 8 h 8"/>
                  <a:gd name="T6" fmla="*/ 3 w 17"/>
                  <a:gd name="T7" fmla="*/ 8 h 8"/>
                  <a:gd name="T8" fmla="*/ 2 w 17"/>
                  <a:gd name="T9" fmla="*/ 6 h 8"/>
                  <a:gd name="T10" fmla="*/ 0 w 17"/>
                  <a:gd name="T11" fmla="*/ 2 h 8"/>
                  <a:gd name="T12" fmla="*/ 3 w 17"/>
                  <a:gd name="T13" fmla="*/ 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"/>
                  <a:gd name="T22" fmla="*/ 0 h 8"/>
                  <a:gd name="T23" fmla="*/ 17 w 17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" h="8">
                    <a:moveTo>
                      <a:pt x="3" y="0"/>
                    </a:moveTo>
                    <a:lnTo>
                      <a:pt x="17" y="4"/>
                    </a:lnTo>
                    <a:lnTo>
                      <a:pt x="15" y="8"/>
                    </a:lnTo>
                    <a:lnTo>
                      <a:pt x="3" y="8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79" name="Freeform 67"/>
              <p:cNvSpPr>
                <a:spLocks/>
              </p:cNvSpPr>
              <p:nvPr/>
            </p:nvSpPr>
            <p:spPr bwMode="gray">
              <a:xfrm>
                <a:off x="3407" y="1719"/>
                <a:ext cx="36" cy="36"/>
              </a:xfrm>
              <a:custGeom>
                <a:avLst/>
                <a:gdLst>
                  <a:gd name="T0" fmla="*/ 23 w 73"/>
                  <a:gd name="T1" fmla="*/ 0 h 73"/>
                  <a:gd name="T2" fmla="*/ 33 w 73"/>
                  <a:gd name="T3" fmla="*/ 8 h 73"/>
                  <a:gd name="T4" fmla="*/ 40 w 73"/>
                  <a:gd name="T5" fmla="*/ 18 h 73"/>
                  <a:gd name="T6" fmla="*/ 50 w 73"/>
                  <a:gd name="T7" fmla="*/ 23 h 73"/>
                  <a:gd name="T8" fmla="*/ 61 w 73"/>
                  <a:gd name="T9" fmla="*/ 23 h 73"/>
                  <a:gd name="T10" fmla="*/ 63 w 73"/>
                  <a:gd name="T11" fmla="*/ 29 h 73"/>
                  <a:gd name="T12" fmla="*/ 67 w 73"/>
                  <a:gd name="T13" fmla="*/ 35 h 73"/>
                  <a:gd name="T14" fmla="*/ 69 w 73"/>
                  <a:gd name="T15" fmla="*/ 39 h 73"/>
                  <a:gd name="T16" fmla="*/ 73 w 73"/>
                  <a:gd name="T17" fmla="*/ 41 h 73"/>
                  <a:gd name="T18" fmla="*/ 73 w 73"/>
                  <a:gd name="T19" fmla="*/ 58 h 73"/>
                  <a:gd name="T20" fmla="*/ 69 w 73"/>
                  <a:gd name="T21" fmla="*/ 58 h 73"/>
                  <a:gd name="T22" fmla="*/ 69 w 73"/>
                  <a:gd name="T23" fmla="*/ 54 h 73"/>
                  <a:gd name="T24" fmla="*/ 65 w 73"/>
                  <a:gd name="T25" fmla="*/ 54 h 73"/>
                  <a:gd name="T26" fmla="*/ 65 w 73"/>
                  <a:gd name="T27" fmla="*/ 66 h 73"/>
                  <a:gd name="T28" fmla="*/ 52 w 73"/>
                  <a:gd name="T29" fmla="*/ 70 h 73"/>
                  <a:gd name="T30" fmla="*/ 42 w 73"/>
                  <a:gd name="T31" fmla="*/ 71 h 73"/>
                  <a:gd name="T32" fmla="*/ 31 w 73"/>
                  <a:gd name="T33" fmla="*/ 73 h 73"/>
                  <a:gd name="T34" fmla="*/ 31 w 73"/>
                  <a:gd name="T35" fmla="*/ 62 h 73"/>
                  <a:gd name="T36" fmla="*/ 25 w 73"/>
                  <a:gd name="T37" fmla="*/ 58 h 73"/>
                  <a:gd name="T38" fmla="*/ 19 w 73"/>
                  <a:gd name="T39" fmla="*/ 52 h 73"/>
                  <a:gd name="T40" fmla="*/ 15 w 73"/>
                  <a:gd name="T41" fmla="*/ 46 h 73"/>
                  <a:gd name="T42" fmla="*/ 13 w 73"/>
                  <a:gd name="T43" fmla="*/ 43 h 73"/>
                  <a:gd name="T44" fmla="*/ 15 w 73"/>
                  <a:gd name="T45" fmla="*/ 39 h 73"/>
                  <a:gd name="T46" fmla="*/ 15 w 73"/>
                  <a:gd name="T47" fmla="*/ 35 h 73"/>
                  <a:gd name="T48" fmla="*/ 11 w 73"/>
                  <a:gd name="T49" fmla="*/ 29 h 73"/>
                  <a:gd name="T50" fmla="*/ 6 w 73"/>
                  <a:gd name="T51" fmla="*/ 22 h 73"/>
                  <a:gd name="T52" fmla="*/ 0 w 73"/>
                  <a:gd name="T53" fmla="*/ 16 h 73"/>
                  <a:gd name="T54" fmla="*/ 8 w 73"/>
                  <a:gd name="T55" fmla="*/ 12 h 73"/>
                  <a:gd name="T56" fmla="*/ 23 w 73"/>
                  <a:gd name="T57" fmla="*/ 0 h 7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73"/>
                  <a:gd name="T88" fmla="*/ 0 h 73"/>
                  <a:gd name="T89" fmla="*/ 73 w 73"/>
                  <a:gd name="T90" fmla="*/ 73 h 73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73" h="73">
                    <a:moveTo>
                      <a:pt x="23" y="0"/>
                    </a:moveTo>
                    <a:lnTo>
                      <a:pt x="33" y="8"/>
                    </a:lnTo>
                    <a:lnTo>
                      <a:pt x="40" y="18"/>
                    </a:lnTo>
                    <a:lnTo>
                      <a:pt x="50" y="23"/>
                    </a:lnTo>
                    <a:lnTo>
                      <a:pt x="61" y="23"/>
                    </a:lnTo>
                    <a:lnTo>
                      <a:pt x="63" y="29"/>
                    </a:lnTo>
                    <a:lnTo>
                      <a:pt x="67" y="35"/>
                    </a:lnTo>
                    <a:lnTo>
                      <a:pt x="69" y="39"/>
                    </a:lnTo>
                    <a:lnTo>
                      <a:pt x="73" y="41"/>
                    </a:lnTo>
                    <a:lnTo>
                      <a:pt x="73" y="58"/>
                    </a:lnTo>
                    <a:lnTo>
                      <a:pt x="69" y="58"/>
                    </a:lnTo>
                    <a:lnTo>
                      <a:pt x="69" y="54"/>
                    </a:lnTo>
                    <a:lnTo>
                      <a:pt x="65" y="54"/>
                    </a:lnTo>
                    <a:lnTo>
                      <a:pt x="65" y="66"/>
                    </a:lnTo>
                    <a:lnTo>
                      <a:pt x="52" y="70"/>
                    </a:lnTo>
                    <a:lnTo>
                      <a:pt x="42" y="71"/>
                    </a:lnTo>
                    <a:lnTo>
                      <a:pt x="31" y="73"/>
                    </a:lnTo>
                    <a:lnTo>
                      <a:pt x="31" y="62"/>
                    </a:lnTo>
                    <a:lnTo>
                      <a:pt x="25" y="58"/>
                    </a:lnTo>
                    <a:lnTo>
                      <a:pt x="19" y="52"/>
                    </a:lnTo>
                    <a:lnTo>
                      <a:pt x="15" y="46"/>
                    </a:lnTo>
                    <a:lnTo>
                      <a:pt x="13" y="43"/>
                    </a:lnTo>
                    <a:lnTo>
                      <a:pt x="15" y="39"/>
                    </a:lnTo>
                    <a:lnTo>
                      <a:pt x="15" y="35"/>
                    </a:lnTo>
                    <a:lnTo>
                      <a:pt x="11" y="29"/>
                    </a:lnTo>
                    <a:lnTo>
                      <a:pt x="6" y="22"/>
                    </a:lnTo>
                    <a:lnTo>
                      <a:pt x="0" y="16"/>
                    </a:lnTo>
                    <a:lnTo>
                      <a:pt x="8" y="12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0" name="Freeform 68"/>
              <p:cNvSpPr>
                <a:spLocks/>
              </p:cNvSpPr>
              <p:nvPr/>
            </p:nvSpPr>
            <p:spPr bwMode="gray">
              <a:xfrm>
                <a:off x="3465" y="1701"/>
                <a:ext cx="23" cy="39"/>
              </a:xfrm>
              <a:custGeom>
                <a:avLst/>
                <a:gdLst>
                  <a:gd name="T0" fmla="*/ 8 w 46"/>
                  <a:gd name="T1" fmla="*/ 0 h 77"/>
                  <a:gd name="T2" fmla="*/ 13 w 46"/>
                  <a:gd name="T3" fmla="*/ 2 h 77"/>
                  <a:gd name="T4" fmla="*/ 21 w 46"/>
                  <a:gd name="T5" fmla="*/ 6 h 77"/>
                  <a:gd name="T6" fmla="*/ 31 w 46"/>
                  <a:gd name="T7" fmla="*/ 7 h 77"/>
                  <a:gd name="T8" fmla="*/ 31 w 46"/>
                  <a:gd name="T9" fmla="*/ 27 h 77"/>
                  <a:gd name="T10" fmla="*/ 35 w 46"/>
                  <a:gd name="T11" fmla="*/ 38 h 77"/>
                  <a:gd name="T12" fmla="*/ 38 w 46"/>
                  <a:gd name="T13" fmla="*/ 46 h 77"/>
                  <a:gd name="T14" fmla="*/ 44 w 46"/>
                  <a:gd name="T15" fmla="*/ 54 h 77"/>
                  <a:gd name="T16" fmla="*/ 46 w 46"/>
                  <a:gd name="T17" fmla="*/ 65 h 77"/>
                  <a:gd name="T18" fmla="*/ 35 w 46"/>
                  <a:gd name="T19" fmla="*/ 77 h 77"/>
                  <a:gd name="T20" fmla="*/ 23 w 46"/>
                  <a:gd name="T21" fmla="*/ 63 h 77"/>
                  <a:gd name="T22" fmla="*/ 13 w 46"/>
                  <a:gd name="T23" fmla="*/ 52 h 77"/>
                  <a:gd name="T24" fmla="*/ 0 w 46"/>
                  <a:gd name="T25" fmla="*/ 42 h 77"/>
                  <a:gd name="T26" fmla="*/ 0 w 46"/>
                  <a:gd name="T27" fmla="*/ 34 h 77"/>
                  <a:gd name="T28" fmla="*/ 8 w 46"/>
                  <a:gd name="T29" fmla="*/ 38 h 77"/>
                  <a:gd name="T30" fmla="*/ 12 w 46"/>
                  <a:gd name="T31" fmla="*/ 38 h 77"/>
                  <a:gd name="T32" fmla="*/ 10 w 46"/>
                  <a:gd name="T33" fmla="*/ 34 h 77"/>
                  <a:gd name="T34" fmla="*/ 6 w 46"/>
                  <a:gd name="T35" fmla="*/ 31 h 77"/>
                  <a:gd name="T36" fmla="*/ 12 w 46"/>
                  <a:gd name="T37" fmla="*/ 27 h 77"/>
                  <a:gd name="T38" fmla="*/ 12 w 46"/>
                  <a:gd name="T39" fmla="*/ 29 h 77"/>
                  <a:gd name="T40" fmla="*/ 15 w 46"/>
                  <a:gd name="T41" fmla="*/ 31 h 77"/>
                  <a:gd name="T42" fmla="*/ 19 w 46"/>
                  <a:gd name="T43" fmla="*/ 31 h 77"/>
                  <a:gd name="T44" fmla="*/ 19 w 46"/>
                  <a:gd name="T45" fmla="*/ 25 h 77"/>
                  <a:gd name="T46" fmla="*/ 21 w 46"/>
                  <a:gd name="T47" fmla="*/ 13 h 77"/>
                  <a:gd name="T48" fmla="*/ 15 w 46"/>
                  <a:gd name="T49" fmla="*/ 11 h 77"/>
                  <a:gd name="T50" fmla="*/ 15 w 46"/>
                  <a:gd name="T51" fmla="*/ 15 h 77"/>
                  <a:gd name="T52" fmla="*/ 8 w 46"/>
                  <a:gd name="T53" fmla="*/ 15 h 77"/>
                  <a:gd name="T54" fmla="*/ 4 w 46"/>
                  <a:gd name="T55" fmla="*/ 11 h 77"/>
                  <a:gd name="T56" fmla="*/ 2 w 46"/>
                  <a:gd name="T57" fmla="*/ 4 h 77"/>
                  <a:gd name="T58" fmla="*/ 8 w 46"/>
                  <a:gd name="T59" fmla="*/ 0 h 7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46"/>
                  <a:gd name="T91" fmla="*/ 0 h 77"/>
                  <a:gd name="T92" fmla="*/ 46 w 46"/>
                  <a:gd name="T93" fmla="*/ 77 h 77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46" h="77">
                    <a:moveTo>
                      <a:pt x="8" y="0"/>
                    </a:moveTo>
                    <a:lnTo>
                      <a:pt x="13" y="2"/>
                    </a:lnTo>
                    <a:lnTo>
                      <a:pt x="21" y="6"/>
                    </a:lnTo>
                    <a:lnTo>
                      <a:pt x="31" y="7"/>
                    </a:lnTo>
                    <a:lnTo>
                      <a:pt x="31" y="27"/>
                    </a:lnTo>
                    <a:lnTo>
                      <a:pt x="35" y="38"/>
                    </a:lnTo>
                    <a:lnTo>
                      <a:pt x="38" y="46"/>
                    </a:lnTo>
                    <a:lnTo>
                      <a:pt x="44" y="54"/>
                    </a:lnTo>
                    <a:lnTo>
                      <a:pt x="46" y="65"/>
                    </a:lnTo>
                    <a:lnTo>
                      <a:pt x="35" y="77"/>
                    </a:lnTo>
                    <a:lnTo>
                      <a:pt x="23" y="63"/>
                    </a:lnTo>
                    <a:lnTo>
                      <a:pt x="13" y="52"/>
                    </a:lnTo>
                    <a:lnTo>
                      <a:pt x="0" y="42"/>
                    </a:lnTo>
                    <a:lnTo>
                      <a:pt x="0" y="34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0" y="34"/>
                    </a:lnTo>
                    <a:lnTo>
                      <a:pt x="6" y="31"/>
                    </a:lnTo>
                    <a:lnTo>
                      <a:pt x="12" y="27"/>
                    </a:lnTo>
                    <a:lnTo>
                      <a:pt x="12" y="29"/>
                    </a:lnTo>
                    <a:lnTo>
                      <a:pt x="15" y="31"/>
                    </a:lnTo>
                    <a:lnTo>
                      <a:pt x="19" y="31"/>
                    </a:lnTo>
                    <a:lnTo>
                      <a:pt x="19" y="25"/>
                    </a:lnTo>
                    <a:lnTo>
                      <a:pt x="21" y="13"/>
                    </a:lnTo>
                    <a:lnTo>
                      <a:pt x="15" y="11"/>
                    </a:lnTo>
                    <a:lnTo>
                      <a:pt x="15" y="15"/>
                    </a:lnTo>
                    <a:lnTo>
                      <a:pt x="8" y="15"/>
                    </a:lnTo>
                    <a:lnTo>
                      <a:pt x="4" y="11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1" name="Freeform 69"/>
              <p:cNvSpPr>
                <a:spLocks/>
              </p:cNvSpPr>
              <p:nvPr/>
            </p:nvSpPr>
            <p:spPr bwMode="gray">
              <a:xfrm>
                <a:off x="3460" y="1678"/>
                <a:ext cx="13" cy="12"/>
              </a:xfrm>
              <a:custGeom>
                <a:avLst/>
                <a:gdLst>
                  <a:gd name="T0" fmla="*/ 2 w 27"/>
                  <a:gd name="T1" fmla="*/ 0 h 23"/>
                  <a:gd name="T2" fmla="*/ 16 w 27"/>
                  <a:gd name="T3" fmla="*/ 5 h 23"/>
                  <a:gd name="T4" fmla="*/ 18 w 27"/>
                  <a:gd name="T5" fmla="*/ 9 h 23"/>
                  <a:gd name="T6" fmla="*/ 22 w 27"/>
                  <a:gd name="T7" fmla="*/ 15 h 23"/>
                  <a:gd name="T8" fmla="*/ 27 w 27"/>
                  <a:gd name="T9" fmla="*/ 23 h 23"/>
                  <a:gd name="T10" fmla="*/ 6 w 27"/>
                  <a:gd name="T11" fmla="*/ 23 h 23"/>
                  <a:gd name="T12" fmla="*/ 2 w 27"/>
                  <a:gd name="T13" fmla="*/ 13 h 23"/>
                  <a:gd name="T14" fmla="*/ 0 w 27"/>
                  <a:gd name="T15" fmla="*/ 4 h 23"/>
                  <a:gd name="T16" fmla="*/ 2 w 27"/>
                  <a:gd name="T17" fmla="*/ 0 h 2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7"/>
                  <a:gd name="T28" fmla="*/ 0 h 23"/>
                  <a:gd name="T29" fmla="*/ 27 w 27"/>
                  <a:gd name="T30" fmla="*/ 23 h 2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7" h="23">
                    <a:moveTo>
                      <a:pt x="2" y="0"/>
                    </a:moveTo>
                    <a:lnTo>
                      <a:pt x="16" y="5"/>
                    </a:lnTo>
                    <a:lnTo>
                      <a:pt x="18" y="9"/>
                    </a:lnTo>
                    <a:lnTo>
                      <a:pt x="22" y="15"/>
                    </a:lnTo>
                    <a:lnTo>
                      <a:pt x="27" y="23"/>
                    </a:lnTo>
                    <a:lnTo>
                      <a:pt x="6" y="23"/>
                    </a:lnTo>
                    <a:lnTo>
                      <a:pt x="2" y="13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2" name="Freeform 70"/>
              <p:cNvSpPr>
                <a:spLocks/>
              </p:cNvSpPr>
              <p:nvPr/>
            </p:nvSpPr>
            <p:spPr bwMode="gray">
              <a:xfrm>
                <a:off x="3514" y="1653"/>
                <a:ext cx="3" cy="4"/>
              </a:xfrm>
              <a:custGeom>
                <a:avLst/>
                <a:gdLst>
                  <a:gd name="T0" fmla="*/ 4 w 6"/>
                  <a:gd name="T1" fmla="*/ 0 h 7"/>
                  <a:gd name="T2" fmla="*/ 6 w 6"/>
                  <a:gd name="T3" fmla="*/ 4 h 7"/>
                  <a:gd name="T4" fmla="*/ 2 w 6"/>
                  <a:gd name="T5" fmla="*/ 7 h 7"/>
                  <a:gd name="T6" fmla="*/ 0 w 6"/>
                  <a:gd name="T7" fmla="*/ 7 h 7"/>
                  <a:gd name="T8" fmla="*/ 0 w 6"/>
                  <a:gd name="T9" fmla="*/ 0 h 7"/>
                  <a:gd name="T10" fmla="*/ 4 w 6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7"/>
                  <a:gd name="T20" fmla="*/ 6 w 6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7">
                    <a:moveTo>
                      <a:pt x="4" y="0"/>
                    </a:moveTo>
                    <a:lnTo>
                      <a:pt x="6" y="4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3" name="Freeform 71"/>
              <p:cNvSpPr>
                <a:spLocks/>
              </p:cNvSpPr>
              <p:nvPr/>
            </p:nvSpPr>
            <p:spPr bwMode="gray">
              <a:xfrm>
                <a:off x="3641" y="1547"/>
                <a:ext cx="15" cy="17"/>
              </a:xfrm>
              <a:custGeom>
                <a:avLst/>
                <a:gdLst>
                  <a:gd name="T0" fmla="*/ 12 w 31"/>
                  <a:gd name="T1" fmla="*/ 0 h 35"/>
                  <a:gd name="T2" fmla="*/ 8 w 31"/>
                  <a:gd name="T3" fmla="*/ 4 h 35"/>
                  <a:gd name="T4" fmla="*/ 4 w 31"/>
                  <a:gd name="T5" fmla="*/ 6 h 35"/>
                  <a:gd name="T6" fmla="*/ 0 w 31"/>
                  <a:gd name="T7" fmla="*/ 6 h 35"/>
                  <a:gd name="T8" fmla="*/ 0 w 31"/>
                  <a:gd name="T9" fmla="*/ 27 h 35"/>
                  <a:gd name="T10" fmla="*/ 4 w 31"/>
                  <a:gd name="T11" fmla="*/ 29 h 35"/>
                  <a:gd name="T12" fmla="*/ 6 w 31"/>
                  <a:gd name="T13" fmla="*/ 31 h 35"/>
                  <a:gd name="T14" fmla="*/ 8 w 31"/>
                  <a:gd name="T15" fmla="*/ 35 h 35"/>
                  <a:gd name="T16" fmla="*/ 14 w 31"/>
                  <a:gd name="T17" fmla="*/ 35 h 35"/>
                  <a:gd name="T18" fmla="*/ 17 w 31"/>
                  <a:gd name="T19" fmla="*/ 33 h 35"/>
                  <a:gd name="T20" fmla="*/ 19 w 31"/>
                  <a:gd name="T21" fmla="*/ 31 h 35"/>
                  <a:gd name="T22" fmla="*/ 21 w 31"/>
                  <a:gd name="T23" fmla="*/ 27 h 35"/>
                  <a:gd name="T24" fmla="*/ 27 w 31"/>
                  <a:gd name="T25" fmla="*/ 25 h 35"/>
                  <a:gd name="T26" fmla="*/ 31 w 31"/>
                  <a:gd name="T27" fmla="*/ 23 h 35"/>
                  <a:gd name="T28" fmla="*/ 31 w 31"/>
                  <a:gd name="T29" fmla="*/ 18 h 35"/>
                  <a:gd name="T30" fmla="*/ 29 w 31"/>
                  <a:gd name="T31" fmla="*/ 12 h 35"/>
                  <a:gd name="T32" fmla="*/ 31 w 31"/>
                  <a:gd name="T33" fmla="*/ 6 h 35"/>
                  <a:gd name="T34" fmla="*/ 23 w 31"/>
                  <a:gd name="T35" fmla="*/ 4 h 35"/>
                  <a:gd name="T36" fmla="*/ 12 w 31"/>
                  <a:gd name="T37" fmla="*/ 0 h 3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1"/>
                  <a:gd name="T58" fmla="*/ 0 h 35"/>
                  <a:gd name="T59" fmla="*/ 31 w 31"/>
                  <a:gd name="T60" fmla="*/ 35 h 3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1" h="35">
                    <a:moveTo>
                      <a:pt x="12" y="0"/>
                    </a:moveTo>
                    <a:lnTo>
                      <a:pt x="8" y="4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27"/>
                    </a:lnTo>
                    <a:lnTo>
                      <a:pt x="4" y="29"/>
                    </a:lnTo>
                    <a:lnTo>
                      <a:pt x="6" y="31"/>
                    </a:lnTo>
                    <a:lnTo>
                      <a:pt x="8" y="35"/>
                    </a:lnTo>
                    <a:lnTo>
                      <a:pt x="14" y="35"/>
                    </a:lnTo>
                    <a:lnTo>
                      <a:pt x="17" y="33"/>
                    </a:lnTo>
                    <a:lnTo>
                      <a:pt x="19" y="31"/>
                    </a:lnTo>
                    <a:lnTo>
                      <a:pt x="21" y="27"/>
                    </a:lnTo>
                    <a:lnTo>
                      <a:pt x="27" y="25"/>
                    </a:lnTo>
                    <a:lnTo>
                      <a:pt x="31" y="23"/>
                    </a:lnTo>
                    <a:lnTo>
                      <a:pt x="31" y="18"/>
                    </a:lnTo>
                    <a:lnTo>
                      <a:pt x="29" y="12"/>
                    </a:lnTo>
                    <a:lnTo>
                      <a:pt x="31" y="6"/>
                    </a:lnTo>
                    <a:lnTo>
                      <a:pt x="23" y="4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4" name="Freeform 72"/>
              <p:cNvSpPr>
                <a:spLocks/>
              </p:cNvSpPr>
              <p:nvPr/>
            </p:nvSpPr>
            <p:spPr bwMode="gray">
              <a:xfrm>
                <a:off x="3764" y="1529"/>
                <a:ext cx="21" cy="18"/>
              </a:xfrm>
              <a:custGeom>
                <a:avLst/>
                <a:gdLst>
                  <a:gd name="T0" fmla="*/ 0 w 42"/>
                  <a:gd name="T1" fmla="*/ 0 h 34"/>
                  <a:gd name="T2" fmla="*/ 0 w 42"/>
                  <a:gd name="T3" fmla="*/ 21 h 34"/>
                  <a:gd name="T4" fmla="*/ 8 w 42"/>
                  <a:gd name="T5" fmla="*/ 25 h 34"/>
                  <a:gd name="T6" fmla="*/ 15 w 42"/>
                  <a:gd name="T7" fmla="*/ 25 h 34"/>
                  <a:gd name="T8" fmla="*/ 23 w 42"/>
                  <a:gd name="T9" fmla="*/ 27 h 34"/>
                  <a:gd name="T10" fmla="*/ 23 w 42"/>
                  <a:gd name="T11" fmla="*/ 34 h 34"/>
                  <a:gd name="T12" fmla="*/ 29 w 42"/>
                  <a:gd name="T13" fmla="*/ 34 h 34"/>
                  <a:gd name="T14" fmla="*/ 36 w 42"/>
                  <a:gd name="T15" fmla="*/ 32 h 34"/>
                  <a:gd name="T16" fmla="*/ 42 w 42"/>
                  <a:gd name="T17" fmla="*/ 34 h 34"/>
                  <a:gd name="T18" fmla="*/ 42 w 42"/>
                  <a:gd name="T19" fmla="*/ 19 h 34"/>
                  <a:gd name="T20" fmla="*/ 32 w 42"/>
                  <a:gd name="T21" fmla="*/ 11 h 34"/>
                  <a:gd name="T22" fmla="*/ 15 w 42"/>
                  <a:gd name="T23" fmla="*/ 0 h 34"/>
                  <a:gd name="T24" fmla="*/ 0 w 42"/>
                  <a:gd name="T25" fmla="*/ 0 h 3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2"/>
                  <a:gd name="T40" fmla="*/ 0 h 34"/>
                  <a:gd name="T41" fmla="*/ 42 w 42"/>
                  <a:gd name="T42" fmla="*/ 34 h 3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2" h="34">
                    <a:moveTo>
                      <a:pt x="0" y="0"/>
                    </a:moveTo>
                    <a:lnTo>
                      <a:pt x="0" y="21"/>
                    </a:lnTo>
                    <a:lnTo>
                      <a:pt x="8" y="25"/>
                    </a:lnTo>
                    <a:lnTo>
                      <a:pt x="15" y="25"/>
                    </a:lnTo>
                    <a:lnTo>
                      <a:pt x="23" y="27"/>
                    </a:lnTo>
                    <a:lnTo>
                      <a:pt x="23" y="34"/>
                    </a:lnTo>
                    <a:lnTo>
                      <a:pt x="29" y="34"/>
                    </a:lnTo>
                    <a:lnTo>
                      <a:pt x="36" y="32"/>
                    </a:lnTo>
                    <a:lnTo>
                      <a:pt x="42" y="34"/>
                    </a:lnTo>
                    <a:lnTo>
                      <a:pt x="42" y="19"/>
                    </a:lnTo>
                    <a:lnTo>
                      <a:pt x="32" y="11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5" name="Freeform 73"/>
              <p:cNvSpPr>
                <a:spLocks/>
              </p:cNvSpPr>
              <p:nvPr/>
            </p:nvSpPr>
            <p:spPr bwMode="gray">
              <a:xfrm>
                <a:off x="4006" y="1522"/>
                <a:ext cx="3" cy="4"/>
              </a:xfrm>
              <a:custGeom>
                <a:avLst/>
                <a:gdLst>
                  <a:gd name="T0" fmla="*/ 3 w 5"/>
                  <a:gd name="T1" fmla="*/ 0 h 8"/>
                  <a:gd name="T2" fmla="*/ 5 w 5"/>
                  <a:gd name="T3" fmla="*/ 2 h 8"/>
                  <a:gd name="T4" fmla="*/ 5 w 5"/>
                  <a:gd name="T5" fmla="*/ 6 h 8"/>
                  <a:gd name="T6" fmla="*/ 0 w 5"/>
                  <a:gd name="T7" fmla="*/ 8 h 8"/>
                  <a:gd name="T8" fmla="*/ 0 w 5"/>
                  <a:gd name="T9" fmla="*/ 0 h 8"/>
                  <a:gd name="T10" fmla="*/ 3 w 5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8"/>
                  <a:gd name="T20" fmla="*/ 5 w 5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8">
                    <a:moveTo>
                      <a:pt x="3" y="0"/>
                    </a:moveTo>
                    <a:lnTo>
                      <a:pt x="5" y="2"/>
                    </a:lnTo>
                    <a:lnTo>
                      <a:pt x="5" y="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6" name="Freeform 74"/>
              <p:cNvSpPr>
                <a:spLocks/>
              </p:cNvSpPr>
              <p:nvPr/>
            </p:nvSpPr>
            <p:spPr bwMode="gray">
              <a:xfrm>
                <a:off x="4100" y="1454"/>
                <a:ext cx="7" cy="10"/>
              </a:xfrm>
              <a:custGeom>
                <a:avLst/>
                <a:gdLst>
                  <a:gd name="T0" fmla="*/ 15 w 15"/>
                  <a:gd name="T1" fmla="*/ 0 h 19"/>
                  <a:gd name="T2" fmla="*/ 11 w 15"/>
                  <a:gd name="T3" fmla="*/ 6 h 19"/>
                  <a:gd name="T4" fmla="*/ 9 w 15"/>
                  <a:gd name="T5" fmla="*/ 13 h 19"/>
                  <a:gd name="T6" fmla="*/ 7 w 15"/>
                  <a:gd name="T7" fmla="*/ 19 h 19"/>
                  <a:gd name="T8" fmla="*/ 2 w 15"/>
                  <a:gd name="T9" fmla="*/ 19 h 19"/>
                  <a:gd name="T10" fmla="*/ 0 w 15"/>
                  <a:gd name="T11" fmla="*/ 17 h 19"/>
                  <a:gd name="T12" fmla="*/ 0 w 15"/>
                  <a:gd name="T13" fmla="*/ 15 h 19"/>
                  <a:gd name="T14" fmla="*/ 9 w 15"/>
                  <a:gd name="T15" fmla="*/ 4 h 19"/>
                  <a:gd name="T16" fmla="*/ 15 w 15"/>
                  <a:gd name="T17" fmla="*/ 0 h 1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19"/>
                  <a:gd name="T29" fmla="*/ 15 w 15"/>
                  <a:gd name="T30" fmla="*/ 19 h 1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19">
                    <a:moveTo>
                      <a:pt x="15" y="0"/>
                    </a:moveTo>
                    <a:lnTo>
                      <a:pt x="11" y="6"/>
                    </a:lnTo>
                    <a:lnTo>
                      <a:pt x="9" y="13"/>
                    </a:lnTo>
                    <a:lnTo>
                      <a:pt x="7" y="19"/>
                    </a:lnTo>
                    <a:lnTo>
                      <a:pt x="2" y="19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9" y="4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7" name="Freeform 75"/>
              <p:cNvSpPr>
                <a:spLocks/>
              </p:cNvSpPr>
              <p:nvPr/>
            </p:nvSpPr>
            <p:spPr bwMode="gray">
              <a:xfrm>
                <a:off x="3721" y="1454"/>
                <a:ext cx="6" cy="4"/>
              </a:xfrm>
              <a:custGeom>
                <a:avLst/>
                <a:gdLst>
                  <a:gd name="T0" fmla="*/ 6 w 14"/>
                  <a:gd name="T1" fmla="*/ 0 h 8"/>
                  <a:gd name="T2" fmla="*/ 10 w 14"/>
                  <a:gd name="T3" fmla="*/ 2 h 8"/>
                  <a:gd name="T4" fmla="*/ 10 w 14"/>
                  <a:gd name="T5" fmla="*/ 4 h 8"/>
                  <a:gd name="T6" fmla="*/ 14 w 14"/>
                  <a:gd name="T7" fmla="*/ 8 h 8"/>
                  <a:gd name="T8" fmla="*/ 6 w 14"/>
                  <a:gd name="T9" fmla="*/ 4 h 8"/>
                  <a:gd name="T10" fmla="*/ 0 w 14"/>
                  <a:gd name="T11" fmla="*/ 0 h 8"/>
                  <a:gd name="T12" fmla="*/ 6 w 14"/>
                  <a:gd name="T13" fmla="*/ 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8"/>
                  <a:gd name="T23" fmla="*/ 14 w 14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8">
                    <a:moveTo>
                      <a:pt x="6" y="0"/>
                    </a:moveTo>
                    <a:lnTo>
                      <a:pt x="10" y="2"/>
                    </a:lnTo>
                    <a:lnTo>
                      <a:pt x="10" y="4"/>
                    </a:lnTo>
                    <a:lnTo>
                      <a:pt x="14" y="8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8" name="Freeform 76"/>
              <p:cNvSpPr>
                <a:spLocks/>
              </p:cNvSpPr>
              <p:nvPr/>
            </p:nvSpPr>
            <p:spPr bwMode="gray">
              <a:xfrm>
                <a:off x="3712" y="1453"/>
                <a:ext cx="3" cy="3"/>
              </a:xfrm>
              <a:custGeom>
                <a:avLst/>
                <a:gdLst>
                  <a:gd name="T0" fmla="*/ 4 w 6"/>
                  <a:gd name="T1" fmla="*/ 0 h 8"/>
                  <a:gd name="T2" fmla="*/ 6 w 6"/>
                  <a:gd name="T3" fmla="*/ 2 h 8"/>
                  <a:gd name="T4" fmla="*/ 6 w 6"/>
                  <a:gd name="T5" fmla="*/ 6 h 8"/>
                  <a:gd name="T6" fmla="*/ 0 w 6"/>
                  <a:gd name="T7" fmla="*/ 8 h 8"/>
                  <a:gd name="T8" fmla="*/ 0 w 6"/>
                  <a:gd name="T9" fmla="*/ 0 h 8"/>
                  <a:gd name="T10" fmla="*/ 4 w 6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8"/>
                  <a:gd name="T20" fmla="*/ 6 w 6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8">
                    <a:moveTo>
                      <a:pt x="4" y="0"/>
                    </a:moveTo>
                    <a:lnTo>
                      <a:pt x="6" y="2"/>
                    </a:lnTo>
                    <a:lnTo>
                      <a:pt x="6" y="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89" name="Freeform 77"/>
              <p:cNvSpPr>
                <a:spLocks/>
              </p:cNvSpPr>
              <p:nvPr/>
            </p:nvSpPr>
            <p:spPr bwMode="gray">
              <a:xfrm>
                <a:off x="4294" y="1393"/>
                <a:ext cx="34" cy="25"/>
              </a:xfrm>
              <a:custGeom>
                <a:avLst/>
                <a:gdLst>
                  <a:gd name="T0" fmla="*/ 62 w 69"/>
                  <a:gd name="T1" fmla="*/ 0 h 50"/>
                  <a:gd name="T2" fmla="*/ 69 w 69"/>
                  <a:gd name="T3" fmla="*/ 11 h 50"/>
                  <a:gd name="T4" fmla="*/ 58 w 69"/>
                  <a:gd name="T5" fmla="*/ 19 h 50"/>
                  <a:gd name="T6" fmla="*/ 43 w 69"/>
                  <a:gd name="T7" fmla="*/ 27 h 50"/>
                  <a:gd name="T8" fmla="*/ 33 w 69"/>
                  <a:gd name="T9" fmla="*/ 33 h 50"/>
                  <a:gd name="T10" fmla="*/ 23 w 69"/>
                  <a:gd name="T11" fmla="*/ 40 h 50"/>
                  <a:gd name="T12" fmla="*/ 14 w 69"/>
                  <a:gd name="T13" fmla="*/ 50 h 50"/>
                  <a:gd name="T14" fmla="*/ 14 w 69"/>
                  <a:gd name="T15" fmla="*/ 42 h 50"/>
                  <a:gd name="T16" fmla="*/ 8 w 69"/>
                  <a:gd name="T17" fmla="*/ 40 h 50"/>
                  <a:gd name="T18" fmla="*/ 4 w 69"/>
                  <a:gd name="T19" fmla="*/ 40 h 50"/>
                  <a:gd name="T20" fmla="*/ 0 w 69"/>
                  <a:gd name="T21" fmla="*/ 38 h 50"/>
                  <a:gd name="T22" fmla="*/ 0 w 69"/>
                  <a:gd name="T23" fmla="*/ 33 h 50"/>
                  <a:gd name="T24" fmla="*/ 4 w 69"/>
                  <a:gd name="T25" fmla="*/ 21 h 50"/>
                  <a:gd name="T26" fmla="*/ 4 w 69"/>
                  <a:gd name="T27" fmla="*/ 15 h 50"/>
                  <a:gd name="T28" fmla="*/ 8 w 69"/>
                  <a:gd name="T29" fmla="*/ 17 h 50"/>
                  <a:gd name="T30" fmla="*/ 10 w 69"/>
                  <a:gd name="T31" fmla="*/ 21 h 50"/>
                  <a:gd name="T32" fmla="*/ 12 w 69"/>
                  <a:gd name="T33" fmla="*/ 23 h 50"/>
                  <a:gd name="T34" fmla="*/ 29 w 69"/>
                  <a:gd name="T35" fmla="*/ 23 h 50"/>
                  <a:gd name="T36" fmla="*/ 46 w 69"/>
                  <a:gd name="T37" fmla="*/ 17 h 50"/>
                  <a:gd name="T38" fmla="*/ 62 w 69"/>
                  <a:gd name="T39" fmla="*/ 11 h 50"/>
                  <a:gd name="T40" fmla="*/ 58 w 69"/>
                  <a:gd name="T41" fmla="*/ 8 h 50"/>
                  <a:gd name="T42" fmla="*/ 58 w 69"/>
                  <a:gd name="T43" fmla="*/ 4 h 50"/>
                  <a:gd name="T44" fmla="*/ 62 w 69"/>
                  <a:gd name="T45" fmla="*/ 0 h 5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69"/>
                  <a:gd name="T70" fmla="*/ 0 h 50"/>
                  <a:gd name="T71" fmla="*/ 69 w 69"/>
                  <a:gd name="T72" fmla="*/ 50 h 5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69" h="50">
                    <a:moveTo>
                      <a:pt x="62" y="0"/>
                    </a:moveTo>
                    <a:lnTo>
                      <a:pt x="69" y="11"/>
                    </a:lnTo>
                    <a:lnTo>
                      <a:pt x="58" y="19"/>
                    </a:lnTo>
                    <a:lnTo>
                      <a:pt x="43" y="27"/>
                    </a:lnTo>
                    <a:lnTo>
                      <a:pt x="33" y="33"/>
                    </a:lnTo>
                    <a:lnTo>
                      <a:pt x="23" y="40"/>
                    </a:lnTo>
                    <a:lnTo>
                      <a:pt x="14" y="50"/>
                    </a:lnTo>
                    <a:lnTo>
                      <a:pt x="14" y="42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0" y="38"/>
                    </a:lnTo>
                    <a:lnTo>
                      <a:pt x="0" y="33"/>
                    </a:lnTo>
                    <a:lnTo>
                      <a:pt x="4" y="21"/>
                    </a:lnTo>
                    <a:lnTo>
                      <a:pt x="4" y="15"/>
                    </a:lnTo>
                    <a:lnTo>
                      <a:pt x="8" y="17"/>
                    </a:lnTo>
                    <a:lnTo>
                      <a:pt x="10" y="21"/>
                    </a:lnTo>
                    <a:lnTo>
                      <a:pt x="12" y="23"/>
                    </a:lnTo>
                    <a:lnTo>
                      <a:pt x="29" y="23"/>
                    </a:lnTo>
                    <a:lnTo>
                      <a:pt x="46" y="17"/>
                    </a:lnTo>
                    <a:lnTo>
                      <a:pt x="62" y="11"/>
                    </a:lnTo>
                    <a:lnTo>
                      <a:pt x="58" y="8"/>
                    </a:lnTo>
                    <a:lnTo>
                      <a:pt x="58" y="4"/>
                    </a:lnTo>
                    <a:lnTo>
                      <a:pt x="6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0" name="Freeform 78"/>
              <p:cNvSpPr>
                <a:spLocks/>
              </p:cNvSpPr>
              <p:nvPr/>
            </p:nvSpPr>
            <p:spPr bwMode="gray">
              <a:xfrm>
                <a:off x="3673" y="1372"/>
                <a:ext cx="200" cy="158"/>
              </a:xfrm>
              <a:custGeom>
                <a:avLst/>
                <a:gdLst>
                  <a:gd name="T0" fmla="*/ 355 w 401"/>
                  <a:gd name="T1" fmla="*/ 19 h 317"/>
                  <a:gd name="T2" fmla="*/ 332 w 401"/>
                  <a:gd name="T3" fmla="*/ 21 h 317"/>
                  <a:gd name="T4" fmla="*/ 282 w 401"/>
                  <a:gd name="T5" fmla="*/ 36 h 317"/>
                  <a:gd name="T6" fmla="*/ 270 w 401"/>
                  <a:gd name="T7" fmla="*/ 34 h 317"/>
                  <a:gd name="T8" fmla="*/ 249 w 401"/>
                  <a:gd name="T9" fmla="*/ 32 h 317"/>
                  <a:gd name="T10" fmla="*/ 197 w 401"/>
                  <a:gd name="T11" fmla="*/ 46 h 317"/>
                  <a:gd name="T12" fmla="*/ 178 w 401"/>
                  <a:gd name="T13" fmla="*/ 53 h 317"/>
                  <a:gd name="T14" fmla="*/ 128 w 401"/>
                  <a:gd name="T15" fmla="*/ 69 h 317"/>
                  <a:gd name="T16" fmla="*/ 115 w 401"/>
                  <a:gd name="T17" fmla="*/ 80 h 317"/>
                  <a:gd name="T18" fmla="*/ 101 w 401"/>
                  <a:gd name="T19" fmla="*/ 84 h 317"/>
                  <a:gd name="T20" fmla="*/ 99 w 401"/>
                  <a:gd name="T21" fmla="*/ 92 h 317"/>
                  <a:gd name="T22" fmla="*/ 90 w 401"/>
                  <a:gd name="T23" fmla="*/ 96 h 317"/>
                  <a:gd name="T24" fmla="*/ 82 w 401"/>
                  <a:gd name="T25" fmla="*/ 105 h 317"/>
                  <a:gd name="T26" fmla="*/ 59 w 401"/>
                  <a:gd name="T27" fmla="*/ 123 h 317"/>
                  <a:gd name="T28" fmla="*/ 40 w 401"/>
                  <a:gd name="T29" fmla="*/ 132 h 317"/>
                  <a:gd name="T30" fmla="*/ 57 w 401"/>
                  <a:gd name="T31" fmla="*/ 151 h 317"/>
                  <a:gd name="T32" fmla="*/ 36 w 401"/>
                  <a:gd name="T33" fmla="*/ 180 h 317"/>
                  <a:gd name="T34" fmla="*/ 26 w 401"/>
                  <a:gd name="T35" fmla="*/ 205 h 317"/>
                  <a:gd name="T36" fmla="*/ 23 w 401"/>
                  <a:gd name="T37" fmla="*/ 211 h 317"/>
                  <a:gd name="T38" fmla="*/ 19 w 401"/>
                  <a:gd name="T39" fmla="*/ 219 h 317"/>
                  <a:gd name="T40" fmla="*/ 5 w 401"/>
                  <a:gd name="T41" fmla="*/ 234 h 317"/>
                  <a:gd name="T42" fmla="*/ 13 w 401"/>
                  <a:gd name="T43" fmla="*/ 267 h 317"/>
                  <a:gd name="T44" fmla="*/ 30 w 401"/>
                  <a:gd name="T45" fmla="*/ 261 h 317"/>
                  <a:gd name="T46" fmla="*/ 36 w 401"/>
                  <a:gd name="T47" fmla="*/ 257 h 317"/>
                  <a:gd name="T48" fmla="*/ 49 w 401"/>
                  <a:gd name="T49" fmla="*/ 261 h 317"/>
                  <a:gd name="T50" fmla="*/ 65 w 401"/>
                  <a:gd name="T51" fmla="*/ 274 h 317"/>
                  <a:gd name="T52" fmla="*/ 71 w 401"/>
                  <a:gd name="T53" fmla="*/ 284 h 317"/>
                  <a:gd name="T54" fmla="*/ 51 w 401"/>
                  <a:gd name="T55" fmla="*/ 296 h 317"/>
                  <a:gd name="T56" fmla="*/ 55 w 401"/>
                  <a:gd name="T57" fmla="*/ 307 h 317"/>
                  <a:gd name="T58" fmla="*/ 90 w 401"/>
                  <a:gd name="T59" fmla="*/ 317 h 317"/>
                  <a:gd name="T60" fmla="*/ 101 w 401"/>
                  <a:gd name="T61" fmla="*/ 305 h 317"/>
                  <a:gd name="T62" fmla="*/ 130 w 401"/>
                  <a:gd name="T63" fmla="*/ 309 h 317"/>
                  <a:gd name="T64" fmla="*/ 142 w 401"/>
                  <a:gd name="T65" fmla="*/ 299 h 317"/>
                  <a:gd name="T66" fmla="*/ 157 w 401"/>
                  <a:gd name="T67" fmla="*/ 301 h 317"/>
                  <a:gd name="T68" fmla="*/ 149 w 401"/>
                  <a:gd name="T69" fmla="*/ 292 h 317"/>
                  <a:gd name="T70" fmla="*/ 101 w 401"/>
                  <a:gd name="T71" fmla="*/ 230 h 317"/>
                  <a:gd name="T72" fmla="*/ 105 w 401"/>
                  <a:gd name="T73" fmla="*/ 211 h 317"/>
                  <a:gd name="T74" fmla="*/ 111 w 401"/>
                  <a:gd name="T75" fmla="*/ 173 h 317"/>
                  <a:gd name="T76" fmla="*/ 128 w 401"/>
                  <a:gd name="T77" fmla="*/ 169 h 317"/>
                  <a:gd name="T78" fmla="*/ 130 w 401"/>
                  <a:gd name="T79" fmla="*/ 148 h 317"/>
                  <a:gd name="T80" fmla="*/ 142 w 401"/>
                  <a:gd name="T81" fmla="*/ 146 h 317"/>
                  <a:gd name="T82" fmla="*/ 147 w 401"/>
                  <a:gd name="T83" fmla="*/ 126 h 317"/>
                  <a:gd name="T84" fmla="*/ 168 w 401"/>
                  <a:gd name="T85" fmla="*/ 119 h 317"/>
                  <a:gd name="T86" fmla="*/ 180 w 401"/>
                  <a:gd name="T87" fmla="*/ 101 h 317"/>
                  <a:gd name="T88" fmla="*/ 226 w 401"/>
                  <a:gd name="T89" fmla="*/ 82 h 317"/>
                  <a:gd name="T90" fmla="*/ 272 w 401"/>
                  <a:gd name="T91" fmla="*/ 73 h 317"/>
                  <a:gd name="T92" fmla="*/ 293 w 401"/>
                  <a:gd name="T93" fmla="*/ 63 h 317"/>
                  <a:gd name="T94" fmla="*/ 374 w 401"/>
                  <a:gd name="T95" fmla="*/ 42 h 317"/>
                  <a:gd name="T96" fmla="*/ 393 w 401"/>
                  <a:gd name="T97" fmla="*/ 0 h 31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01"/>
                  <a:gd name="T148" fmla="*/ 0 h 317"/>
                  <a:gd name="T149" fmla="*/ 401 w 401"/>
                  <a:gd name="T150" fmla="*/ 317 h 317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01" h="317">
                    <a:moveTo>
                      <a:pt x="378" y="0"/>
                    </a:moveTo>
                    <a:lnTo>
                      <a:pt x="370" y="5"/>
                    </a:lnTo>
                    <a:lnTo>
                      <a:pt x="360" y="13"/>
                    </a:lnTo>
                    <a:lnTo>
                      <a:pt x="355" y="19"/>
                    </a:lnTo>
                    <a:lnTo>
                      <a:pt x="351" y="19"/>
                    </a:lnTo>
                    <a:lnTo>
                      <a:pt x="347" y="15"/>
                    </a:lnTo>
                    <a:lnTo>
                      <a:pt x="343" y="15"/>
                    </a:lnTo>
                    <a:lnTo>
                      <a:pt x="332" y="21"/>
                    </a:lnTo>
                    <a:lnTo>
                      <a:pt x="318" y="28"/>
                    </a:lnTo>
                    <a:lnTo>
                      <a:pt x="309" y="34"/>
                    </a:lnTo>
                    <a:lnTo>
                      <a:pt x="286" y="34"/>
                    </a:lnTo>
                    <a:lnTo>
                      <a:pt x="282" y="36"/>
                    </a:lnTo>
                    <a:lnTo>
                      <a:pt x="278" y="40"/>
                    </a:lnTo>
                    <a:lnTo>
                      <a:pt x="272" y="42"/>
                    </a:lnTo>
                    <a:lnTo>
                      <a:pt x="272" y="34"/>
                    </a:lnTo>
                    <a:lnTo>
                      <a:pt x="270" y="34"/>
                    </a:lnTo>
                    <a:lnTo>
                      <a:pt x="266" y="38"/>
                    </a:lnTo>
                    <a:lnTo>
                      <a:pt x="262" y="38"/>
                    </a:lnTo>
                    <a:lnTo>
                      <a:pt x="257" y="34"/>
                    </a:lnTo>
                    <a:lnTo>
                      <a:pt x="249" y="32"/>
                    </a:lnTo>
                    <a:lnTo>
                      <a:pt x="238" y="30"/>
                    </a:lnTo>
                    <a:lnTo>
                      <a:pt x="238" y="42"/>
                    </a:lnTo>
                    <a:lnTo>
                      <a:pt x="211" y="42"/>
                    </a:lnTo>
                    <a:lnTo>
                      <a:pt x="197" y="46"/>
                    </a:lnTo>
                    <a:lnTo>
                      <a:pt x="195" y="48"/>
                    </a:lnTo>
                    <a:lnTo>
                      <a:pt x="193" y="52"/>
                    </a:lnTo>
                    <a:lnTo>
                      <a:pt x="193" y="53"/>
                    </a:lnTo>
                    <a:lnTo>
                      <a:pt x="178" y="53"/>
                    </a:lnTo>
                    <a:lnTo>
                      <a:pt x="172" y="57"/>
                    </a:lnTo>
                    <a:lnTo>
                      <a:pt x="168" y="65"/>
                    </a:lnTo>
                    <a:lnTo>
                      <a:pt x="163" y="69"/>
                    </a:lnTo>
                    <a:lnTo>
                      <a:pt x="128" y="69"/>
                    </a:lnTo>
                    <a:lnTo>
                      <a:pt x="126" y="73"/>
                    </a:lnTo>
                    <a:lnTo>
                      <a:pt x="126" y="77"/>
                    </a:lnTo>
                    <a:lnTo>
                      <a:pt x="124" y="80"/>
                    </a:lnTo>
                    <a:lnTo>
                      <a:pt x="115" y="80"/>
                    </a:lnTo>
                    <a:lnTo>
                      <a:pt x="109" y="77"/>
                    </a:lnTo>
                    <a:lnTo>
                      <a:pt x="105" y="77"/>
                    </a:lnTo>
                    <a:lnTo>
                      <a:pt x="101" y="80"/>
                    </a:lnTo>
                    <a:lnTo>
                      <a:pt x="101" y="84"/>
                    </a:lnTo>
                    <a:lnTo>
                      <a:pt x="105" y="82"/>
                    </a:lnTo>
                    <a:lnTo>
                      <a:pt x="107" y="86"/>
                    </a:lnTo>
                    <a:lnTo>
                      <a:pt x="109" y="88"/>
                    </a:lnTo>
                    <a:lnTo>
                      <a:pt x="99" y="92"/>
                    </a:lnTo>
                    <a:lnTo>
                      <a:pt x="101" y="96"/>
                    </a:lnTo>
                    <a:lnTo>
                      <a:pt x="105" y="100"/>
                    </a:lnTo>
                    <a:lnTo>
                      <a:pt x="97" y="100"/>
                    </a:lnTo>
                    <a:lnTo>
                      <a:pt x="90" y="96"/>
                    </a:lnTo>
                    <a:lnTo>
                      <a:pt x="86" y="100"/>
                    </a:lnTo>
                    <a:lnTo>
                      <a:pt x="82" y="111"/>
                    </a:lnTo>
                    <a:lnTo>
                      <a:pt x="80" y="107"/>
                    </a:lnTo>
                    <a:lnTo>
                      <a:pt x="82" y="105"/>
                    </a:lnTo>
                    <a:lnTo>
                      <a:pt x="78" y="107"/>
                    </a:lnTo>
                    <a:lnTo>
                      <a:pt x="78" y="119"/>
                    </a:lnTo>
                    <a:lnTo>
                      <a:pt x="67" y="119"/>
                    </a:lnTo>
                    <a:lnTo>
                      <a:pt x="59" y="123"/>
                    </a:lnTo>
                    <a:lnTo>
                      <a:pt x="55" y="126"/>
                    </a:lnTo>
                    <a:lnTo>
                      <a:pt x="51" y="134"/>
                    </a:lnTo>
                    <a:lnTo>
                      <a:pt x="46" y="134"/>
                    </a:lnTo>
                    <a:lnTo>
                      <a:pt x="40" y="132"/>
                    </a:lnTo>
                    <a:lnTo>
                      <a:pt x="36" y="134"/>
                    </a:lnTo>
                    <a:lnTo>
                      <a:pt x="36" y="142"/>
                    </a:lnTo>
                    <a:lnTo>
                      <a:pt x="49" y="146"/>
                    </a:lnTo>
                    <a:lnTo>
                      <a:pt x="57" y="151"/>
                    </a:lnTo>
                    <a:lnTo>
                      <a:pt x="48" y="161"/>
                    </a:lnTo>
                    <a:lnTo>
                      <a:pt x="55" y="165"/>
                    </a:lnTo>
                    <a:lnTo>
                      <a:pt x="53" y="171"/>
                    </a:lnTo>
                    <a:lnTo>
                      <a:pt x="36" y="180"/>
                    </a:lnTo>
                    <a:lnTo>
                      <a:pt x="24" y="184"/>
                    </a:lnTo>
                    <a:lnTo>
                      <a:pt x="24" y="192"/>
                    </a:lnTo>
                    <a:lnTo>
                      <a:pt x="26" y="199"/>
                    </a:lnTo>
                    <a:lnTo>
                      <a:pt x="26" y="205"/>
                    </a:lnTo>
                    <a:lnTo>
                      <a:pt x="24" y="209"/>
                    </a:lnTo>
                    <a:lnTo>
                      <a:pt x="24" y="207"/>
                    </a:lnTo>
                    <a:lnTo>
                      <a:pt x="26" y="209"/>
                    </a:lnTo>
                    <a:lnTo>
                      <a:pt x="23" y="211"/>
                    </a:lnTo>
                    <a:lnTo>
                      <a:pt x="26" y="211"/>
                    </a:lnTo>
                    <a:lnTo>
                      <a:pt x="26" y="215"/>
                    </a:lnTo>
                    <a:lnTo>
                      <a:pt x="24" y="215"/>
                    </a:lnTo>
                    <a:lnTo>
                      <a:pt x="19" y="219"/>
                    </a:lnTo>
                    <a:lnTo>
                      <a:pt x="21" y="221"/>
                    </a:lnTo>
                    <a:lnTo>
                      <a:pt x="23" y="224"/>
                    </a:lnTo>
                    <a:lnTo>
                      <a:pt x="24" y="230"/>
                    </a:lnTo>
                    <a:lnTo>
                      <a:pt x="5" y="234"/>
                    </a:lnTo>
                    <a:lnTo>
                      <a:pt x="0" y="246"/>
                    </a:lnTo>
                    <a:lnTo>
                      <a:pt x="5" y="269"/>
                    </a:lnTo>
                    <a:lnTo>
                      <a:pt x="9" y="267"/>
                    </a:lnTo>
                    <a:lnTo>
                      <a:pt x="13" y="267"/>
                    </a:lnTo>
                    <a:lnTo>
                      <a:pt x="17" y="269"/>
                    </a:lnTo>
                    <a:lnTo>
                      <a:pt x="19" y="257"/>
                    </a:lnTo>
                    <a:lnTo>
                      <a:pt x="26" y="257"/>
                    </a:lnTo>
                    <a:lnTo>
                      <a:pt x="30" y="261"/>
                    </a:lnTo>
                    <a:lnTo>
                      <a:pt x="32" y="265"/>
                    </a:lnTo>
                    <a:lnTo>
                      <a:pt x="34" y="263"/>
                    </a:lnTo>
                    <a:lnTo>
                      <a:pt x="36" y="259"/>
                    </a:lnTo>
                    <a:lnTo>
                      <a:pt x="36" y="257"/>
                    </a:lnTo>
                    <a:lnTo>
                      <a:pt x="40" y="257"/>
                    </a:lnTo>
                    <a:lnTo>
                      <a:pt x="46" y="255"/>
                    </a:lnTo>
                    <a:lnTo>
                      <a:pt x="51" y="257"/>
                    </a:lnTo>
                    <a:lnTo>
                      <a:pt x="49" y="261"/>
                    </a:lnTo>
                    <a:lnTo>
                      <a:pt x="49" y="269"/>
                    </a:lnTo>
                    <a:lnTo>
                      <a:pt x="51" y="276"/>
                    </a:lnTo>
                    <a:lnTo>
                      <a:pt x="57" y="276"/>
                    </a:lnTo>
                    <a:lnTo>
                      <a:pt x="65" y="274"/>
                    </a:lnTo>
                    <a:lnTo>
                      <a:pt x="71" y="273"/>
                    </a:lnTo>
                    <a:lnTo>
                      <a:pt x="69" y="274"/>
                    </a:lnTo>
                    <a:lnTo>
                      <a:pt x="69" y="280"/>
                    </a:lnTo>
                    <a:lnTo>
                      <a:pt x="71" y="284"/>
                    </a:lnTo>
                    <a:lnTo>
                      <a:pt x="63" y="286"/>
                    </a:lnTo>
                    <a:lnTo>
                      <a:pt x="57" y="286"/>
                    </a:lnTo>
                    <a:lnTo>
                      <a:pt x="51" y="288"/>
                    </a:lnTo>
                    <a:lnTo>
                      <a:pt x="51" y="296"/>
                    </a:lnTo>
                    <a:lnTo>
                      <a:pt x="59" y="294"/>
                    </a:lnTo>
                    <a:lnTo>
                      <a:pt x="53" y="301"/>
                    </a:lnTo>
                    <a:lnTo>
                      <a:pt x="48" y="307"/>
                    </a:lnTo>
                    <a:lnTo>
                      <a:pt x="55" y="307"/>
                    </a:lnTo>
                    <a:lnTo>
                      <a:pt x="67" y="305"/>
                    </a:lnTo>
                    <a:lnTo>
                      <a:pt x="78" y="307"/>
                    </a:lnTo>
                    <a:lnTo>
                      <a:pt x="86" y="315"/>
                    </a:lnTo>
                    <a:lnTo>
                      <a:pt x="90" y="317"/>
                    </a:lnTo>
                    <a:lnTo>
                      <a:pt x="92" y="315"/>
                    </a:lnTo>
                    <a:lnTo>
                      <a:pt x="94" y="309"/>
                    </a:lnTo>
                    <a:lnTo>
                      <a:pt x="97" y="303"/>
                    </a:lnTo>
                    <a:lnTo>
                      <a:pt x="101" y="305"/>
                    </a:lnTo>
                    <a:lnTo>
                      <a:pt x="103" y="309"/>
                    </a:lnTo>
                    <a:lnTo>
                      <a:pt x="105" y="311"/>
                    </a:lnTo>
                    <a:lnTo>
                      <a:pt x="132" y="311"/>
                    </a:lnTo>
                    <a:lnTo>
                      <a:pt x="130" y="309"/>
                    </a:lnTo>
                    <a:lnTo>
                      <a:pt x="128" y="303"/>
                    </a:lnTo>
                    <a:lnTo>
                      <a:pt x="124" y="296"/>
                    </a:lnTo>
                    <a:lnTo>
                      <a:pt x="136" y="296"/>
                    </a:lnTo>
                    <a:lnTo>
                      <a:pt x="142" y="299"/>
                    </a:lnTo>
                    <a:lnTo>
                      <a:pt x="140" y="303"/>
                    </a:lnTo>
                    <a:lnTo>
                      <a:pt x="147" y="303"/>
                    </a:lnTo>
                    <a:lnTo>
                      <a:pt x="153" y="301"/>
                    </a:lnTo>
                    <a:lnTo>
                      <a:pt x="157" y="301"/>
                    </a:lnTo>
                    <a:lnTo>
                      <a:pt x="163" y="299"/>
                    </a:lnTo>
                    <a:lnTo>
                      <a:pt x="163" y="292"/>
                    </a:lnTo>
                    <a:lnTo>
                      <a:pt x="155" y="290"/>
                    </a:lnTo>
                    <a:lnTo>
                      <a:pt x="149" y="292"/>
                    </a:lnTo>
                    <a:lnTo>
                      <a:pt x="143" y="292"/>
                    </a:lnTo>
                    <a:lnTo>
                      <a:pt x="122" y="276"/>
                    </a:lnTo>
                    <a:lnTo>
                      <a:pt x="107" y="253"/>
                    </a:lnTo>
                    <a:lnTo>
                      <a:pt x="101" y="230"/>
                    </a:lnTo>
                    <a:lnTo>
                      <a:pt x="105" y="226"/>
                    </a:lnTo>
                    <a:lnTo>
                      <a:pt x="113" y="223"/>
                    </a:lnTo>
                    <a:lnTo>
                      <a:pt x="105" y="215"/>
                    </a:lnTo>
                    <a:lnTo>
                      <a:pt x="105" y="211"/>
                    </a:lnTo>
                    <a:lnTo>
                      <a:pt x="120" y="184"/>
                    </a:lnTo>
                    <a:lnTo>
                      <a:pt x="120" y="176"/>
                    </a:lnTo>
                    <a:lnTo>
                      <a:pt x="115" y="175"/>
                    </a:lnTo>
                    <a:lnTo>
                      <a:pt x="111" y="173"/>
                    </a:lnTo>
                    <a:lnTo>
                      <a:pt x="109" y="173"/>
                    </a:lnTo>
                    <a:lnTo>
                      <a:pt x="115" y="171"/>
                    </a:lnTo>
                    <a:lnTo>
                      <a:pt x="122" y="171"/>
                    </a:lnTo>
                    <a:lnTo>
                      <a:pt x="128" y="169"/>
                    </a:lnTo>
                    <a:lnTo>
                      <a:pt x="130" y="161"/>
                    </a:lnTo>
                    <a:lnTo>
                      <a:pt x="128" y="155"/>
                    </a:lnTo>
                    <a:lnTo>
                      <a:pt x="128" y="150"/>
                    </a:lnTo>
                    <a:lnTo>
                      <a:pt x="130" y="148"/>
                    </a:lnTo>
                    <a:lnTo>
                      <a:pt x="132" y="151"/>
                    </a:lnTo>
                    <a:lnTo>
                      <a:pt x="132" y="153"/>
                    </a:lnTo>
                    <a:lnTo>
                      <a:pt x="142" y="153"/>
                    </a:lnTo>
                    <a:lnTo>
                      <a:pt x="142" y="146"/>
                    </a:lnTo>
                    <a:lnTo>
                      <a:pt x="140" y="142"/>
                    </a:lnTo>
                    <a:lnTo>
                      <a:pt x="151" y="142"/>
                    </a:lnTo>
                    <a:lnTo>
                      <a:pt x="149" y="132"/>
                    </a:lnTo>
                    <a:lnTo>
                      <a:pt x="147" y="126"/>
                    </a:lnTo>
                    <a:lnTo>
                      <a:pt x="151" y="123"/>
                    </a:lnTo>
                    <a:lnTo>
                      <a:pt x="163" y="130"/>
                    </a:lnTo>
                    <a:lnTo>
                      <a:pt x="165" y="125"/>
                    </a:lnTo>
                    <a:lnTo>
                      <a:pt x="168" y="119"/>
                    </a:lnTo>
                    <a:lnTo>
                      <a:pt x="170" y="115"/>
                    </a:lnTo>
                    <a:lnTo>
                      <a:pt x="178" y="115"/>
                    </a:lnTo>
                    <a:lnTo>
                      <a:pt x="178" y="111"/>
                    </a:lnTo>
                    <a:lnTo>
                      <a:pt x="180" y="101"/>
                    </a:lnTo>
                    <a:lnTo>
                      <a:pt x="186" y="96"/>
                    </a:lnTo>
                    <a:lnTo>
                      <a:pt x="216" y="96"/>
                    </a:lnTo>
                    <a:lnTo>
                      <a:pt x="220" y="90"/>
                    </a:lnTo>
                    <a:lnTo>
                      <a:pt x="226" y="82"/>
                    </a:lnTo>
                    <a:lnTo>
                      <a:pt x="232" y="77"/>
                    </a:lnTo>
                    <a:lnTo>
                      <a:pt x="245" y="73"/>
                    </a:lnTo>
                    <a:lnTo>
                      <a:pt x="259" y="75"/>
                    </a:lnTo>
                    <a:lnTo>
                      <a:pt x="272" y="73"/>
                    </a:lnTo>
                    <a:lnTo>
                      <a:pt x="280" y="69"/>
                    </a:lnTo>
                    <a:lnTo>
                      <a:pt x="286" y="65"/>
                    </a:lnTo>
                    <a:lnTo>
                      <a:pt x="293" y="61"/>
                    </a:lnTo>
                    <a:lnTo>
                      <a:pt x="293" y="63"/>
                    </a:lnTo>
                    <a:lnTo>
                      <a:pt x="299" y="69"/>
                    </a:lnTo>
                    <a:lnTo>
                      <a:pt x="316" y="57"/>
                    </a:lnTo>
                    <a:lnTo>
                      <a:pt x="347" y="50"/>
                    </a:lnTo>
                    <a:lnTo>
                      <a:pt x="374" y="42"/>
                    </a:lnTo>
                    <a:lnTo>
                      <a:pt x="401" y="30"/>
                    </a:lnTo>
                    <a:lnTo>
                      <a:pt x="397" y="19"/>
                    </a:lnTo>
                    <a:lnTo>
                      <a:pt x="395" y="7"/>
                    </a:lnTo>
                    <a:lnTo>
                      <a:pt x="393" y="0"/>
                    </a:lnTo>
                    <a:lnTo>
                      <a:pt x="37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1" name="Freeform 79"/>
              <p:cNvSpPr>
                <a:spLocks/>
              </p:cNvSpPr>
              <p:nvPr/>
            </p:nvSpPr>
            <p:spPr bwMode="gray">
              <a:xfrm>
                <a:off x="3633" y="2024"/>
                <a:ext cx="2" cy="4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2 h 8"/>
                  <a:gd name="T4" fmla="*/ 2 w 4"/>
                  <a:gd name="T5" fmla="*/ 6 h 8"/>
                  <a:gd name="T6" fmla="*/ 0 w 4"/>
                  <a:gd name="T7" fmla="*/ 8 h 8"/>
                  <a:gd name="T8" fmla="*/ 0 w 4"/>
                  <a:gd name="T9" fmla="*/ 0 h 8"/>
                  <a:gd name="T10" fmla="*/ 4 w 4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8"/>
                  <a:gd name="T20" fmla="*/ 4 w 4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8">
                    <a:moveTo>
                      <a:pt x="4" y="0"/>
                    </a:moveTo>
                    <a:lnTo>
                      <a:pt x="4" y="2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2" name="Freeform 80"/>
              <p:cNvSpPr>
                <a:spLocks/>
              </p:cNvSpPr>
              <p:nvPr/>
            </p:nvSpPr>
            <p:spPr bwMode="gray">
              <a:xfrm>
                <a:off x="3296" y="1987"/>
                <a:ext cx="105" cy="85"/>
              </a:xfrm>
              <a:custGeom>
                <a:avLst/>
                <a:gdLst>
                  <a:gd name="T0" fmla="*/ 204 w 211"/>
                  <a:gd name="T1" fmla="*/ 113 h 171"/>
                  <a:gd name="T2" fmla="*/ 194 w 211"/>
                  <a:gd name="T3" fmla="*/ 115 h 171"/>
                  <a:gd name="T4" fmla="*/ 188 w 211"/>
                  <a:gd name="T5" fmla="*/ 113 h 171"/>
                  <a:gd name="T6" fmla="*/ 183 w 211"/>
                  <a:gd name="T7" fmla="*/ 109 h 171"/>
                  <a:gd name="T8" fmla="*/ 177 w 211"/>
                  <a:gd name="T9" fmla="*/ 101 h 171"/>
                  <a:gd name="T10" fmla="*/ 179 w 211"/>
                  <a:gd name="T11" fmla="*/ 94 h 171"/>
                  <a:gd name="T12" fmla="*/ 179 w 211"/>
                  <a:gd name="T13" fmla="*/ 86 h 171"/>
                  <a:gd name="T14" fmla="*/ 181 w 211"/>
                  <a:gd name="T15" fmla="*/ 73 h 171"/>
                  <a:gd name="T16" fmla="*/ 177 w 211"/>
                  <a:gd name="T17" fmla="*/ 63 h 171"/>
                  <a:gd name="T18" fmla="*/ 173 w 211"/>
                  <a:gd name="T19" fmla="*/ 42 h 171"/>
                  <a:gd name="T20" fmla="*/ 158 w 211"/>
                  <a:gd name="T21" fmla="*/ 19 h 171"/>
                  <a:gd name="T22" fmla="*/ 142 w 211"/>
                  <a:gd name="T23" fmla="*/ 3 h 171"/>
                  <a:gd name="T24" fmla="*/ 137 w 211"/>
                  <a:gd name="T25" fmla="*/ 1 h 171"/>
                  <a:gd name="T26" fmla="*/ 131 w 211"/>
                  <a:gd name="T27" fmla="*/ 9 h 171"/>
                  <a:gd name="T28" fmla="*/ 119 w 211"/>
                  <a:gd name="T29" fmla="*/ 15 h 171"/>
                  <a:gd name="T30" fmla="*/ 112 w 211"/>
                  <a:gd name="T31" fmla="*/ 21 h 171"/>
                  <a:gd name="T32" fmla="*/ 102 w 211"/>
                  <a:gd name="T33" fmla="*/ 26 h 171"/>
                  <a:gd name="T34" fmla="*/ 90 w 211"/>
                  <a:gd name="T35" fmla="*/ 17 h 171"/>
                  <a:gd name="T36" fmla="*/ 67 w 211"/>
                  <a:gd name="T37" fmla="*/ 15 h 171"/>
                  <a:gd name="T38" fmla="*/ 54 w 211"/>
                  <a:gd name="T39" fmla="*/ 5 h 171"/>
                  <a:gd name="T40" fmla="*/ 50 w 211"/>
                  <a:gd name="T41" fmla="*/ 28 h 171"/>
                  <a:gd name="T42" fmla="*/ 44 w 211"/>
                  <a:gd name="T43" fmla="*/ 36 h 171"/>
                  <a:gd name="T44" fmla="*/ 31 w 211"/>
                  <a:gd name="T45" fmla="*/ 53 h 171"/>
                  <a:gd name="T46" fmla="*/ 23 w 211"/>
                  <a:gd name="T47" fmla="*/ 86 h 171"/>
                  <a:gd name="T48" fmla="*/ 10 w 211"/>
                  <a:gd name="T49" fmla="*/ 99 h 171"/>
                  <a:gd name="T50" fmla="*/ 4 w 211"/>
                  <a:gd name="T51" fmla="*/ 101 h 171"/>
                  <a:gd name="T52" fmla="*/ 10 w 211"/>
                  <a:gd name="T53" fmla="*/ 111 h 171"/>
                  <a:gd name="T54" fmla="*/ 12 w 211"/>
                  <a:gd name="T55" fmla="*/ 126 h 171"/>
                  <a:gd name="T56" fmla="*/ 19 w 211"/>
                  <a:gd name="T57" fmla="*/ 128 h 171"/>
                  <a:gd name="T58" fmla="*/ 31 w 211"/>
                  <a:gd name="T59" fmla="*/ 134 h 171"/>
                  <a:gd name="T60" fmla="*/ 39 w 211"/>
                  <a:gd name="T61" fmla="*/ 128 h 171"/>
                  <a:gd name="T62" fmla="*/ 56 w 211"/>
                  <a:gd name="T63" fmla="*/ 138 h 171"/>
                  <a:gd name="T64" fmla="*/ 44 w 211"/>
                  <a:gd name="T65" fmla="*/ 140 h 171"/>
                  <a:gd name="T66" fmla="*/ 46 w 211"/>
                  <a:gd name="T67" fmla="*/ 148 h 171"/>
                  <a:gd name="T68" fmla="*/ 58 w 211"/>
                  <a:gd name="T69" fmla="*/ 153 h 171"/>
                  <a:gd name="T70" fmla="*/ 64 w 211"/>
                  <a:gd name="T71" fmla="*/ 155 h 171"/>
                  <a:gd name="T72" fmla="*/ 69 w 211"/>
                  <a:gd name="T73" fmla="*/ 161 h 171"/>
                  <a:gd name="T74" fmla="*/ 69 w 211"/>
                  <a:gd name="T75" fmla="*/ 169 h 171"/>
                  <a:gd name="T76" fmla="*/ 85 w 211"/>
                  <a:gd name="T77" fmla="*/ 169 h 171"/>
                  <a:gd name="T78" fmla="*/ 92 w 211"/>
                  <a:gd name="T79" fmla="*/ 167 h 171"/>
                  <a:gd name="T80" fmla="*/ 119 w 211"/>
                  <a:gd name="T81" fmla="*/ 167 h 171"/>
                  <a:gd name="T82" fmla="*/ 133 w 211"/>
                  <a:gd name="T83" fmla="*/ 155 h 171"/>
                  <a:gd name="T84" fmla="*/ 142 w 211"/>
                  <a:gd name="T85" fmla="*/ 151 h 171"/>
                  <a:gd name="T86" fmla="*/ 152 w 211"/>
                  <a:gd name="T87" fmla="*/ 159 h 171"/>
                  <a:gd name="T88" fmla="*/ 169 w 211"/>
                  <a:gd name="T89" fmla="*/ 155 h 171"/>
                  <a:gd name="T90" fmla="*/ 179 w 211"/>
                  <a:gd name="T91" fmla="*/ 155 h 171"/>
                  <a:gd name="T92" fmla="*/ 186 w 211"/>
                  <a:gd name="T93" fmla="*/ 161 h 171"/>
                  <a:gd name="T94" fmla="*/ 188 w 211"/>
                  <a:gd name="T95" fmla="*/ 159 h 171"/>
                  <a:gd name="T96" fmla="*/ 196 w 211"/>
                  <a:gd name="T97" fmla="*/ 153 h 171"/>
                  <a:gd name="T98" fmla="*/ 192 w 211"/>
                  <a:gd name="T99" fmla="*/ 148 h 171"/>
                  <a:gd name="T100" fmla="*/ 204 w 211"/>
                  <a:gd name="T101" fmla="*/ 117 h 171"/>
                  <a:gd name="T102" fmla="*/ 211 w 211"/>
                  <a:gd name="T103" fmla="*/ 113 h 171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11"/>
                  <a:gd name="T157" fmla="*/ 0 h 171"/>
                  <a:gd name="T158" fmla="*/ 211 w 211"/>
                  <a:gd name="T159" fmla="*/ 171 h 171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11" h="171">
                    <a:moveTo>
                      <a:pt x="211" y="113"/>
                    </a:moveTo>
                    <a:lnTo>
                      <a:pt x="204" y="113"/>
                    </a:lnTo>
                    <a:lnTo>
                      <a:pt x="202" y="115"/>
                    </a:lnTo>
                    <a:lnTo>
                      <a:pt x="194" y="115"/>
                    </a:lnTo>
                    <a:lnTo>
                      <a:pt x="190" y="113"/>
                    </a:lnTo>
                    <a:lnTo>
                      <a:pt x="188" y="113"/>
                    </a:lnTo>
                    <a:lnTo>
                      <a:pt x="186" y="111"/>
                    </a:lnTo>
                    <a:lnTo>
                      <a:pt x="183" y="109"/>
                    </a:lnTo>
                    <a:lnTo>
                      <a:pt x="181" y="107"/>
                    </a:lnTo>
                    <a:lnTo>
                      <a:pt x="177" y="101"/>
                    </a:lnTo>
                    <a:lnTo>
                      <a:pt x="179" y="98"/>
                    </a:lnTo>
                    <a:lnTo>
                      <a:pt x="179" y="94"/>
                    </a:lnTo>
                    <a:lnTo>
                      <a:pt x="177" y="92"/>
                    </a:lnTo>
                    <a:lnTo>
                      <a:pt x="179" y="86"/>
                    </a:lnTo>
                    <a:lnTo>
                      <a:pt x="179" y="74"/>
                    </a:lnTo>
                    <a:lnTo>
                      <a:pt x="181" y="73"/>
                    </a:lnTo>
                    <a:lnTo>
                      <a:pt x="179" y="69"/>
                    </a:lnTo>
                    <a:lnTo>
                      <a:pt x="177" y="63"/>
                    </a:lnTo>
                    <a:lnTo>
                      <a:pt x="177" y="53"/>
                    </a:lnTo>
                    <a:lnTo>
                      <a:pt x="173" y="42"/>
                    </a:lnTo>
                    <a:lnTo>
                      <a:pt x="161" y="30"/>
                    </a:lnTo>
                    <a:lnTo>
                      <a:pt x="158" y="19"/>
                    </a:lnTo>
                    <a:lnTo>
                      <a:pt x="150" y="9"/>
                    </a:lnTo>
                    <a:lnTo>
                      <a:pt x="142" y="3"/>
                    </a:lnTo>
                    <a:lnTo>
                      <a:pt x="138" y="0"/>
                    </a:lnTo>
                    <a:lnTo>
                      <a:pt x="137" y="1"/>
                    </a:lnTo>
                    <a:lnTo>
                      <a:pt x="133" y="3"/>
                    </a:lnTo>
                    <a:lnTo>
                      <a:pt x="131" y="9"/>
                    </a:lnTo>
                    <a:lnTo>
                      <a:pt x="125" y="15"/>
                    </a:lnTo>
                    <a:lnTo>
                      <a:pt x="119" y="15"/>
                    </a:lnTo>
                    <a:lnTo>
                      <a:pt x="113" y="17"/>
                    </a:lnTo>
                    <a:lnTo>
                      <a:pt x="112" y="21"/>
                    </a:lnTo>
                    <a:lnTo>
                      <a:pt x="106" y="25"/>
                    </a:lnTo>
                    <a:lnTo>
                      <a:pt x="102" y="26"/>
                    </a:lnTo>
                    <a:lnTo>
                      <a:pt x="98" y="25"/>
                    </a:lnTo>
                    <a:lnTo>
                      <a:pt x="90" y="17"/>
                    </a:lnTo>
                    <a:lnTo>
                      <a:pt x="87" y="15"/>
                    </a:lnTo>
                    <a:lnTo>
                      <a:pt x="67" y="15"/>
                    </a:lnTo>
                    <a:lnTo>
                      <a:pt x="60" y="5"/>
                    </a:lnTo>
                    <a:lnTo>
                      <a:pt x="54" y="5"/>
                    </a:lnTo>
                    <a:lnTo>
                      <a:pt x="54" y="9"/>
                    </a:lnTo>
                    <a:lnTo>
                      <a:pt x="50" y="28"/>
                    </a:lnTo>
                    <a:lnTo>
                      <a:pt x="48" y="32"/>
                    </a:lnTo>
                    <a:lnTo>
                      <a:pt x="44" y="36"/>
                    </a:lnTo>
                    <a:lnTo>
                      <a:pt x="37" y="42"/>
                    </a:lnTo>
                    <a:lnTo>
                      <a:pt x="31" y="53"/>
                    </a:lnTo>
                    <a:lnTo>
                      <a:pt x="29" y="69"/>
                    </a:lnTo>
                    <a:lnTo>
                      <a:pt x="23" y="86"/>
                    </a:lnTo>
                    <a:lnTo>
                      <a:pt x="16" y="98"/>
                    </a:lnTo>
                    <a:lnTo>
                      <a:pt x="10" y="99"/>
                    </a:lnTo>
                    <a:lnTo>
                      <a:pt x="6" y="99"/>
                    </a:lnTo>
                    <a:lnTo>
                      <a:pt x="4" y="101"/>
                    </a:lnTo>
                    <a:lnTo>
                      <a:pt x="0" y="101"/>
                    </a:lnTo>
                    <a:lnTo>
                      <a:pt x="10" y="111"/>
                    </a:lnTo>
                    <a:lnTo>
                      <a:pt x="12" y="119"/>
                    </a:lnTo>
                    <a:lnTo>
                      <a:pt x="12" y="126"/>
                    </a:lnTo>
                    <a:lnTo>
                      <a:pt x="16" y="128"/>
                    </a:lnTo>
                    <a:lnTo>
                      <a:pt x="19" y="128"/>
                    </a:lnTo>
                    <a:lnTo>
                      <a:pt x="29" y="138"/>
                    </a:lnTo>
                    <a:lnTo>
                      <a:pt x="31" y="134"/>
                    </a:lnTo>
                    <a:lnTo>
                      <a:pt x="35" y="130"/>
                    </a:lnTo>
                    <a:lnTo>
                      <a:pt x="39" y="128"/>
                    </a:lnTo>
                    <a:lnTo>
                      <a:pt x="44" y="130"/>
                    </a:lnTo>
                    <a:lnTo>
                      <a:pt x="56" y="138"/>
                    </a:lnTo>
                    <a:lnTo>
                      <a:pt x="54" y="140"/>
                    </a:lnTo>
                    <a:lnTo>
                      <a:pt x="44" y="140"/>
                    </a:lnTo>
                    <a:lnTo>
                      <a:pt x="44" y="144"/>
                    </a:lnTo>
                    <a:lnTo>
                      <a:pt x="46" y="148"/>
                    </a:lnTo>
                    <a:lnTo>
                      <a:pt x="52" y="151"/>
                    </a:lnTo>
                    <a:lnTo>
                      <a:pt x="58" y="153"/>
                    </a:lnTo>
                    <a:lnTo>
                      <a:pt x="60" y="153"/>
                    </a:lnTo>
                    <a:lnTo>
                      <a:pt x="64" y="155"/>
                    </a:lnTo>
                    <a:lnTo>
                      <a:pt x="69" y="157"/>
                    </a:lnTo>
                    <a:lnTo>
                      <a:pt x="69" y="161"/>
                    </a:lnTo>
                    <a:lnTo>
                      <a:pt x="65" y="165"/>
                    </a:lnTo>
                    <a:lnTo>
                      <a:pt x="69" y="169"/>
                    </a:lnTo>
                    <a:lnTo>
                      <a:pt x="77" y="171"/>
                    </a:lnTo>
                    <a:lnTo>
                      <a:pt x="85" y="169"/>
                    </a:lnTo>
                    <a:lnTo>
                      <a:pt x="87" y="167"/>
                    </a:lnTo>
                    <a:lnTo>
                      <a:pt x="92" y="167"/>
                    </a:lnTo>
                    <a:lnTo>
                      <a:pt x="104" y="171"/>
                    </a:lnTo>
                    <a:lnTo>
                      <a:pt x="119" y="167"/>
                    </a:lnTo>
                    <a:lnTo>
                      <a:pt x="123" y="165"/>
                    </a:lnTo>
                    <a:lnTo>
                      <a:pt x="133" y="155"/>
                    </a:lnTo>
                    <a:lnTo>
                      <a:pt x="138" y="153"/>
                    </a:lnTo>
                    <a:lnTo>
                      <a:pt x="142" y="151"/>
                    </a:lnTo>
                    <a:lnTo>
                      <a:pt x="148" y="155"/>
                    </a:lnTo>
                    <a:lnTo>
                      <a:pt x="152" y="159"/>
                    </a:lnTo>
                    <a:lnTo>
                      <a:pt x="160" y="159"/>
                    </a:lnTo>
                    <a:lnTo>
                      <a:pt x="169" y="155"/>
                    </a:lnTo>
                    <a:lnTo>
                      <a:pt x="173" y="153"/>
                    </a:lnTo>
                    <a:lnTo>
                      <a:pt x="179" y="155"/>
                    </a:lnTo>
                    <a:lnTo>
                      <a:pt x="183" y="157"/>
                    </a:lnTo>
                    <a:lnTo>
                      <a:pt x="186" y="161"/>
                    </a:lnTo>
                    <a:lnTo>
                      <a:pt x="188" y="161"/>
                    </a:lnTo>
                    <a:lnTo>
                      <a:pt x="188" y="159"/>
                    </a:lnTo>
                    <a:lnTo>
                      <a:pt x="196" y="155"/>
                    </a:lnTo>
                    <a:lnTo>
                      <a:pt x="196" y="153"/>
                    </a:lnTo>
                    <a:lnTo>
                      <a:pt x="192" y="149"/>
                    </a:lnTo>
                    <a:lnTo>
                      <a:pt x="192" y="148"/>
                    </a:lnTo>
                    <a:lnTo>
                      <a:pt x="204" y="148"/>
                    </a:lnTo>
                    <a:lnTo>
                      <a:pt x="204" y="117"/>
                    </a:lnTo>
                    <a:lnTo>
                      <a:pt x="211" y="117"/>
                    </a:lnTo>
                    <a:lnTo>
                      <a:pt x="211" y="11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3" name="Freeform 81"/>
              <p:cNvSpPr>
                <a:spLocks/>
              </p:cNvSpPr>
              <p:nvPr/>
            </p:nvSpPr>
            <p:spPr bwMode="gray">
              <a:xfrm>
                <a:off x="3661" y="2371"/>
                <a:ext cx="10" cy="18"/>
              </a:xfrm>
              <a:custGeom>
                <a:avLst/>
                <a:gdLst>
                  <a:gd name="T0" fmla="*/ 0 w 20"/>
                  <a:gd name="T1" fmla="*/ 27 h 37"/>
                  <a:gd name="T2" fmla="*/ 10 w 20"/>
                  <a:gd name="T3" fmla="*/ 35 h 37"/>
                  <a:gd name="T4" fmla="*/ 18 w 20"/>
                  <a:gd name="T5" fmla="*/ 37 h 37"/>
                  <a:gd name="T6" fmla="*/ 20 w 20"/>
                  <a:gd name="T7" fmla="*/ 18 h 37"/>
                  <a:gd name="T8" fmla="*/ 18 w 20"/>
                  <a:gd name="T9" fmla="*/ 4 h 37"/>
                  <a:gd name="T10" fmla="*/ 14 w 20"/>
                  <a:gd name="T11" fmla="*/ 0 h 37"/>
                  <a:gd name="T12" fmla="*/ 8 w 20"/>
                  <a:gd name="T13" fmla="*/ 8 h 37"/>
                  <a:gd name="T14" fmla="*/ 4 w 20"/>
                  <a:gd name="T15" fmla="*/ 19 h 37"/>
                  <a:gd name="T16" fmla="*/ 2 w 20"/>
                  <a:gd name="T17" fmla="*/ 27 h 37"/>
                  <a:gd name="T18" fmla="*/ 0 w 20"/>
                  <a:gd name="T19" fmla="*/ 27 h 3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"/>
                  <a:gd name="T31" fmla="*/ 0 h 37"/>
                  <a:gd name="T32" fmla="*/ 20 w 20"/>
                  <a:gd name="T33" fmla="*/ 37 h 3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" h="37">
                    <a:moveTo>
                      <a:pt x="0" y="27"/>
                    </a:moveTo>
                    <a:lnTo>
                      <a:pt x="10" y="35"/>
                    </a:lnTo>
                    <a:lnTo>
                      <a:pt x="18" y="37"/>
                    </a:lnTo>
                    <a:lnTo>
                      <a:pt x="20" y="18"/>
                    </a:lnTo>
                    <a:lnTo>
                      <a:pt x="18" y="4"/>
                    </a:lnTo>
                    <a:lnTo>
                      <a:pt x="14" y="0"/>
                    </a:lnTo>
                    <a:lnTo>
                      <a:pt x="8" y="8"/>
                    </a:lnTo>
                    <a:lnTo>
                      <a:pt x="4" y="19"/>
                    </a:lnTo>
                    <a:lnTo>
                      <a:pt x="2" y="27"/>
                    </a:lnTo>
                    <a:lnTo>
                      <a:pt x="0" y="2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4" name="Freeform 82"/>
              <p:cNvSpPr>
                <a:spLocks/>
              </p:cNvSpPr>
              <p:nvPr/>
            </p:nvSpPr>
            <p:spPr bwMode="gray">
              <a:xfrm>
                <a:off x="2913" y="2102"/>
                <a:ext cx="35" cy="86"/>
              </a:xfrm>
              <a:custGeom>
                <a:avLst/>
                <a:gdLst>
                  <a:gd name="T0" fmla="*/ 62 w 71"/>
                  <a:gd name="T1" fmla="*/ 167 h 171"/>
                  <a:gd name="T2" fmla="*/ 60 w 71"/>
                  <a:gd name="T3" fmla="*/ 163 h 171"/>
                  <a:gd name="T4" fmla="*/ 60 w 71"/>
                  <a:gd name="T5" fmla="*/ 158 h 171"/>
                  <a:gd name="T6" fmla="*/ 62 w 71"/>
                  <a:gd name="T7" fmla="*/ 150 h 171"/>
                  <a:gd name="T8" fmla="*/ 62 w 71"/>
                  <a:gd name="T9" fmla="*/ 146 h 171"/>
                  <a:gd name="T10" fmla="*/ 58 w 71"/>
                  <a:gd name="T11" fmla="*/ 146 h 171"/>
                  <a:gd name="T12" fmla="*/ 52 w 71"/>
                  <a:gd name="T13" fmla="*/ 142 h 171"/>
                  <a:gd name="T14" fmla="*/ 50 w 71"/>
                  <a:gd name="T15" fmla="*/ 135 h 171"/>
                  <a:gd name="T16" fmla="*/ 52 w 71"/>
                  <a:gd name="T17" fmla="*/ 131 h 171"/>
                  <a:gd name="T18" fmla="*/ 56 w 71"/>
                  <a:gd name="T19" fmla="*/ 125 h 171"/>
                  <a:gd name="T20" fmla="*/ 58 w 71"/>
                  <a:gd name="T21" fmla="*/ 119 h 171"/>
                  <a:gd name="T22" fmla="*/ 58 w 71"/>
                  <a:gd name="T23" fmla="*/ 117 h 171"/>
                  <a:gd name="T24" fmla="*/ 56 w 71"/>
                  <a:gd name="T25" fmla="*/ 114 h 171"/>
                  <a:gd name="T26" fmla="*/ 50 w 71"/>
                  <a:gd name="T27" fmla="*/ 104 h 171"/>
                  <a:gd name="T28" fmla="*/ 54 w 71"/>
                  <a:gd name="T29" fmla="*/ 100 h 171"/>
                  <a:gd name="T30" fmla="*/ 58 w 71"/>
                  <a:gd name="T31" fmla="*/ 94 h 171"/>
                  <a:gd name="T32" fmla="*/ 60 w 71"/>
                  <a:gd name="T33" fmla="*/ 89 h 171"/>
                  <a:gd name="T34" fmla="*/ 58 w 71"/>
                  <a:gd name="T35" fmla="*/ 85 h 171"/>
                  <a:gd name="T36" fmla="*/ 58 w 71"/>
                  <a:gd name="T37" fmla="*/ 69 h 171"/>
                  <a:gd name="T38" fmla="*/ 64 w 71"/>
                  <a:gd name="T39" fmla="*/ 64 h 171"/>
                  <a:gd name="T40" fmla="*/ 66 w 71"/>
                  <a:gd name="T41" fmla="*/ 56 h 171"/>
                  <a:gd name="T42" fmla="*/ 64 w 71"/>
                  <a:gd name="T43" fmla="*/ 46 h 171"/>
                  <a:gd name="T44" fmla="*/ 58 w 71"/>
                  <a:gd name="T45" fmla="*/ 37 h 171"/>
                  <a:gd name="T46" fmla="*/ 56 w 71"/>
                  <a:gd name="T47" fmla="*/ 31 h 171"/>
                  <a:gd name="T48" fmla="*/ 68 w 71"/>
                  <a:gd name="T49" fmla="*/ 19 h 171"/>
                  <a:gd name="T50" fmla="*/ 71 w 71"/>
                  <a:gd name="T51" fmla="*/ 12 h 171"/>
                  <a:gd name="T52" fmla="*/ 70 w 71"/>
                  <a:gd name="T53" fmla="*/ 10 h 171"/>
                  <a:gd name="T54" fmla="*/ 66 w 71"/>
                  <a:gd name="T55" fmla="*/ 10 h 171"/>
                  <a:gd name="T56" fmla="*/ 64 w 71"/>
                  <a:gd name="T57" fmla="*/ 6 h 171"/>
                  <a:gd name="T58" fmla="*/ 62 w 71"/>
                  <a:gd name="T59" fmla="*/ 6 h 171"/>
                  <a:gd name="T60" fmla="*/ 58 w 71"/>
                  <a:gd name="T61" fmla="*/ 4 h 171"/>
                  <a:gd name="T62" fmla="*/ 46 w 71"/>
                  <a:gd name="T63" fmla="*/ 4 h 171"/>
                  <a:gd name="T64" fmla="*/ 39 w 71"/>
                  <a:gd name="T65" fmla="*/ 6 h 171"/>
                  <a:gd name="T66" fmla="*/ 31 w 71"/>
                  <a:gd name="T67" fmla="*/ 6 h 171"/>
                  <a:gd name="T68" fmla="*/ 33 w 71"/>
                  <a:gd name="T69" fmla="*/ 6 h 171"/>
                  <a:gd name="T70" fmla="*/ 31 w 71"/>
                  <a:gd name="T71" fmla="*/ 0 h 171"/>
                  <a:gd name="T72" fmla="*/ 25 w 71"/>
                  <a:gd name="T73" fmla="*/ 0 h 171"/>
                  <a:gd name="T74" fmla="*/ 14 w 71"/>
                  <a:gd name="T75" fmla="*/ 6 h 171"/>
                  <a:gd name="T76" fmla="*/ 18 w 71"/>
                  <a:gd name="T77" fmla="*/ 19 h 171"/>
                  <a:gd name="T78" fmla="*/ 22 w 71"/>
                  <a:gd name="T79" fmla="*/ 37 h 171"/>
                  <a:gd name="T80" fmla="*/ 22 w 71"/>
                  <a:gd name="T81" fmla="*/ 56 h 171"/>
                  <a:gd name="T82" fmla="*/ 14 w 71"/>
                  <a:gd name="T83" fmla="*/ 60 h 171"/>
                  <a:gd name="T84" fmla="*/ 10 w 71"/>
                  <a:gd name="T85" fmla="*/ 69 h 171"/>
                  <a:gd name="T86" fmla="*/ 8 w 71"/>
                  <a:gd name="T87" fmla="*/ 81 h 171"/>
                  <a:gd name="T88" fmla="*/ 6 w 71"/>
                  <a:gd name="T89" fmla="*/ 89 h 171"/>
                  <a:gd name="T90" fmla="*/ 2 w 71"/>
                  <a:gd name="T91" fmla="*/ 89 h 171"/>
                  <a:gd name="T92" fmla="*/ 0 w 71"/>
                  <a:gd name="T93" fmla="*/ 96 h 171"/>
                  <a:gd name="T94" fmla="*/ 2 w 71"/>
                  <a:gd name="T95" fmla="*/ 104 h 171"/>
                  <a:gd name="T96" fmla="*/ 2 w 71"/>
                  <a:gd name="T97" fmla="*/ 114 h 171"/>
                  <a:gd name="T98" fmla="*/ 4 w 71"/>
                  <a:gd name="T99" fmla="*/ 112 h 171"/>
                  <a:gd name="T100" fmla="*/ 8 w 71"/>
                  <a:gd name="T101" fmla="*/ 110 h 171"/>
                  <a:gd name="T102" fmla="*/ 10 w 71"/>
                  <a:gd name="T103" fmla="*/ 108 h 171"/>
                  <a:gd name="T104" fmla="*/ 10 w 71"/>
                  <a:gd name="T105" fmla="*/ 115 h 171"/>
                  <a:gd name="T106" fmla="*/ 6 w 71"/>
                  <a:gd name="T107" fmla="*/ 117 h 171"/>
                  <a:gd name="T108" fmla="*/ 6 w 71"/>
                  <a:gd name="T109" fmla="*/ 123 h 171"/>
                  <a:gd name="T110" fmla="*/ 14 w 71"/>
                  <a:gd name="T111" fmla="*/ 131 h 171"/>
                  <a:gd name="T112" fmla="*/ 14 w 71"/>
                  <a:gd name="T113" fmla="*/ 144 h 171"/>
                  <a:gd name="T114" fmla="*/ 12 w 71"/>
                  <a:gd name="T115" fmla="*/ 158 h 171"/>
                  <a:gd name="T116" fmla="*/ 10 w 71"/>
                  <a:gd name="T117" fmla="*/ 169 h 171"/>
                  <a:gd name="T118" fmla="*/ 25 w 71"/>
                  <a:gd name="T119" fmla="*/ 171 h 171"/>
                  <a:gd name="T120" fmla="*/ 43 w 71"/>
                  <a:gd name="T121" fmla="*/ 169 h 171"/>
                  <a:gd name="T122" fmla="*/ 62 w 71"/>
                  <a:gd name="T123" fmla="*/ 167 h 17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1"/>
                  <a:gd name="T187" fmla="*/ 0 h 171"/>
                  <a:gd name="T188" fmla="*/ 71 w 71"/>
                  <a:gd name="T189" fmla="*/ 171 h 171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1" h="171">
                    <a:moveTo>
                      <a:pt x="62" y="167"/>
                    </a:moveTo>
                    <a:lnTo>
                      <a:pt x="60" y="163"/>
                    </a:lnTo>
                    <a:lnTo>
                      <a:pt x="60" y="158"/>
                    </a:lnTo>
                    <a:lnTo>
                      <a:pt x="62" y="150"/>
                    </a:lnTo>
                    <a:lnTo>
                      <a:pt x="62" y="146"/>
                    </a:lnTo>
                    <a:lnTo>
                      <a:pt x="58" y="146"/>
                    </a:lnTo>
                    <a:lnTo>
                      <a:pt x="52" y="142"/>
                    </a:lnTo>
                    <a:lnTo>
                      <a:pt x="50" y="135"/>
                    </a:lnTo>
                    <a:lnTo>
                      <a:pt x="52" y="131"/>
                    </a:lnTo>
                    <a:lnTo>
                      <a:pt x="56" y="125"/>
                    </a:lnTo>
                    <a:lnTo>
                      <a:pt x="58" y="119"/>
                    </a:lnTo>
                    <a:lnTo>
                      <a:pt x="58" y="117"/>
                    </a:lnTo>
                    <a:lnTo>
                      <a:pt x="56" y="114"/>
                    </a:lnTo>
                    <a:lnTo>
                      <a:pt x="50" y="104"/>
                    </a:lnTo>
                    <a:lnTo>
                      <a:pt x="54" y="100"/>
                    </a:lnTo>
                    <a:lnTo>
                      <a:pt x="58" y="94"/>
                    </a:lnTo>
                    <a:lnTo>
                      <a:pt x="60" y="89"/>
                    </a:lnTo>
                    <a:lnTo>
                      <a:pt x="58" y="85"/>
                    </a:lnTo>
                    <a:lnTo>
                      <a:pt x="58" y="69"/>
                    </a:lnTo>
                    <a:lnTo>
                      <a:pt x="64" y="64"/>
                    </a:lnTo>
                    <a:lnTo>
                      <a:pt x="66" y="56"/>
                    </a:lnTo>
                    <a:lnTo>
                      <a:pt x="64" y="46"/>
                    </a:lnTo>
                    <a:lnTo>
                      <a:pt x="58" y="37"/>
                    </a:lnTo>
                    <a:lnTo>
                      <a:pt x="56" y="31"/>
                    </a:lnTo>
                    <a:lnTo>
                      <a:pt x="68" y="19"/>
                    </a:lnTo>
                    <a:lnTo>
                      <a:pt x="71" y="12"/>
                    </a:lnTo>
                    <a:lnTo>
                      <a:pt x="70" y="10"/>
                    </a:lnTo>
                    <a:lnTo>
                      <a:pt x="66" y="10"/>
                    </a:lnTo>
                    <a:lnTo>
                      <a:pt x="64" y="6"/>
                    </a:lnTo>
                    <a:lnTo>
                      <a:pt x="62" y="6"/>
                    </a:lnTo>
                    <a:lnTo>
                      <a:pt x="58" y="4"/>
                    </a:lnTo>
                    <a:lnTo>
                      <a:pt x="46" y="4"/>
                    </a:lnTo>
                    <a:lnTo>
                      <a:pt x="39" y="6"/>
                    </a:lnTo>
                    <a:lnTo>
                      <a:pt x="31" y="6"/>
                    </a:lnTo>
                    <a:lnTo>
                      <a:pt x="33" y="6"/>
                    </a:lnTo>
                    <a:lnTo>
                      <a:pt x="31" y="0"/>
                    </a:lnTo>
                    <a:lnTo>
                      <a:pt x="25" y="0"/>
                    </a:lnTo>
                    <a:lnTo>
                      <a:pt x="14" y="6"/>
                    </a:lnTo>
                    <a:lnTo>
                      <a:pt x="18" y="19"/>
                    </a:lnTo>
                    <a:lnTo>
                      <a:pt x="22" y="37"/>
                    </a:lnTo>
                    <a:lnTo>
                      <a:pt x="22" y="56"/>
                    </a:lnTo>
                    <a:lnTo>
                      <a:pt x="14" y="60"/>
                    </a:lnTo>
                    <a:lnTo>
                      <a:pt x="10" y="69"/>
                    </a:lnTo>
                    <a:lnTo>
                      <a:pt x="8" y="81"/>
                    </a:lnTo>
                    <a:lnTo>
                      <a:pt x="6" y="89"/>
                    </a:lnTo>
                    <a:lnTo>
                      <a:pt x="2" y="89"/>
                    </a:lnTo>
                    <a:lnTo>
                      <a:pt x="0" y="96"/>
                    </a:lnTo>
                    <a:lnTo>
                      <a:pt x="2" y="104"/>
                    </a:lnTo>
                    <a:lnTo>
                      <a:pt x="2" y="114"/>
                    </a:lnTo>
                    <a:lnTo>
                      <a:pt x="4" y="112"/>
                    </a:lnTo>
                    <a:lnTo>
                      <a:pt x="8" y="110"/>
                    </a:lnTo>
                    <a:lnTo>
                      <a:pt x="10" y="108"/>
                    </a:lnTo>
                    <a:lnTo>
                      <a:pt x="10" y="115"/>
                    </a:lnTo>
                    <a:lnTo>
                      <a:pt x="6" y="117"/>
                    </a:lnTo>
                    <a:lnTo>
                      <a:pt x="6" y="123"/>
                    </a:lnTo>
                    <a:lnTo>
                      <a:pt x="14" y="131"/>
                    </a:lnTo>
                    <a:lnTo>
                      <a:pt x="14" y="144"/>
                    </a:lnTo>
                    <a:lnTo>
                      <a:pt x="12" y="158"/>
                    </a:lnTo>
                    <a:lnTo>
                      <a:pt x="10" y="169"/>
                    </a:lnTo>
                    <a:lnTo>
                      <a:pt x="25" y="171"/>
                    </a:lnTo>
                    <a:lnTo>
                      <a:pt x="43" y="169"/>
                    </a:lnTo>
                    <a:lnTo>
                      <a:pt x="62" y="16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5" name="Freeform 83"/>
              <p:cNvSpPr>
                <a:spLocks/>
              </p:cNvSpPr>
              <p:nvPr/>
            </p:nvSpPr>
            <p:spPr bwMode="gray">
              <a:xfrm>
                <a:off x="3207" y="1871"/>
                <a:ext cx="135" cy="111"/>
              </a:xfrm>
              <a:custGeom>
                <a:avLst/>
                <a:gdLst>
                  <a:gd name="T0" fmla="*/ 128 w 268"/>
                  <a:gd name="T1" fmla="*/ 12 h 223"/>
                  <a:gd name="T2" fmla="*/ 126 w 268"/>
                  <a:gd name="T3" fmla="*/ 8 h 223"/>
                  <a:gd name="T4" fmla="*/ 111 w 268"/>
                  <a:gd name="T5" fmla="*/ 17 h 223"/>
                  <a:gd name="T6" fmla="*/ 105 w 268"/>
                  <a:gd name="T7" fmla="*/ 17 h 223"/>
                  <a:gd name="T8" fmla="*/ 103 w 268"/>
                  <a:gd name="T9" fmla="*/ 8 h 223"/>
                  <a:gd name="T10" fmla="*/ 105 w 268"/>
                  <a:gd name="T11" fmla="*/ 2 h 223"/>
                  <a:gd name="T12" fmla="*/ 71 w 268"/>
                  <a:gd name="T13" fmla="*/ 10 h 223"/>
                  <a:gd name="T14" fmla="*/ 15 w 268"/>
                  <a:gd name="T15" fmla="*/ 31 h 223"/>
                  <a:gd name="T16" fmla="*/ 5 w 268"/>
                  <a:gd name="T17" fmla="*/ 33 h 223"/>
                  <a:gd name="T18" fmla="*/ 2 w 268"/>
                  <a:gd name="T19" fmla="*/ 46 h 223"/>
                  <a:gd name="T20" fmla="*/ 0 w 268"/>
                  <a:gd name="T21" fmla="*/ 60 h 223"/>
                  <a:gd name="T22" fmla="*/ 5 w 268"/>
                  <a:gd name="T23" fmla="*/ 73 h 223"/>
                  <a:gd name="T24" fmla="*/ 3 w 268"/>
                  <a:gd name="T25" fmla="*/ 88 h 223"/>
                  <a:gd name="T26" fmla="*/ 7 w 268"/>
                  <a:gd name="T27" fmla="*/ 100 h 223"/>
                  <a:gd name="T28" fmla="*/ 9 w 268"/>
                  <a:gd name="T29" fmla="*/ 113 h 223"/>
                  <a:gd name="T30" fmla="*/ 19 w 268"/>
                  <a:gd name="T31" fmla="*/ 140 h 223"/>
                  <a:gd name="T32" fmla="*/ 25 w 268"/>
                  <a:gd name="T33" fmla="*/ 142 h 223"/>
                  <a:gd name="T34" fmla="*/ 36 w 268"/>
                  <a:gd name="T35" fmla="*/ 144 h 223"/>
                  <a:gd name="T36" fmla="*/ 48 w 268"/>
                  <a:gd name="T37" fmla="*/ 148 h 223"/>
                  <a:gd name="T38" fmla="*/ 67 w 268"/>
                  <a:gd name="T39" fmla="*/ 163 h 223"/>
                  <a:gd name="T40" fmla="*/ 76 w 268"/>
                  <a:gd name="T41" fmla="*/ 161 h 223"/>
                  <a:gd name="T42" fmla="*/ 86 w 268"/>
                  <a:gd name="T43" fmla="*/ 171 h 223"/>
                  <a:gd name="T44" fmla="*/ 99 w 268"/>
                  <a:gd name="T45" fmla="*/ 186 h 223"/>
                  <a:gd name="T46" fmla="*/ 109 w 268"/>
                  <a:gd name="T47" fmla="*/ 188 h 223"/>
                  <a:gd name="T48" fmla="*/ 119 w 268"/>
                  <a:gd name="T49" fmla="*/ 186 h 223"/>
                  <a:gd name="T50" fmla="*/ 134 w 268"/>
                  <a:gd name="T51" fmla="*/ 194 h 223"/>
                  <a:gd name="T52" fmla="*/ 151 w 268"/>
                  <a:gd name="T53" fmla="*/ 200 h 223"/>
                  <a:gd name="T54" fmla="*/ 159 w 268"/>
                  <a:gd name="T55" fmla="*/ 192 h 223"/>
                  <a:gd name="T56" fmla="*/ 172 w 268"/>
                  <a:gd name="T57" fmla="*/ 190 h 223"/>
                  <a:gd name="T58" fmla="*/ 195 w 268"/>
                  <a:gd name="T59" fmla="*/ 179 h 223"/>
                  <a:gd name="T60" fmla="*/ 207 w 268"/>
                  <a:gd name="T61" fmla="*/ 188 h 223"/>
                  <a:gd name="T62" fmla="*/ 217 w 268"/>
                  <a:gd name="T63" fmla="*/ 190 h 223"/>
                  <a:gd name="T64" fmla="*/ 224 w 268"/>
                  <a:gd name="T65" fmla="*/ 200 h 223"/>
                  <a:gd name="T66" fmla="*/ 236 w 268"/>
                  <a:gd name="T67" fmla="*/ 217 h 223"/>
                  <a:gd name="T68" fmla="*/ 247 w 268"/>
                  <a:gd name="T69" fmla="*/ 221 h 223"/>
                  <a:gd name="T70" fmla="*/ 257 w 268"/>
                  <a:gd name="T71" fmla="*/ 211 h 223"/>
                  <a:gd name="T72" fmla="*/ 253 w 268"/>
                  <a:gd name="T73" fmla="*/ 192 h 223"/>
                  <a:gd name="T74" fmla="*/ 259 w 268"/>
                  <a:gd name="T75" fmla="*/ 184 h 223"/>
                  <a:gd name="T76" fmla="*/ 266 w 268"/>
                  <a:gd name="T77" fmla="*/ 165 h 223"/>
                  <a:gd name="T78" fmla="*/ 265 w 268"/>
                  <a:gd name="T79" fmla="*/ 160 h 223"/>
                  <a:gd name="T80" fmla="*/ 259 w 268"/>
                  <a:gd name="T81" fmla="*/ 144 h 223"/>
                  <a:gd name="T82" fmla="*/ 263 w 268"/>
                  <a:gd name="T83" fmla="*/ 121 h 223"/>
                  <a:gd name="T84" fmla="*/ 263 w 268"/>
                  <a:gd name="T85" fmla="*/ 117 h 223"/>
                  <a:gd name="T86" fmla="*/ 263 w 268"/>
                  <a:gd name="T87" fmla="*/ 100 h 223"/>
                  <a:gd name="T88" fmla="*/ 261 w 268"/>
                  <a:gd name="T89" fmla="*/ 88 h 223"/>
                  <a:gd name="T90" fmla="*/ 268 w 268"/>
                  <a:gd name="T91" fmla="*/ 65 h 223"/>
                  <a:gd name="T92" fmla="*/ 263 w 268"/>
                  <a:gd name="T93" fmla="*/ 50 h 223"/>
                  <a:gd name="T94" fmla="*/ 261 w 268"/>
                  <a:gd name="T95" fmla="*/ 33 h 223"/>
                  <a:gd name="T96" fmla="*/ 245 w 268"/>
                  <a:gd name="T97" fmla="*/ 27 h 223"/>
                  <a:gd name="T98" fmla="*/ 213 w 268"/>
                  <a:gd name="T99" fmla="*/ 31 h 223"/>
                  <a:gd name="T100" fmla="*/ 205 w 268"/>
                  <a:gd name="T101" fmla="*/ 29 h 223"/>
                  <a:gd name="T102" fmla="*/ 165 w 268"/>
                  <a:gd name="T103" fmla="*/ 25 h 223"/>
                  <a:gd name="T104" fmla="*/ 142 w 268"/>
                  <a:gd name="T105" fmla="*/ 15 h 223"/>
                  <a:gd name="T106" fmla="*/ 136 w 268"/>
                  <a:gd name="T107" fmla="*/ 13 h 22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68"/>
                  <a:gd name="T163" fmla="*/ 0 h 223"/>
                  <a:gd name="T164" fmla="*/ 268 w 268"/>
                  <a:gd name="T165" fmla="*/ 223 h 22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68" h="223">
                    <a:moveTo>
                      <a:pt x="136" y="13"/>
                    </a:moveTo>
                    <a:lnTo>
                      <a:pt x="128" y="12"/>
                    </a:lnTo>
                    <a:lnTo>
                      <a:pt x="128" y="10"/>
                    </a:lnTo>
                    <a:lnTo>
                      <a:pt x="126" y="8"/>
                    </a:lnTo>
                    <a:lnTo>
                      <a:pt x="119" y="15"/>
                    </a:lnTo>
                    <a:lnTo>
                      <a:pt x="111" y="17"/>
                    </a:lnTo>
                    <a:lnTo>
                      <a:pt x="107" y="19"/>
                    </a:lnTo>
                    <a:lnTo>
                      <a:pt x="105" y="17"/>
                    </a:lnTo>
                    <a:lnTo>
                      <a:pt x="103" y="12"/>
                    </a:lnTo>
                    <a:lnTo>
                      <a:pt x="103" y="8"/>
                    </a:lnTo>
                    <a:lnTo>
                      <a:pt x="109" y="8"/>
                    </a:lnTo>
                    <a:lnTo>
                      <a:pt x="105" y="2"/>
                    </a:lnTo>
                    <a:lnTo>
                      <a:pt x="96" y="0"/>
                    </a:lnTo>
                    <a:lnTo>
                      <a:pt x="71" y="10"/>
                    </a:lnTo>
                    <a:lnTo>
                      <a:pt x="44" y="23"/>
                    </a:lnTo>
                    <a:lnTo>
                      <a:pt x="15" y="31"/>
                    </a:lnTo>
                    <a:lnTo>
                      <a:pt x="9" y="31"/>
                    </a:lnTo>
                    <a:lnTo>
                      <a:pt x="5" y="33"/>
                    </a:lnTo>
                    <a:lnTo>
                      <a:pt x="2" y="31"/>
                    </a:lnTo>
                    <a:lnTo>
                      <a:pt x="2" y="46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5" y="71"/>
                    </a:lnTo>
                    <a:lnTo>
                      <a:pt x="5" y="73"/>
                    </a:lnTo>
                    <a:lnTo>
                      <a:pt x="3" y="81"/>
                    </a:lnTo>
                    <a:lnTo>
                      <a:pt x="3" y="88"/>
                    </a:lnTo>
                    <a:lnTo>
                      <a:pt x="5" y="96"/>
                    </a:lnTo>
                    <a:lnTo>
                      <a:pt x="7" y="100"/>
                    </a:lnTo>
                    <a:lnTo>
                      <a:pt x="7" y="104"/>
                    </a:lnTo>
                    <a:lnTo>
                      <a:pt x="9" y="113"/>
                    </a:lnTo>
                    <a:lnTo>
                      <a:pt x="9" y="135"/>
                    </a:lnTo>
                    <a:lnTo>
                      <a:pt x="19" y="140"/>
                    </a:lnTo>
                    <a:lnTo>
                      <a:pt x="21" y="140"/>
                    </a:lnTo>
                    <a:lnTo>
                      <a:pt x="25" y="142"/>
                    </a:lnTo>
                    <a:lnTo>
                      <a:pt x="30" y="142"/>
                    </a:lnTo>
                    <a:lnTo>
                      <a:pt x="36" y="144"/>
                    </a:lnTo>
                    <a:lnTo>
                      <a:pt x="38" y="148"/>
                    </a:lnTo>
                    <a:lnTo>
                      <a:pt x="48" y="148"/>
                    </a:lnTo>
                    <a:lnTo>
                      <a:pt x="59" y="160"/>
                    </a:lnTo>
                    <a:lnTo>
                      <a:pt x="67" y="163"/>
                    </a:lnTo>
                    <a:lnTo>
                      <a:pt x="71" y="163"/>
                    </a:lnTo>
                    <a:lnTo>
                      <a:pt x="76" y="161"/>
                    </a:lnTo>
                    <a:lnTo>
                      <a:pt x="82" y="163"/>
                    </a:lnTo>
                    <a:lnTo>
                      <a:pt x="86" y="171"/>
                    </a:lnTo>
                    <a:lnTo>
                      <a:pt x="94" y="175"/>
                    </a:lnTo>
                    <a:lnTo>
                      <a:pt x="99" y="186"/>
                    </a:lnTo>
                    <a:lnTo>
                      <a:pt x="101" y="188"/>
                    </a:lnTo>
                    <a:lnTo>
                      <a:pt x="109" y="188"/>
                    </a:lnTo>
                    <a:lnTo>
                      <a:pt x="115" y="186"/>
                    </a:lnTo>
                    <a:lnTo>
                      <a:pt x="119" y="186"/>
                    </a:lnTo>
                    <a:lnTo>
                      <a:pt x="130" y="190"/>
                    </a:lnTo>
                    <a:lnTo>
                      <a:pt x="134" y="194"/>
                    </a:lnTo>
                    <a:lnTo>
                      <a:pt x="146" y="200"/>
                    </a:lnTo>
                    <a:lnTo>
                      <a:pt x="151" y="200"/>
                    </a:lnTo>
                    <a:lnTo>
                      <a:pt x="157" y="196"/>
                    </a:lnTo>
                    <a:lnTo>
                      <a:pt x="159" y="192"/>
                    </a:lnTo>
                    <a:lnTo>
                      <a:pt x="165" y="190"/>
                    </a:lnTo>
                    <a:lnTo>
                      <a:pt x="172" y="190"/>
                    </a:lnTo>
                    <a:lnTo>
                      <a:pt x="188" y="179"/>
                    </a:lnTo>
                    <a:lnTo>
                      <a:pt x="195" y="179"/>
                    </a:lnTo>
                    <a:lnTo>
                      <a:pt x="201" y="184"/>
                    </a:lnTo>
                    <a:lnTo>
                      <a:pt x="207" y="188"/>
                    </a:lnTo>
                    <a:lnTo>
                      <a:pt x="213" y="188"/>
                    </a:lnTo>
                    <a:lnTo>
                      <a:pt x="217" y="190"/>
                    </a:lnTo>
                    <a:lnTo>
                      <a:pt x="220" y="194"/>
                    </a:lnTo>
                    <a:lnTo>
                      <a:pt x="224" y="200"/>
                    </a:lnTo>
                    <a:lnTo>
                      <a:pt x="228" y="202"/>
                    </a:lnTo>
                    <a:lnTo>
                      <a:pt x="236" y="217"/>
                    </a:lnTo>
                    <a:lnTo>
                      <a:pt x="241" y="223"/>
                    </a:lnTo>
                    <a:lnTo>
                      <a:pt x="247" y="221"/>
                    </a:lnTo>
                    <a:lnTo>
                      <a:pt x="253" y="217"/>
                    </a:lnTo>
                    <a:lnTo>
                      <a:pt x="257" y="211"/>
                    </a:lnTo>
                    <a:lnTo>
                      <a:pt x="253" y="200"/>
                    </a:lnTo>
                    <a:lnTo>
                      <a:pt x="253" y="192"/>
                    </a:lnTo>
                    <a:lnTo>
                      <a:pt x="257" y="188"/>
                    </a:lnTo>
                    <a:lnTo>
                      <a:pt x="259" y="184"/>
                    </a:lnTo>
                    <a:lnTo>
                      <a:pt x="263" y="173"/>
                    </a:lnTo>
                    <a:lnTo>
                      <a:pt x="266" y="165"/>
                    </a:lnTo>
                    <a:lnTo>
                      <a:pt x="268" y="163"/>
                    </a:lnTo>
                    <a:lnTo>
                      <a:pt x="265" y="160"/>
                    </a:lnTo>
                    <a:lnTo>
                      <a:pt x="261" y="152"/>
                    </a:lnTo>
                    <a:lnTo>
                      <a:pt x="259" y="144"/>
                    </a:lnTo>
                    <a:lnTo>
                      <a:pt x="263" y="133"/>
                    </a:lnTo>
                    <a:lnTo>
                      <a:pt x="263" y="121"/>
                    </a:lnTo>
                    <a:lnTo>
                      <a:pt x="265" y="121"/>
                    </a:lnTo>
                    <a:lnTo>
                      <a:pt x="263" y="117"/>
                    </a:lnTo>
                    <a:lnTo>
                      <a:pt x="259" y="106"/>
                    </a:lnTo>
                    <a:lnTo>
                      <a:pt x="263" y="100"/>
                    </a:lnTo>
                    <a:lnTo>
                      <a:pt x="263" y="96"/>
                    </a:lnTo>
                    <a:lnTo>
                      <a:pt x="261" y="88"/>
                    </a:lnTo>
                    <a:lnTo>
                      <a:pt x="261" y="81"/>
                    </a:lnTo>
                    <a:lnTo>
                      <a:pt x="268" y="65"/>
                    </a:lnTo>
                    <a:lnTo>
                      <a:pt x="268" y="58"/>
                    </a:lnTo>
                    <a:lnTo>
                      <a:pt x="263" y="50"/>
                    </a:lnTo>
                    <a:lnTo>
                      <a:pt x="261" y="42"/>
                    </a:lnTo>
                    <a:lnTo>
                      <a:pt x="261" y="33"/>
                    </a:lnTo>
                    <a:lnTo>
                      <a:pt x="257" y="29"/>
                    </a:lnTo>
                    <a:lnTo>
                      <a:pt x="245" y="27"/>
                    </a:lnTo>
                    <a:lnTo>
                      <a:pt x="222" y="27"/>
                    </a:lnTo>
                    <a:lnTo>
                      <a:pt x="213" y="31"/>
                    </a:lnTo>
                    <a:lnTo>
                      <a:pt x="211" y="31"/>
                    </a:lnTo>
                    <a:lnTo>
                      <a:pt x="205" y="29"/>
                    </a:lnTo>
                    <a:lnTo>
                      <a:pt x="180" y="29"/>
                    </a:lnTo>
                    <a:lnTo>
                      <a:pt x="165" y="25"/>
                    </a:lnTo>
                    <a:lnTo>
                      <a:pt x="151" y="21"/>
                    </a:lnTo>
                    <a:lnTo>
                      <a:pt x="142" y="15"/>
                    </a:lnTo>
                    <a:lnTo>
                      <a:pt x="136" y="12"/>
                    </a:lnTo>
                    <a:lnTo>
                      <a:pt x="136" y="1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6" name="Freeform 84"/>
              <p:cNvSpPr>
                <a:spLocks/>
              </p:cNvSpPr>
              <p:nvPr/>
            </p:nvSpPr>
            <p:spPr bwMode="gray">
              <a:xfrm>
                <a:off x="4519" y="2494"/>
                <a:ext cx="54" cy="94"/>
              </a:xfrm>
              <a:custGeom>
                <a:avLst/>
                <a:gdLst>
                  <a:gd name="T0" fmla="*/ 23 w 108"/>
                  <a:gd name="T1" fmla="*/ 21 h 189"/>
                  <a:gd name="T2" fmla="*/ 16 w 108"/>
                  <a:gd name="T3" fmla="*/ 62 h 189"/>
                  <a:gd name="T4" fmla="*/ 14 w 108"/>
                  <a:gd name="T5" fmla="*/ 69 h 189"/>
                  <a:gd name="T6" fmla="*/ 18 w 108"/>
                  <a:gd name="T7" fmla="*/ 73 h 189"/>
                  <a:gd name="T8" fmla="*/ 20 w 108"/>
                  <a:gd name="T9" fmla="*/ 81 h 189"/>
                  <a:gd name="T10" fmla="*/ 10 w 108"/>
                  <a:gd name="T11" fmla="*/ 83 h 189"/>
                  <a:gd name="T12" fmla="*/ 8 w 108"/>
                  <a:gd name="T13" fmla="*/ 81 h 189"/>
                  <a:gd name="T14" fmla="*/ 4 w 108"/>
                  <a:gd name="T15" fmla="*/ 77 h 189"/>
                  <a:gd name="T16" fmla="*/ 0 w 108"/>
                  <a:gd name="T17" fmla="*/ 89 h 189"/>
                  <a:gd name="T18" fmla="*/ 12 w 108"/>
                  <a:gd name="T19" fmla="*/ 108 h 189"/>
                  <a:gd name="T20" fmla="*/ 20 w 108"/>
                  <a:gd name="T21" fmla="*/ 127 h 189"/>
                  <a:gd name="T22" fmla="*/ 31 w 108"/>
                  <a:gd name="T23" fmla="*/ 119 h 189"/>
                  <a:gd name="T24" fmla="*/ 27 w 108"/>
                  <a:gd name="T25" fmla="*/ 146 h 189"/>
                  <a:gd name="T26" fmla="*/ 50 w 108"/>
                  <a:gd name="T27" fmla="*/ 156 h 189"/>
                  <a:gd name="T28" fmla="*/ 75 w 108"/>
                  <a:gd name="T29" fmla="*/ 169 h 189"/>
                  <a:gd name="T30" fmla="*/ 71 w 108"/>
                  <a:gd name="T31" fmla="*/ 152 h 189"/>
                  <a:gd name="T32" fmla="*/ 83 w 108"/>
                  <a:gd name="T33" fmla="*/ 162 h 189"/>
                  <a:gd name="T34" fmla="*/ 100 w 108"/>
                  <a:gd name="T35" fmla="*/ 185 h 189"/>
                  <a:gd name="T36" fmla="*/ 106 w 108"/>
                  <a:gd name="T37" fmla="*/ 183 h 189"/>
                  <a:gd name="T38" fmla="*/ 108 w 108"/>
                  <a:gd name="T39" fmla="*/ 177 h 189"/>
                  <a:gd name="T40" fmla="*/ 100 w 108"/>
                  <a:gd name="T41" fmla="*/ 154 h 189"/>
                  <a:gd name="T42" fmla="*/ 93 w 108"/>
                  <a:gd name="T43" fmla="*/ 144 h 189"/>
                  <a:gd name="T44" fmla="*/ 83 w 108"/>
                  <a:gd name="T45" fmla="*/ 146 h 189"/>
                  <a:gd name="T46" fmla="*/ 69 w 108"/>
                  <a:gd name="T47" fmla="*/ 137 h 189"/>
                  <a:gd name="T48" fmla="*/ 48 w 108"/>
                  <a:gd name="T49" fmla="*/ 142 h 189"/>
                  <a:gd name="T50" fmla="*/ 45 w 108"/>
                  <a:gd name="T51" fmla="*/ 129 h 189"/>
                  <a:gd name="T52" fmla="*/ 43 w 108"/>
                  <a:gd name="T53" fmla="*/ 123 h 189"/>
                  <a:gd name="T54" fmla="*/ 41 w 108"/>
                  <a:gd name="T55" fmla="*/ 112 h 189"/>
                  <a:gd name="T56" fmla="*/ 41 w 108"/>
                  <a:gd name="T57" fmla="*/ 98 h 189"/>
                  <a:gd name="T58" fmla="*/ 45 w 108"/>
                  <a:gd name="T59" fmla="*/ 92 h 189"/>
                  <a:gd name="T60" fmla="*/ 60 w 108"/>
                  <a:gd name="T61" fmla="*/ 66 h 189"/>
                  <a:gd name="T62" fmla="*/ 69 w 108"/>
                  <a:gd name="T63" fmla="*/ 48 h 189"/>
                  <a:gd name="T64" fmla="*/ 60 w 108"/>
                  <a:gd name="T65" fmla="*/ 35 h 189"/>
                  <a:gd name="T66" fmla="*/ 60 w 108"/>
                  <a:gd name="T67" fmla="*/ 10 h 189"/>
                  <a:gd name="T68" fmla="*/ 60 w 108"/>
                  <a:gd name="T69" fmla="*/ 2 h 189"/>
                  <a:gd name="T70" fmla="*/ 56 w 108"/>
                  <a:gd name="T71" fmla="*/ 8 h 189"/>
                  <a:gd name="T72" fmla="*/ 37 w 108"/>
                  <a:gd name="T73" fmla="*/ 4 h 18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08"/>
                  <a:gd name="T112" fmla="*/ 0 h 189"/>
                  <a:gd name="T113" fmla="*/ 108 w 108"/>
                  <a:gd name="T114" fmla="*/ 189 h 189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08" h="189">
                    <a:moveTo>
                      <a:pt x="25" y="0"/>
                    </a:moveTo>
                    <a:lnTo>
                      <a:pt x="23" y="21"/>
                    </a:lnTo>
                    <a:lnTo>
                      <a:pt x="23" y="58"/>
                    </a:lnTo>
                    <a:lnTo>
                      <a:pt x="16" y="62"/>
                    </a:lnTo>
                    <a:lnTo>
                      <a:pt x="14" y="66"/>
                    </a:lnTo>
                    <a:lnTo>
                      <a:pt x="14" y="69"/>
                    </a:lnTo>
                    <a:lnTo>
                      <a:pt x="16" y="73"/>
                    </a:lnTo>
                    <a:lnTo>
                      <a:pt x="18" y="73"/>
                    </a:lnTo>
                    <a:lnTo>
                      <a:pt x="20" y="77"/>
                    </a:lnTo>
                    <a:lnTo>
                      <a:pt x="20" y="81"/>
                    </a:lnTo>
                    <a:lnTo>
                      <a:pt x="16" y="81"/>
                    </a:lnTo>
                    <a:lnTo>
                      <a:pt x="10" y="83"/>
                    </a:lnTo>
                    <a:lnTo>
                      <a:pt x="12" y="81"/>
                    </a:lnTo>
                    <a:lnTo>
                      <a:pt x="8" y="81"/>
                    </a:lnTo>
                    <a:lnTo>
                      <a:pt x="2" y="79"/>
                    </a:lnTo>
                    <a:lnTo>
                      <a:pt x="4" y="77"/>
                    </a:lnTo>
                    <a:lnTo>
                      <a:pt x="0" y="81"/>
                    </a:lnTo>
                    <a:lnTo>
                      <a:pt x="0" y="89"/>
                    </a:lnTo>
                    <a:lnTo>
                      <a:pt x="6" y="92"/>
                    </a:lnTo>
                    <a:lnTo>
                      <a:pt x="12" y="108"/>
                    </a:lnTo>
                    <a:lnTo>
                      <a:pt x="14" y="116"/>
                    </a:lnTo>
                    <a:lnTo>
                      <a:pt x="20" y="127"/>
                    </a:lnTo>
                    <a:lnTo>
                      <a:pt x="23" y="119"/>
                    </a:lnTo>
                    <a:lnTo>
                      <a:pt x="31" y="119"/>
                    </a:lnTo>
                    <a:lnTo>
                      <a:pt x="25" y="137"/>
                    </a:lnTo>
                    <a:lnTo>
                      <a:pt x="27" y="146"/>
                    </a:lnTo>
                    <a:lnTo>
                      <a:pt x="33" y="162"/>
                    </a:lnTo>
                    <a:lnTo>
                      <a:pt x="50" y="156"/>
                    </a:lnTo>
                    <a:lnTo>
                      <a:pt x="60" y="158"/>
                    </a:lnTo>
                    <a:lnTo>
                      <a:pt x="75" y="169"/>
                    </a:lnTo>
                    <a:lnTo>
                      <a:pt x="71" y="160"/>
                    </a:lnTo>
                    <a:lnTo>
                      <a:pt x="71" y="152"/>
                    </a:lnTo>
                    <a:lnTo>
                      <a:pt x="75" y="154"/>
                    </a:lnTo>
                    <a:lnTo>
                      <a:pt x="83" y="162"/>
                    </a:lnTo>
                    <a:lnTo>
                      <a:pt x="98" y="185"/>
                    </a:lnTo>
                    <a:lnTo>
                      <a:pt x="100" y="185"/>
                    </a:lnTo>
                    <a:lnTo>
                      <a:pt x="104" y="189"/>
                    </a:lnTo>
                    <a:lnTo>
                      <a:pt x="106" y="183"/>
                    </a:lnTo>
                    <a:lnTo>
                      <a:pt x="106" y="179"/>
                    </a:lnTo>
                    <a:lnTo>
                      <a:pt x="108" y="177"/>
                    </a:lnTo>
                    <a:lnTo>
                      <a:pt x="102" y="164"/>
                    </a:lnTo>
                    <a:lnTo>
                      <a:pt x="100" y="154"/>
                    </a:lnTo>
                    <a:lnTo>
                      <a:pt x="98" y="142"/>
                    </a:lnTo>
                    <a:lnTo>
                      <a:pt x="93" y="144"/>
                    </a:lnTo>
                    <a:lnTo>
                      <a:pt x="85" y="144"/>
                    </a:lnTo>
                    <a:lnTo>
                      <a:pt x="83" y="146"/>
                    </a:lnTo>
                    <a:lnTo>
                      <a:pt x="83" y="135"/>
                    </a:lnTo>
                    <a:lnTo>
                      <a:pt x="69" y="137"/>
                    </a:lnTo>
                    <a:lnTo>
                      <a:pt x="60" y="139"/>
                    </a:lnTo>
                    <a:lnTo>
                      <a:pt x="48" y="142"/>
                    </a:lnTo>
                    <a:lnTo>
                      <a:pt x="46" y="137"/>
                    </a:lnTo>
                    <a:lnTo>
                      <a:pt x="45" y="129"/>
                    </a:lnTo>
                    <a:lnTo>
                      <a:pt x="45" y="123"/>
                    </a:lnTo>
                    <a:lnTo>
                      <a:pt x="43" y="123"/>
                    </a:lnTo>
                    <a:lnTo>
                      <a:pt x="41" y="116"/>
                    </a:lnTo>
                    <a:lnTo>
                      <a:pt x="41" y="112"/>
                    </a:lnTo>
                    <a:lnTo>
                      <a:pt x="45" y="106"/>
                    </a:lnTo>
                    <a:lnTo>
                      <a:pt x="41" y="98"/>
                    </a:lnTo>
                    <a:lnTo>
                      <a:pt x="41" y="92"/>
                    </a:lnTo>
                    <a:lnTo>
                      <a:pt x="45" y="92"/>
                    </a:lnTo>
                    <a:lnTo>
                      <a:pt x="50" y="79"/>
                    </a:lnTo>
                    <a:lnTo>
                      <a:pt x="60" y="66"/>
                    </a:lnTo>
                    <a:lnTo>
                      <a:pt x="71" y="54"/>
                    </a:lnTo>
                    <a:lnTo>
                      <a:pt x="69" y="48"/>
                    </a:lnTo>
                    <a:lnTo>
                      <a:pt x="64" y="39"/>
                    </a:lnTo>
                    <a:lnTo>
                      <a:pt x="60" y="35"/>
                    </a:lnTo>
                    <a:lnTo>
                      <a:pt x="58" y="21"/>
                    </a:lnTo>
                    <a:lnTo>
                      <a:pt x="60" y="10"/>
                    </a:lnTo>
                    <a:lnTo>
                      <a:pt x="64" y="0"/>
                    </a:lnTo>
                    <a:lnTo>
                      <a:pt x="60" y="2"/>
                    </a:lnTo>
                    <a:lnTo>
                      <a:pt x="58" y="6"/>
                    </a:lnTo>
                    <a:lnTo>
                      <a:pt x="56" y="8"/>
                    </a:lnTo>
                    <a:lnTo>
                      <a:pt x="45" y="8"/>
                    </a:lnTo>
                    <a:lnTo>
                      <a:pt x="37" y="4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7" name="Freeform 85"/>
              <p:cNvSpPr>
                <a:spLocks/>
              </p:cNvSpPr>
              <p:nvPr/>
            </p:nvSpPr>
            <p:spPr bwMode="gray">
              <a:xfrm>
                <a:off x="4487" y="2609"/>
                <a:ext cx="31" cy="45"/>
              </a:xfrm>
              <a:custGeom>
                <a:avLst/>
                <a:gdLst>
                  <a:gd name="T0" fmla="*/ 56 w 63"/>
                  <a:gd name="T1" fmla="*/ 0 h 88"/>
                  <a:gd name="T2" fmla="*/ 56 w 63"/>
                  <a:gd name="T3" fmla="*/ 15 h 88"/>
                  <a:gd name="T4" fmla="*/ 50 w 63"/>
                  <a:gd name="T5" fmla="*/ 15 h 88"/>
                  <a:gd name="T6" fmla="*/ 35 w 63"/>
                  <a:gd name="T7" fmla="*/ 50 h 88"/>
                  <a:gd name="T8" fmla="*/ 27 w 63"/>
                  <a:gd name="T9" fmla="*/ 65 h 88"/>
                  <a:gd name="T10" fmla="*/ 19 w 63"/>
                  <a:gd name="T11" fmla="*/ 69 h 88"/>
                  <a:gd name="T12" fmla="*/ 10 w 63"/>
                  <a:gd name="T13" fmla="*/ 71 h 88"/>
                  <a:gd name="T14" fmla="*/ 2 w 63"/>
                  <a:gd name="T15" fmla="*/ 77 h 88"/>
                  <a:gd name="T16" fmla="*/ 0 w 63"/>
                  <a:gd name="T17" fmla="*/ 82 h 88"/>
                  <a:gd name="T18" fmla="*/ 0 w 63"/>
                  <a:gd name="T19" fmla="*/ 88 h 88"/>
                  <a:gd name="T20" fmla="*/ 2 w 63"/>
                  <a:gd name="T21" fmla="*/ 88 h 88"/>
                  <a:gd name="T22" fmla="*/ 14 w 63"/>
                  <a:gd name="T23" fmla="*/ 82 h 88"/>
                  <a:gd name="T24" fmla="*/ 25 w 63"/>
                  <a:gd name="T25" fmla="*/ 79 h 88"/>
                  <a:gd name="T26" fmla="*/ 35 w 63"/>
                  <a:gd name="T27" fmla="*/ 73 h 88"/>
                  <a:gd name="T28" fmla="*/ 37 w 63"/>
                  <a:gd name="T29" fmla="*/ 65 h 88"/>
                  <a:gd name="T30" fmla="*/ 39 w 63"/>
                  <a:gd name="T31" fmla="*/ 56 h 88"/>
                  <a:gd name="T32" fmla="*/ 42 w 63"/>
                  <a:gd name="T33" fmla="*/ 50 h 88"/>
                  <a:gd name="T34" fmla="*/ 58 w 63"/>
                  <a:gd name="T35" fmla="*/ 34 h 88"/>
                  <a:gd name="T36" fmla="*/ 63 w 63"/>
                  <a:gd name="T37" fmla="*/ 27 h 88"/>
                  <a:gd name="T38" fmla="*/ 63 w 63"/>
                  <a:gd name="T39" fmla="*/ 19 h 88"/>
                  <a:gd name="T40" fmla="*/ 60 w 63"/>
                  <a:gd name="T41" fmla="*/ 7 h 88"/>
                  <a:gd name="T42" fmla="*/ 56 w 63"/>
                  <a:gd name="T43" fmla="*/ 0 h 88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63"/>
                  <a:gd name="T67" fmla="*/ 0 h 88"/>
                  <a:gd name="T68" fmla="*/ 63 w 63"/>
                  <a:gd name="T69" fmla="*/ 88 h 88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63" h="88">
                    <a:moveTo>
                      <a:pt x="56" y="0"/>
                    </a:moveTo>
                    <a:lnTo>
                      <a:pt x="56" y="15"/>
                    </a:lnTo>
                    <a:lnTo>
                      <a:pt x="50" y="15"/>
                    </a:lnTo>
                    <a:lnTo>
                      <a:pt x="35" y="50"/>
                    </a:lnTo>
                    <a:lnTo>
                      <a:pt x="27" y="65"/>
                    </a:lnTo>
                    <a:lnTo>
                      <a:pt x="19" y="69"/>
                    </a:lnTo>
                    <a:lnTo>
                      <a:pt x="10" y="71"/>
                    </a:lnTo>
                    <a:lnTo>
                      <a:pt x="2" y="77"/>
                    </a:lnTo>
                    <a:lnTo>
                      <a:pt x="0" y="82"/>
                    </a:lnTo>
                    <a:lnTo>
                      <a:pt x="0" y="88"/>
                    </a:lnTo>
                    <a:lnTo>
                      <a:pt x="2" y="88"/>
                    </a:lnTo>
                    <a:lnTo>
                      <a:pt x="14" y="82"/>
                    </a:lnTo>
                    <a:lnTo>
                      <a:pt x="25" y="79"/>
                    </a:lnTo>
                    <a:lnTo>
                      <a:pt x="35" y="73"/>
                    </a:lnTo>
                    <a:lnTo>
                      <a:pt x="37" y="65"/>
                    </a:lnTo>
                    <a:lnTo>
                      <a:pt x="39" y="56"/>
                    </a:lnTo>
                    <a:lnTo>
                      <a:pt x="42" y="50"/>
                    </a:lnTo>
                    <a:lnTo>
                      <a:pt x="58" y="34"/>
                    </a:lnTo>
                    <a:lnTo>
                      <a:pt x="63" y="27"/>
                    </a:lnTo>
                    <a:lnTo>
                      <a:pt x="63" y="19"/>
                    </a:lnTo>
                    <a:lnTo>
                      <a:pt x="60" y="7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8" name="Freeform 86"/>
              <p:cNvSpPr>
                <a:spLocks/>
              </p:cNvSpPr>
              <p:nvPr/>
            </p:nvSpPr>
            <p:spPr bwMode="gray">
              <a:xfrm>
                <a:off x="4549" y="2617"/>
                <a:ext cx="25" cy="25"/>
              </a:xfrm>
              <a:custGeom>
                <a:avLst/>
                <a:gdLst>
                  <a:gd name="T0" fmla="*/ 19 w 50"/>
                  <a:gd name="T1" fmla="*/ 0 h 50"/>
                  <a:gd name="T2" fmla="*/ 17 w 50"/>
                  <a:gd name="T3" fmla="*/ 8 h 50"/>
                  <a:gd name="T4" fmla="*/ 15 w 50"/>
                  <a:gd name="T5" fmla="*/ 17 h 50"/>
                  <a:gd name="T6" fmla="*/ 15 w 50"/>
                  <a:gd name="T7" fmla="*/ 23 h 50"/>
                  <a:gd name="T8" fmla="*/ 9 w 50"/>
                  <a:gd name="T9" fmla="*/ 23 h 50"/>
                  <a:gd name="T10" fmla="*/ 4 w 50"/>
                  <a:gd name="T11" fmla="*/ 21 h 50"/>
                  <a:gd name="T12" fmla="*/ 0 w 50"/>
                  <a:gd name="T13" fmla="*/ 23 h 50"/>
                  <a:gd name="T14" fmla="*/ 0 w 50"/>
                  <a:gd name="T15" fmla="*/ 27 h 50"/>
                  <a:gd name="T16" fmla="*/ 4 w 50"/>
                  <a:gd name="T17" fmla="*/ 39 h 50"/>
                  <a:gd name="T18" fmla="*/ 6 w 50"/>
                  <a:gd name="T19" fmla="*/ 39 h 50"/>
                  <a:gd name="T20" fmla="*/ 11 w 50"/>
                  <a:gd name="T21" fmla="*/ 41 h 50"/>
                  <a:gd name="T22" fmla="*/ 15 w 50"/>
                  <a:gd name="T23" fmla="*/ 42 h 50"/>
                  <a:gd name="T24" fmla="*/ 15 w 50"/>
                  <a:gd name="T25" fmla="*/ 44 h 50"/>
                  <a:gd name="T26" fmla="*/ 21 w 50"/>
                  <a:gd name="T27" fmla="*/ 48 h 50"/>
                  <a:gd name="T28" fmla="*/ 27 w 50"/>
                  <a:gd name="T29" fmla="*/ 50 h 50"/>
                  <a:gd name="T30" fmla="*/ 25 w 50"/>
                  <a:gd name="T31" fmla="*/ 44 h 50"/>
                  <a:gd name="T32" fmla="*/ 21 w 50"/>
                  <a:gd name="T33" fmla="*/ 39 h 50"/>
                  <a:gd name="T34" fmla="*/ 23 w 50"/>
                  <a:gd name="T35" fmla="*/ 35 h 50"/>
                  <a:gd name="T36" fmla="*/ 25 w 50"/>
                  <a:gd name="T37" fmla="*/ 35 h 50"/>
                  <a:gd name="T38" fmla="*/ 27 w 50"/>
                  <a:gd name="T39" fmla="*/ 37 h 50"/>
                  <a:gd name="T40" fmla="*/ 31 w 50"/>
                  <a:gd name="T41" fmla="*/ 39 h 50"/>
                  <a:gd name="T42" fmla="*/ 36 w 50"/>
                  <a:gd name="T43" fmla="*/ 31 h 50"/>
                  <a:gd name="T44" fmla="*/ 44 w 50"/>
                  <a:gd name="T45" fmla="*/ 21 h 50"/>
                  <a:gd name="T46" fmla="*/ 48 w 50"/>
                  <a:gd name="T47" fmla="*/ 16 h 50"/>
                  <a:gd name="T48" fmla="*/ 50 w 50"/>
                  <a:gd name="T49" fmla="*/ 12 h 50"/>
                  <a:gd name="T50" fmla="*/ 48 w 50"/>
                  <a:gd name="T51" fmla="*/ 8 h 50"/>
                  <a:gd name="T52" fmla="*/ 48 w 50"/>
                  <a:gd name="T53" fmla="*/ 4 h 50"/>
                  <a:gd name="T54" fmla="*/ 46 w 50"/>
                  <a:gd name="T55" fmla="*/ 4 h 50"/>
                  <a:gd name="T56" fmla="*/ 44 w 50"/>
                  <a:gd name="T57" fmla="*/ 2 h 50"/>
                  <a:gd name="T58" fmla="*/ 40 w 50"/>
                  <a:gd name="T59" fmla="*/ 0 h 50"/>
                  <a:gd name="T60" fmla="*/ 36 w 50"/>
                  <a:gd name="T61" fmla="*/ 10 h 50"/>
                  <a:gd name="T62" fmla="*/ 33 w 50"/>
                  <a:gd name="T63" fmla="*/ 17 h 50"/>
                  <a:gd name="T64" fmla="*/ 34 w 50"/>
                  <a:gd name="T65" fmla="*/ 12 h 50"/>
                  <a:gd name="T66" fmla="*/ 34 w 50"/>
                  <a:gd name="T67" fmla="*/ 8 h 50"/>
                  <a:gd name="T68" fmla="*/ 33 w 50"/>
                  <a:gd name="T69" fmla="*/ 2 h 50"/>
                  <a:gd name="T70" fmla="*/ 34 w 50"/>
                  <a:gd name="T71" fmla="*/ 0 h 50"/>
                  <a:gd name="T72" fmla="*/ 19 w 50"/>
                  <a:gd name="T73" fmla="*/ 0 h 5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0"/>
                  <a:gd name="T112" fmla="*/ 0 h 50"/>
                  <a:gd name="T113" fmla="*/ 50 w 50"/>
                  <a:gd name="T114" fmla="*/ 50 h 5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0" h="50">
                    <a:moveTo>
                      <a:pt x="19" y="0"/>
                    </a:moveTo>
                    <a:lnTo>
                      <a:pt x="17" y="8"/>
                    </a:lnTo>
                    <a:lnTo>
                      <a:pt x="15" y="17"/>
                    </a:lnTo>
                    <a:lnTo>
                      <a:pt x="15" y="23"/>
                    </a:lnTo>
                    <a:lnTo>
                      <a:pt x="9" y="23"/>
                    </a:lnTo>
                    <a:lnTo>
                      <a:pt x="4" y="21"/>
                    </a:lnTo>
                    <a:lnTo>
                      <a:pt x="0" y="23"/>
                    </a:lnTo>
                    <a:lnTo>
                      <a:pt x="0" y="27"/>
                    </a:lnTo>
                    <a:lnTo>
                      <a:pt x="4" y="39"/>
                    </a:lnTo>
                    <a:lnTo>
                      <a:pt x="6" y="39"/>
                    </a:lnTo>
                    <a:lnTo>
                      <a:pt x="11" y="41"/>
                    </a:lnTo>
                    <a:lnTo>
                      <a:pt x="15" y="42"/>
                    </a:lnTo>
                    <a:lnTo>
                      <a:pt x="15" y="44"/>
                    </a:lnTo>
                    <a:lnTo>
                      <a:pt x="21" y="48"/>
                    </a:lnTo>
                    <a:lnTo>
                      <a:pt x="27" y="50"/>
                    </a:lnTo>
                    <a:lnTo>
                      <a:pt x="25" y="44"/>
                    </a:lnTo>
                    <a:lnTo>
                      <a:pt x="21" y="39"/>
                    </a:lnTo>
                    <a:lnTo>
                      <a:pt x="23" y="35"/>
                    </a:lnTo>
                    <a:lnTo>
                      <a:pt x="25" y="35"/>
                    </a:lnTo>
                    <a:lnTo>
                      <a:pt x="27" y="37"/>
                    </a:lnTo>
                    <a:lnTo>
                      <a:pt x="31" y="39"/>
                    </a:lnTo>
                    <a:lnTo>
                      <a:pt x="36" y="31"/>
                    </a:lnTo>
                    <a:lnTo>
                      <a:pt x="44" y="21"/>
                    </a:lnTo>
                    <a:lnTo>
                      <a:pt x="48" y="16"/>
                    </a:lnTo>
                    <a:lnTo>
                      <a:pt x="50" y="12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6" y="4"/>
                    </a:lnTo>
                    <a:lnTo>
                      <a:pt x="44" y="2"/>
                    </a:lnTo>
                    <a:lnTo>
                      <a:pt x="40" y="0"/>
                    </a:lnTo>
                    <a:lnTo>
                      <a:pt x="36" y="10"/>
                    </a:lnTo>
                    <a:lnTo>
                      <a:pt x="33" y="17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3" y="2"/>
                    </a:lnTo>
                    <a:lnTo>
                      <a:pt x="34" y="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399" name="Freeform 87"/>
              <p:cNvSpPr>
                <a:spLocks/>
              </p:cNvSpPr>
              <p:nvPr/>
            </p:nvSpPr>
            <p:spPr bwMode="gray">
              <a:xfrm>
                <a:off x="4560" y="2627"/>
                <a:ext cx="4" cy="5"/>
              </a:xfrm>
              <a:custGeom>
                <a:avLst/>
                <a:gdLst>
                  <a:gd name="T0" fmla="*/ 8 w 8"/>
                  <a:gd name="T1" fmla="*/ 0 h 12"/>
                  <a:gd name="T2" fmla="*/ 6 w 8"/>
                  <a:gd name="T3" fmla="*/ 2 h 12"/>
                  <a:gd name="T4" fmla="*/ 4 w 8"/>
                  <a:gd name="T5" fmla="*/ 8 h 12"/>
                  <a:gd name="T6" fmla="*/ 4 w 8"/>
                  <a:gd name="T7" fmla="*/ 12 h 12"/>
                  <a:gd name="T8" fmla="*/ 0 w 8"/>
                  <a:gd name="T9" fmla="*/ 10 h 12"/>
                  <a:gd name="T10" fmla="*/ 2 w 8"/>
                  <a:gd name="T11" fmla="*/ 4 h 12"/>
                  <a:gd name="T12" fmla="*/ 8 w 8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12"/>
                  <a:gd name="T23" fmla="*/ 8 w 8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12">
                    <a:moveTo>
                      <a:pt x="8" y="0"/>
                    </a:moveTo>
                    <a:lnTo>
                      <a:pt x="6" y="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0" name="Freeform 88"/>
              <p:cNvSpPr>
                <a:spLocks/>
              </p:cNvSpPr>
              <p:nvPr/>
            </p:nvSpPr>
            <p:spPr bwMode="gray">
              <a:xfrm>
                <a:off x="4543" y="2640"/>
                <a:ext cx="60" cy="59"/>
              </a:xfrm>
              <a:custGeom>
                <a:avLst/>
                <a:gdLst>
                  <a:gd name="T0" fmla="*/ 91 w 119"/>
                  <a:gd name="T1" fmla="*/ 4 h 118"/>
                  <a:gd name="T2" fmla="*/ 92 w 119"/>
                  <a:gd name="T3" fmla="*/ 20 h 118"/>
                  <a:gd name="T4" fmla="*/ 81 w 119"/>
                  <a:gd name="T5" fmla="*/ 18 h 118"/>
                  <a:gd name="T6" fmla="*/ 75 w 119"/>
                  <a:gd name="T7" fmla="*/ 31 h 118"/>
                  <a:gd name="T8" fmla="*/ 50 w 119"/>
                  <a:gd name="T9" fmla="*/ 35 h 118"/>
                  <a:gd name="T10" fmla="*/ 50 w 119"/>
                  <a:gd name="T11" fmla="*/ 39 h 118"/>
                  <a:gd name="T12" fmla="*/ 45 w 119"/>
                  <a:gd name="T13" fmla="*/ 35 h 118"/>
                  <a:gd name="T14" fmla="*/ 31 w 119"/>
                  <a:gd name="T15" fmla="*/ 27 h 118"/>
                  <a:gd name="T16" fmla="*/ 16 w 119"/>
                  <a:gd name="T17" fmla="*/ 39 h 118"/>
                  <a:gd name="T18" fmla="*/ 6 w 119"/>
                  <a:gd name="T19" fmla="*/ 48 h 118"/>
                  <a:gd name="T20" fmla="*/ 8 w 119"/>
                  <a:gd name="T21" fmla="*/ 62 h 118"/>
                  <a:gd name="T22" fmla="*/ 2 w 119"/>
                  <a:gd name="T23" fmla="*/ 71 h 118"/>
                  <a:gd name="T24" fmla="*/ 10 w 119"/>
                  <a:gd name="T25" fmla="*/ 69 h 118"/>
                  <a:gd name="T26" fmla="*/ 20 w 119"/>
                  <a:gd name="T27" fmla="*/ 58 h 118"/>
                  <a:gd name="T28" fmla="*/ 23 w 119"/>
                  <a:gd name="T29" fmla="*/ 56 h 118"/>
                  <a:gd name="T30" fmla="*/ 37 w 119"/>
                  <a:gd name="T31" fmla="*/ 60 h 118"/>
                  <a:gd name="T32" fmla="*/ 56 w 119"/>
                  <a:gd name="T33" fmla="*/ 62 h 118"/>
                  <a:gd name="T34" fmla="*/ 54 w 119"/>
                  <a:gd name="T35" fmla="*/ 69 h 118"/>
                  <a:gd name="T36" fmla="*/ 52 w 119"/>
                  <a:gd name="T37" fmla="*/ 85 h 118"/>
                  <a:gd name="T38" fmla="*/ 60 w 119"/>
                  <a:gd name="T39" fmla="*/ 100 h 118"/>
                  <a:gd name="T40" fmla="*/ 73 w 119"/>
                  <a:gd name="T41" fmla="*/ 104 h 118"/>
                  <a:gd name="T42" fmla="*/ 83 w 119"/>
                  <a:gd name="T43" fmla="*/ 110 h 118"/>
                  <a:gd name="T44" fmla="*/ 85 w 119"/>
                  <a:gd name="T45" fmla="*/ 118 h 118"/>
                  <a:gd name="T46" fmla="*/ 94 w 119"/>
                  <a:gd name="T47" fmla="*/ 112 h 118"/>
                  <a:gd name="T48" fmla="*/ 92 w 119"/>
                  <a:gd name="T49" fmla="*/ 85 h 118"/>
                  <a:gd name="T50" fmla="*/ 98 w 119"/>
                  <a:gd name="T51" fmla="*/ 89 h 118"/>
                  <a:gd name="T52" fmla="*/ 98 w 119"/>
                  <a:gd name="T53" fmla="*/ 79 h 118"/>
                  <a:gd name="T54" fmla="*/ 102 w 119"/>
                  <a:gd name="T55" fmla="*/ 69 h 118"/>
                  <a:gd name="T56" fmla="*/ 108 w 119"/>
                  <a:gd name="T57" fmla="*/ 58 h 118"/>
                  <a:gd name="T58" fmla="*/ 119 w 119"/>
                  <a:gd name="T59" fmla="*/ 41 h 118"/>
                  <a:gd name="T60" fmla="*/ 110 w 119"/>
                  <a:gd name="T61" fmla="*/ 25 h 118"/>
                  <a:gd name="T62" fmla="*/ 106 w 119"/>
                  <a:gd name="T63" fmla="*/ 0 h 11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19"/>
                  <a:gd name="T97" fmla="*/ 0 h 118"/>
                  <a:gd name="T98" fmla="*/ 119 w 119"/>
                  <a:gd name="T99" fmla="*/ 118 h 118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19" h="118">
                    <a:moveTo>
                      <a:pt x="92" y="0"/>
                    </a:moveTo>
                    <a:lnTo>
                      <a:pt x="91" y="4"/>
                    </a:lnTo>
                    <a:lnTo>
                      <a:pt x="91" y="14"/>
                    </a:lnTo>
                    <a:lnTo>
                      <a:pt x="92" y="20"/>
                    </a:lnTo>
                    <a:lnTo>
                      <a:pt x="87" y="20"/>
                    </a:lnTo>
                    <a:lnTo>
                      <a:pt x="81" y="18"/>
                    </a:lnTo>
                    <a:lnTo>
                      <a:pt x="75" y="20"/>
                    </a:lnTo>
                    <a:lnTo>
                      <a:pt x="75" y="31"/>
                    </a:lnTo>
                    <a:lnTo>
                      <a:pt x="60" y="31"/>
                    </a:lnTo>
                    <a:lnTo>
                      <a:pt x="50" y="35"/>
                    </a:lnTo>
                    <a:lnTo>
                      <a:pt x="48" y="37"/>
                    </a:lnTo>
                    <a:lnTo>
                      <a:pt x="50" y="39"/>
                    </a:lnTo>
                    <a:lnTo>
                      <a:pt x="46" y="39"/>
                    </a:lnTo>
                    <a:lnTo>
                      <a:pt x="45" y="35"/>
                    </a:lnTo>
                    <a:lnTo>
                      <a:pt x="43" y="27"/>
                    </a:lnTo>
                    <a:lnTo>
                      <a:pt x="31" y="27"/>
                    </a:lnTo>
                    <a:lnTo>
                      <a:pt x="25" y="33"/>
                    </a:lnTo>
                    <a:lnTo>
                      <a:pt x="16" y="39"/>
                    </a:lnTo>
                    <a:lnTo>
                      <a:pt x="8" y="43"/>
                    </a:lnTo>
                    <a:lnTo>
                      <a:pt x="6" y="48"/>
                    </a:lnTo>
                    <a:lnTo>
                      <a:pt x="6" y="56"/>
                    </a:lnTo>
                    <a:lnTo>
                      <a:pt x="8" y="62"/>
                    </a:lnTo>
                    <a:lnTo>
                      <a:pt x="0" y="64"/>
                    </a:lnTo>
                    <a:lnTo>
                      <a:pt x="2" y="71"/>
                    </a:lnTo>
                    <a:lnTo>
                      <a:pt x="8" y="73"/>
                    </a:lnTo>
                    <a:lnTo>
                      <a:pt x="10" y="69"/>
                    </a:lnTo>
                    <a:lnTo>
                      <a:pt x="16" y="62"/>
                    </a:lnTo>
                    <a:lnTo>
                      <a:pt x="20" y="58"/>
                    </a:lnTo>
                    <a:lnTo>
                      <a:pt x="18" y="54"/>
                    </a:lnTo>
                    <a:lnTo>
                      <a:pt x="23" y="56"/>
                    </a:lnTo>
                    <a:lnTo>
                      <a:pt x="23" y="62"/>
                    </a:lnTo>
                    <a:lnTo>
                      <a:pt x="37" y="60"/>
                    </a:lnTo>
                    <a:lnTo>
                      <a:pt x="46" y="62"/>
                    </a:lnTo>
                    <a:lnTo>
                      <a:pt x="56" y="62"/>
                    </a:lnTo>
                    <a:lnTo>
                      <a:pt x="56" y="69"/>
                    </a:lnTo>
                    <a:lnTo>
                      <a:pt x="54" y="69"/>
                    </a:lnTo>
                    <a:lnTo>
                      <a:pt x="50" y="73"/>
                    </a:lnTo>
                    <a:lnTo>
                      <a:pt x="52" y="85"/>
                    </a:lnTo>
                    <a:lnTo>
                      <a:pt x="54" y="93"/>
                    </a:lnTo>
                    <a:lnTo>
                      <a:pt x="60" y="100"/>
                    </a:lnTo>
                    <a:lnTo>
                      <a:pt x="68" y="104"/>
                    </a:lnTo>
                    <a:lnTo>
                      <a:pt x="73" y="104"/>
                    </a:lnTo>
                    <a:lnTo>
                      <a:pt x="85" y="106"/>
                    </a:lnTo>
                    <a:lnTo>
                      <a:pt x="83" y="110"/>
                    </a:lnTo>
                    <a:lnTo>
                      <a:pt x="83" y="116"/>
                    </a:lnTo>
                    <a:lnTo>
                      <a:pt x="85" y="118"/>
                    </a:lnTo>
                    <a:lnTo>
                      <a:pt x="91" y="112"/>
                    </a:lnTo>
                    <a:lnTo>
                      <a:pt x="94" y="112"/>
                    </a:lnTo>
                    <a:lnTo>
                      <a:pt x="92" y="102"/>
                    </a:lnTo>
                    <a:lnTo>
                      <a:pt x="92" y="85"/>
                    </a:lnTo>
                    <a:lnTo>
                      <a:pt x="94" y="85"/>
                    </a:lnTo>
                    <a:lnTo>
                      <a:pt x="98" y="89"/>
                    </a:lnTo>
                    <a:lnTo>
                      <a:pt x="102" y="87"/>
                    </a:lnTo>
                    <a:lnTo>
                      <a:pt x="98" y="79"/>
                    </a:lnTo>
                    <a:lnTo>
                      <a:pt x="94" y="69"/>
                    </a:lnTo>
                    <a:lnTo>
                      <a:pt x="102" y="69"/>
                    </a:lnTo>
                    <a:lnTo>
                      <a:pt x="106" y="64"/>
                    </a:lnTo>
                    <a:lnTo>
                      <a:pt x="108" y="58"/>
                    </a:lnTo>
                    <a:lnTo>
                      <a:pt x="116" y="50"/>
                    </a:lnTo>
                    <a:lnTo>
                      <a:pt x="119" y="41"/>
                    </a:lnTo>
                    <a:lnTo>
                      <a:pt x="119" y="35"/>
                    </a:lnTo>
                    <a:lnTo>
                      <a:pt x="110" y="25"/>
                    </a:lnTo>
                    <a:lnTo>
                      <a:pt x="108" y="12"/>
                    </a:lnTo>
                    <a:lnTo>
                      <a:pt x="106" y="0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1" name="Freeform 89"/>
              <p:cNvSpPr>
                <a:spLocks/>
              </p:cNvSpPr>
              <p:nvPr/>
            </p:nvSpPr>
            <p:spPr bwMode="gray">
              <a:xfrm>
                <a:off x="2251" y="3080"/>
                <a:ext cx="98" cy="133"/>
              </a:xfrm>
              <a:custGeom>
                <a:avLst/>
                <a:gdLst>
                  <a:gd name="T0" fmla="*/ 90 w 198"/>
                  <a:gd name="T1" fmla="*/ 6 h 266"/>
                  <a:gd name="T2" fmla="*/ 38 w 198"/>
                  <a:gd name="T3" fmla="*/ 2 h 266"/>
                  <a:gd name="T4" fmla="*/ 27 w 198"/>
                  <a:gd name="T5" fmla="*/ 18 h 266"/>
                  <a:gd name="T6" fmla="*/ 21 w 198"/>
                  <a:gd name="T7" fmla="*/ 33 h 266"/>
                  <a:gd name="T8" fmla="*/ 14 w 198"/>
                  <a:gd name="T9" fmla="*/ 43 h 266"/>
                  <a:gd name="T10" fmla="*/ 0 w 198"/>
                  <a:gd name="T11" fmla="*/ 89 h 266"/>
                  <a:gd name="T12" fmla="*/ 15 w 198"/>
                  <a:gd name="T13" fmla="*/ 98 h 266"/>
                  <a:gd name="T14" fmla="*/ 21 w 198"/>
                  <a:gd name="T15" fmla="*/ 108 h 266"/>
                  <a:gd name="T16" fmla="*/ 25 w 198"/>
                  <a:gd name="T17" fmla="*/ 118 h 266"/>
                  <a:gd name="T18" fmla="*/ 35 w 198"/>
                  <a:gd name="T19" fmla="*/ 123 h 266"/>
                  <a:gd name="T20" fmla="*/ 44 w 198"/>
                  <a:gd name="T21" fmla="*/ 139 h 266"/>
                  <a:gd name="T22" fmla="*/ 52 w 198"/>
                  <a:gd name="T23" fmla="*/ 150 h 266"/>
                  <a:gd name="T24" fmla="*/ 61 w 198"/>
                  <a:gd name="T25" fmla="*/ 154 h 266"/>
                  <a:gd name="T26" fmla="*/ 73 w 198"/>
                  <a:gd name="T27" fmla="*/ 168 h 266"/>
                  <a:gd name="T28" fmla="*/ 85 w 198"/>
                  <a:gd name="T29" fmla="*/ 170 h 266"/>
                  <a:gd name="T30" fmla="*/ 94 w 198"/>
                  <a:gd name="T31" fmla="*/ 177 h 266"/>
                  <a:gd name="T32" fmla="*/ 102 w 198"/>
                  <a:gd name="T33" fmla="*/ 191 h 266"/>
                  <a:gd name="T34" fmla="*/ 113 w 198"/>
                  <a:gd name="T35" fmla="*/ 202 h 266"/>
                  <a:gd name="T36" fmla="*/ 111 w 198"/>
                  <a:gd name="T37" fmla="*/ 216 h 266"/>
                  <a:gd name="T38" fmla="*/ 106 w 198"/>
                  <a:gd name="T39" fmla="*/ 231 h 266"/>
                  <a:gd name="T40" fmla="*/ 90 w 198"/>
                  <a:gd name="T41" fmla="*/ 254 h 266"/>
                  <a:gd name="T42" fmla="*/ 94 w 198"/>
                  <a:gd name="T43" fmla="*/ 260 h 266"/>
                  <a:gd name="T44" fmla="*/ 109 w 198"/>
                  <a:gd name="T45" fmla="*/ 258 h 266"/>
                  <a:gd name="T46" fmla="*/ 123 w 198"/>
                  <a:gd name="T47" fmla="*/ 264 h 266"/>
                  <a:gd name="T48" fmla="*/ 133 w 198"/>
                  <a:gd name="T49" fmla="*/ 264 h 266"/>
                  <a:gd name="T50" fmla="*/ 154 w 198"/>
                  <a:gd name="T51" fmla="*/ 266 h 266"/>
                  <a:gd name="T52" fmla="*/ 169 w 198"/>
                  <a:gd name="T53" fmla="*/ 264 h 266"/>
                  <a:gd name="T54" fmla="*/ 171 w 198"/>
                  <a:gd name="T55" fmla="*/ 258 h 266"/>
                  <a:gd name="T56" fmla="*/ 179 w 198"/>
                  <a:gd name="T57" fmla="*/ 248 h 266"/>
                  <a:gd name="T58" fmla="*/ 188 w 198"/>
                  <a:gd name="T59" fmla="*/ 237 h 266"/>
                  <a:gd name="T60" fmla="*/ 186 w 198"/>
                  <a:gd name="T61" fmla="*/ 220 h 266"/>
                  <a:gd name="T62" fmla="*/ 188 w 198"/>
                  <a:gd name="T63" fmla="*/ 208 h 266"/>
                  <a:gd name="T64" fmla="*/ 190 w 198"/>
                  <a:gd name="T65" fmla="*/ 187 h 266"/>
                  <a:gd name="T66" fmla="*/ 196 w 198"/>
                  <a:gd name="T67" fmla="*/ 170 h 266"/>
                  <a:gd name="T68" fmla="*/ 198 w 198"/>
                  <a:gd name="T69" fmla="*/ 152 h 266"/>
                  <a:gd name="T70" fmla="*/ 182 w 198"/>
                  <a:gd name="T71" fmla="*/ 154 h 266"/>
                  <a:gd name="T72" fmla="*/ 177 w 198"/>
                  <a:gd name="T73" fmla="*/ 148 h 266"/>
                  <a:gd name="T74" fmla="*/ 175 w 198"/>
                  <a:gd name="T75" fmla="*/ 104 h 266"/>
                  <a:gd name="T76" fmla="*/ 159 w 198"/>
                  <a:gd name="T77" fmla="*/ 97 h 266"/>
                  <a:gd name="T78" fmla="*/ 157 w 198"/>
                  <a:gd name="T79" fmla="*/ 89 h 266"/>
                  <a:gd name="T80" fmla="*/ 146 w 198"/>
                  <a:gd name="T81" fmla="*/ 89 h 266"/>
                  <a:gd name="T82" fmla="*/ 125 w 198"/>
                  <a:gd name="T83" fmla="*/ 85 h 266"/>
                  <a:gd name="T84" fmla="*/ 117 w 198"/>
                  <a:gd name="T85" fmla="*/ 75 h 266"/>
                  <a:gd name="T86" fmla="*/ 115 w 198"/>
                  <a:gd name="T87" fmla="*/ 43 h 266"/>
                  <a:gd name="T88" fmla="*/ 109 w 198"/>
                  <a:gd name="T89" fmla="*/ 31 h 266"/>
                  <a:gd name="T90" fmla="*/ 100 w 198"/>
                  <a:gd name="T91" fmla="*/ 16 h 26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98"/>
                  <a:gd name="T139" fmla="*/ 0 h 266"/>
                  <a:gd name="T140" fmla="*/ 198 w 198"/>
                  <a:gd name="T141" fmla="*/ 266 h 26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98" h="266">
                    <a:moveTo>
                      <a:pt x="100" y="16"/>
                    </a:moveTo>
                    <a:lnTo>
                      <a:pt x="90" y="6"/>
                    </a:lnTo>
                    <a:lnTo>
                      <a:pt x="67" y="0"/>
                    </a:lnTo>
                    <a:lnTo>
                      <a:pt x="38" y="2"/>
                    </a:lnTo>
                    <a:lnTo>
                      <a:pt x="35" y="8"/>
                    </a:lnTo>
                    <a:lnTo>
                      <a:pt x="27" y="18"/>
                    </a:lnTo>
                    <a:lnTo>
                      <a:pt x="23" y="25"/>
                    </a:lnTo>
                    <a:lnTo>
                      <a:pt x="21" y="33"/>
                    </a:lnTo>
                    <a:lnTo>
                      <a:pt x="17" y="39"/>
                    </a:lnTo>
                    <a:lnTo>
                      <a:pt x="14" y="43"/>
                    </a:lnTo>
                    <a:lnTo>
                      <a:pt x="14" y="54"/>
                    </a:lnTo>
                    <a:lnTo>
                      <a:pt x="0" y="89"/>
                    </a:lnTo>
                    <a:lnTo>
                      <a:pt x="14" y="97"/>
                    </a:lnTo>
                    <a:lnTo>
                      <a:pt x="15" y="98"/>
                    </a:lnTo>
                    <a:lnTo>
                      <a:pt x="17" y="104"/>
                    </a:lnTo>
                    <a:lnTo>
                      <a:pt x="21" y="108"/>
                    </a:lnTo>
                    <a:lnTo>
                      <a:pt x="23" y="114"/>
                    </a:lnTo>
                    <a:lnTo>
                      <a:pt x="25" y="118"/>
                    </a:lnTo>
                    <a:lnTo>
                      <a:pt x="31" y="122"/>
                    </a:lnTo>
                    <a:lnTo>
                      <a:pt x="35" y="123"/>
                    </a:lnTo>
                    <a:lnTo>
                      <a:pt x="38" y="127"/>
                    </a:lnTo>
                    <a:lnTo>
                      <a:pt x="44" y="139"/>
                    </a:lnTo>
                    <a:lnTo>
                      <a:pt x="46" y="147"/>
                    </a:lnTo>
                    <a:lnTo>
                      <a:pt x="52" y="150"/>
                    </a:lnTo>
                    <a:lnTo>
                      <a:pt x="58" y="150"/>
                    </a:lnTo>
                    <a:lnTo>
                      <a:pt x="61" y="154"/>
                    </a:lnTo>
                    <a:lnTo>
                      <a:pt x="67" y="162"/>
                    </a:lnTo>
                    <a:lnTo>
                      <a:pt x="73" y="168"/>
                    </a:lnTo>
                    <a:lnTo>
                      <a:pt x="79" y="168"/>
                    </a:lnTo>
                    <a:lnTo>
                      <a:pt x="85" y="170"/>
                    </a:lnTo>
                    <a:lnTo>
                      <a:pt x="86" y="173"/>
                    </a:lnTo>
                    <a:lnTo>
                      <a:pt x="94" y="177"/>
                    </a:lnTo>
                    <a:lnTo>
                      <a:pt x="98" y="183"/>
                    </a:lnTo>
                    <a:lnTo>
                      <a:pt x="102" y="191"/>
                    </a:lnTo>
                    <a:lnTo>
                      <a:pt x="109" y="196"/>
                    </a:lnTo>
                    <a:lnTo>
                      <a:pt x="113" y="202"/>
                    </a:lnTo>
                    <a:lnTo>
                      <a:pt x="111" y="208"/>
                    </a:lnTo>
                    <a:lnTo>
                      <a:pt x="111" y="216"/>
                    </a:lnTo>
                    <a:lnTo>
                      <a:pt x="109" y="223"/>
                    </a:lnTo>
                    <a:lnTo>
                      <a:pt x="106" y="231"/>
                    </a:lnTo>
                    <a:lnTo>
                      <a:pt x="94" y="246"/>
                    </a:lnTo>
                    <a:lnTo>
                      <a:pt x="90" y="254"/>
                    </a:lnTo>
                    <a:lnTo>
                      <a:pt x="90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109" y="258"/>
                    </a:lnTo>
                    <a:lnTo>
                      <a:pt x="117" y="262"/>
                    </a:lnTo>
                    <a:lnTo>
                      <a:pt x="123" y="264"/>
                    </a:lnTo>
                    <a:lnTo>
                      <a:pt x="127" y="266"/>
                    </a:lnTo>
                    <a:lnTo>
                      <a:pt x="133" y="264"/>
                    </a:lnTo>
                    <a:lnTo>
                      <a:pt x="148" y="264"/>
                    </a:lnTo>
                    <a:lnTo>
                      <a:pt x="154" y="266"/>
                    </a:lnTo>
                    <a:lnTo>
                      <a:pt x="169" y="266"/>
                    </a:lnTo>
                    <a:lnTo>
                      <a:pt x="169" y="264"/>
                    </a:lnTo>
                    <a:lnTo>
                      <a:pt x="171" y="264"/>
                    </a:lnTo>
                    <a:lnTo>
                      <a:pt x="171" y="258"/>
                    </a:lnTo>
                    <a:lnTo>
                      <a:pt x="175" y="254"/>
                    </a:lnTo>
                    <a:lnTo>
                      <a:pt x="179" y="248"/>
                    </a:lnTo>
                    <a:lnTo>
                      <a:pt x="184" y="245"/>
                    </a:lnTo>
                    <a:lnTo>
                      <a:pt x="188" y="237"/>
                    </a:lnTo>
                    <a:lnTo>
                      <a:pt x="188" y="227"/>
                    </a:lnTo>
                    <a:lnTo>
                      <a:pt x="186" y="220"/>
                    </a:lnTo>
                    <a:lnTo>
                      <a:pt x="186" y="214"/>
                    </a:lnTo>
                    <a:lnTo>
                      <a:pt x="188" y="208"/>
                    </a:lnTo>
                    <a:lnTo>
                      <a:pt x="190" y="206"/>
                    </a:lnTo>
                    <a:lnTo>
                      <a:pt x="190" y="187"/>
                    </a:lnTo>
                    <a:lnTo>
                      <a:pt x="194" y="177"/>
                    </a:lnTo>
                    <a:lnTo>
                      <a:pt x="196" y="170"/>
                    </a:lnTo>
                    <a:lnTo>
                      <a:pt x="198" y="158"/>
                    </a:lnTo>
                    <a:lnTo>
                      <a:pt x="198" y="152"/>
                    </a:lnTo>
                    <a:lnTo>
                      <a:pt x="194" y="150"/>
                    </a:lnTo>
                    <a:lnTo>
                      <a:pt x="182" y="154"/>
                    </a:lnTo>
                    <a:lnTo>
                      <a:pt x="179" y="152"/>
                    </a:lnTo>
                    <a:lnTo>
                      <a:pt x="177" y="148"/>
                    </a:lnTo>
                    <a:lnTo>
                      <a:pt x="177" y="112"/>
                    </a:lnTo>
                    <a:lnTo>
                      <a:pt x="175" y="104"/>
                    </a:lnTo>
                    <a:lnTo>
                      <a:pt x="171" y="100"/>
                    </a:lnTo>
                    <a:lnTo>
                      <a:pt x="159" y="97"/>
                    </a:lnTo>
                    <a:lnTo>
                      <a:pt x="157" y="93"/>
                    </a:lnTo>
                    <a:lnTo>
                      <a:pt x="157" y="89"/>
                    </a:lnTo>
                    <a:lnTo>
                      <a:pt x="154" y="83"/>
                    </a:lnTo>
                    <a:lnTo>
                      <a:pt x="146" y="89"/>
                    </a:lnTo>
                    <a:lnTo>
                      <a:pt x="140" y="87"/>
                    </a:lnTo>
                    <a:lnTo>
                      <a:pt x="125" y="85"/>
                    </a:lnTo>
                    <a:lnTo>
                      <a:pt x="119" y="81"/>
                    </a:lnTo>
                    <a:lnTo>
                      <a:pt x="117" y="75"/>
                    </a:lnTo>
                    <a:lnTo>
                      <a:pt x="115" y="68"/>
                    </a:lnTo>
                    <a:lnTo>
                      <a:pt x="115" y="43"/>
                    </a:lnTo>
                    <a:lnTo>
                      <a:pt x="113" y="37"/>
                    </a:lnTo>
                    <a:lnTo>
                      <a:pt x="109" y="31"/>
                    </a:lnTo>
                    <a:lnTo>
                      <a:pt x="108" y="27"/>
                    </a:lnTo>
                    <a:lnTo>
                      <a:pt x="100" y="1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2" name="Freeform 90"/>
              <p:cNvSpPr>
                <a:spLocks/>
              </p:cNvSpPr>
              <p:nvPr/>
            </p:nvSpPr>
            <p:spPr bwMode="gray">
              <a:xfrm>
                <a:off x="4899" y="2829"/>
                <a:ext cx="14" cy="11"/>
              </a:xfrm>
              <a:custGeom>
                <a:avLst/>
                <a:gdLst>
                  <a:gd name="T0" fmla="*/ 0 w 27"/>
                  <a:gd name="T1" fmla="*/ 0 h 21"/>
                  <a:gd name="T2" fmla="*/ 0 w 27"/>
                  <a:gd name="T3" fmla="*/ 8 h 21"/>
                  <a:gd name="T4" fmla="*/ 8 w 27"/>
                  <a:gd name="T5" fmla="*/ 11 h 21"/>
                  <a:gd name="T6" fmla="*/ 16 w 27"/>
                  <a:gd name="T7" fmla="*/ 17 h 21"/>
                  <a:gd name="T8" fmla="*/ 20 w 27"/>
                  <a:gd name="T9" fmla="*/ 19 h 21"/>
                  <a:gd name="T10" fmla="*/ 27 w 27"/>
                  <a:gd name="T11" fmla="*/ 21 h 21"/>
                  <a:gd name="T12" fmla="*/ 27 w 27"/>
                  <a:gd name="T13" fmla="*/ 11 h 21"/>
                  <a:gd name="T14" fmla="*/ 18 w 27"/>
                  <a:gd name="T15" fmla="*/ 8 h 21"/>
                  <a:gd name="T16" fmla="*/ 10 w 27"/>
                  <a:gd name="T17" fmla="*/ 4 h 21"/>
                  <a:gd name="T18" fmla="*/ 0 w 27"/>
                  <a:gd name="T19" fmla="*/ 0 h 2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21"/>
                  <a:gd name="T32" fmla="*/ 27 w 27"/>
                  <a:gd name="T33" fmla="*/ 21 h 2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21">
                    <a:moveTo>
                      <a:pt x="0" y="0"/>
                    </a:moveTo>
                    <a:lnTo>
                      <a:pt x="0" y="8"/>
                    </a:lnTo>
                    <a:lnTo>
                      <a:pt x="8" y="11"/>
                    </a:lnTo>
                    <a:lnTo>
                      <a:pt x="16" y="17"/>
                    </a:lnTo>
                    <a:lnTo>
                      <a:pt x="20" y="19"/>
                    </a:lnTo>
                    <a:lnTo>
                      <a:pt x="27" y="21"/>
                    </a:lnTo>
                    <a:lnTo>
                      <a:pt x="27" y="11"/>
                    </a:lnTo>
                    <a:lnTo>
                      <a:pt x="18" y="8"/>
                    </a:lnTo>
                    <a:lnTo>
                      <a:pt x="1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3" name="Freeform 91"/>
              <p:cNvSpPr>
                <a:spLocks/>
              </p:cNvSpPr>
              <p:nvPr/>
            </p:nvSpPr>
            <p:spPr bwMode="gray">
              <a:xfrm>
                <a:off x="4915" y="2839"/>
                <a:ext cx="11" cy="19"/>
              </a:xfrm>
              <a:custGeom>
                <a:avLst/>
                <a:gdLst>
                  <a:gd name="T0" fmla="*/ 0 w 23"/>
                  <a:gd name="T1" fmla="*/ 0 h 39"/>
                  <a:gd name="T2" fmla="*/ 6 w 23"/>
                  <a:gd name="T3" fmla="*/ 14 h 39"/>
                  <a:gd name="T4" fmla="*/ 10 w 23"/>
                  <a:gd name="T5" fmla="*/ 23 h 39"/>
                  <a:gd name="T6" fmla="*/ 12 w 23"/>
                  <a:gd name="T7" fmla="*/ 39 h 39"/>
                  <a:gd name="T8" fmla="*/ 17 w 23"/>
                  <a:gd name="T9" fmla="*/ 37 h 39"/>
                  <a:gd name="T10" fmla="*/ 23 w 23"/>
                  <a:gd name="T11" fmla="*/ 33 h 39"/>
                  <a:gd name="T12" fmla="*/ 19 w 23"/>
                  <a:gd name="T13" fmla="*/ 27 h 39"/>
                  <a:gd name="T14" fmla="*/ 23 w 23"/>
                  <a:gd name="T15" fmla="*/ 29 h 39"/>
                  <a:gd name="T16" fmla="*/ 23 w 23"/>
                  <a:gd name="T17" fmla="*/ 19 h 39"/>
                  <a:gd name="T18" fmla="*/ 0 w 23"/>
                  <a:gd name="T19" fmla="*/ 0 h 3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3"/>
                  <a:gd name="T31" fmla="*/ 0 h 39"/>
                  <a:gd name="T32" fmla="*/ 23 w 23"/>
                  <a:gd name="T33" fmla="*/ 39 h 3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3" h="39">
                    <a:moveTo>
                      <a:pt x="0" y="0"/>
                    </a:moveTo>
                    <a:lnTo>
                      <a:pt x="6" y="14"/>
                    </a:lnTo>
                    <a:lnTo>
                      <a:pt x="10" y="23"/>
                    </a:lnTo>
                    <a:lnTo>
                      <a:pt x="12" y="39"/>
                    </a:lnTo>
                    <a:lnTo>
                      <a:pt x="17" y="37"/>
                    </a:lnTo>
                    <a:lnTo>
                      <a:pt x="23" y="33"/>
                    </a:lnTo>
                    <a:lnTo>
                      <a:pt x="19" y="27"/>
                    </a:lnTo>
                    <a:lnTo>
                      <a:pt x="23" y="29"/>
                    </a:lnTo>
                    <a:lnTo>
                      <a:pt x="23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4" name="Freeform 92"/>
              <p:cNvSpPr>
                <a:spLocks/>
              </p:cNvSpPr>
              <p:nvPr/>
            </p:nvSpPr>
            <p:spPr bwMode="gray">
              <a:xfrm>
                <a:off x="4872" y="2853"/>
                <a:ext cx="46" cy="28"/>
              </a:xfrm>
              <a:custGeom>
                <a:avLst/>
                <a:gdLst>
                  <a:gd name="T0" fmla="*/ 80 w 92"/>
                  <a:gd name="T1" fmla="*/ 0 h 58"/>
                  <a:gd name="T2" fmla="*/ 78 w 92"/>
                  <a:gd name="T3" fmla="*/ 4 h 58"/>
                  <a:gd name="T4" fmla="*/ 73 w 92"/>
                  <a:gd name="T5" fmla="*/ 4 h 58"/>
                  <a:gd name="T6" fmla="*/ 76 w 92"/>
                  <a:gd name="T7" fmla="*/ 12 h 58"/>
                  <a:gd name="T8" fmla="*/ 76 w 92"/>
                  <a:gd name="T9" fmla="*/ 15 h 58"/>
                  <a:gd name="T10" fmla="*/ 69 w 92"/>
                  <a:gd name="T11" fmla="*/ 15 h 58"/>
                  <a:gd name="T12" fmla="*/ 69 w 92"/>
                  <a:gd name="T13" fmla="*/ 21 h 58"/>
                  <a:gd name="T14" fmla="*/ 67 w 92"/>
                  <a:gd name="T15" fmla="*/ 27 h 58"/>
                  <a:gd name="T16" fmla="*/ 65 w 92"/>
                  <a:gd name="T17" fmla="*/ 31 h 58"/>
                  <a:gd name="T18" fmla="*/ 61 w 92"/>
                  <a:gd name="T19" fmla="*/ 31 h 58"/>
                  <a:gd name="T20" fmla="*/ 61 w 92"/>
                  <a:gd name="T21" fmla="*/ 35 h 58"/>
                  <a:gd name="T22" fmla="*/ 55 w 92"/>
                  <a:gd name="T23" fmla="*/ 37 h 58"/>
                  <a:gd name="T24" fmla="*/ 50 w 92"/>
                  <a:gd name="T25" fmla="*/ 35 h 58"/>
                  <a:gd name="T26" fmla="*/ 44 w 92"/>
                  <a:gd name="T27" fmla="*/ 35 h 58"/>
                  <a:gd name="T28" fmla="*/ 44 w 92"/>
                  <a:gd name="T29" fmla="*/ 31 h 58"/>
                  <a:gd name="T30" fmla="*/ 40 w 92"/>
                  <a:gd name="T31" fmla="*/ 27 h 58"/>
                  <a:gd name="T32" fmla="*/ 36 w 92"/>
                  <a:gd name="T33" fmla="*/ 31 h 58"/>
                  <a:gd name="T34" fmla="*/ 34 w 92"/>
                  <a:gd name="T35" fmla="*/ 38 h 58"/>
                  <a:gd name="T36" fmla="*/ 23 w 92"/>
                  <a:gd name="T37" fmla="*/ 40 h 58"/>
                  <a:gd name="T38" fmla="*/ 13 w 92"/>
                  <a:gd name="T39" fmla="*/ 40 h 58"/>
                  <a:gd name="T40" fmla="*/ 0 w 92"/>
                  <a:gd name="T41" fmla="*/ 38 h 58"/>
                  <a:gd name="T42" fmla="*/ 5 w 92"/>
                  <a:gd name="T43" fmla="*/ 44 h 58"/>
                  <a:gd name="T44" fmla="*/ 11 w 92"/>
                  <a:gd name="T45" fmla="*/ 54 h 58"/>
                  <a:gd name="T46" fmla="*/ 21 w 92"/>
                  <a:gd name="T47" fmla="*/ 58 h 58"/>
                  <a:gd name="T48" fmla="*/ 40 w 92"/>
                  <a:gd name="T49" fmla="*/ 58 h 58"/>
                  <a:gd name="T50" fmla="*/ 61 w 92"/>
                  <a:gd name="T51" fmla="*/ 52 h 58"/>
                  <a:gd name="T52" fmla="*/ 73 w 92"/>
                  <a:gd name="T53" fmla="*/ 42 h 58"/>
                  <a:gd name="T54" fmla="*/ 75 w 92"/>
                  <a:gd name="T55" fmla="*/ 38 h 58"/>
                  <a:gd name="T56" fmla="*/ 75 w 92"/>
                  <a:gd name="T57" fmla="*/ 35 h 58"/>
                  <a:gd name="T58" fmla="*/ 76 w 92"/>
                  <a:gd name="T59" fmla="*/ 31 h 58"/>
                  <a:gd name="T60" fmla="*/ 80 w 92"/>
                  <a:gd name="T61" fmla="*/ 31 h 58"/>
                  <a:gd name="T62" fmla="*/ 86 w 92"/>
                  <a:gd name="T63" fmla="*/ 33 h 58"/>
                  <a:gd name="T64" fmla="*/ 88 w 92"/>
                  <a:gd name="T65" fmla="*/ 31 h 58"/>
                  <a:gd name="T66" fmla="*/ 92 w 92"/>
                  <a:gd name="T67" fmla="*/ 23 h 58"/>
                  <a:gd name="T68" fmla="*/ 92 w 92"/>
                  <a:gd name="T69" fmla="*/ 4 h 58"/>
                  <a:gd name="T70" fmla="*/ 80 w 92"/>
                  <a:gd name="T71" fmla="*/ 0 h 5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92"/>
                  <a:gd name="T109" fmla="*/ 0 h 58"/>
                  <a:gd name="T110" fmla="*/ 92 w 92"/>
                  <a:gd name="T111" fmla="*/ 58 h 5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92" h="58">
                    <a:moveTo>
                      <a:pt x="80" y="0"/>
                    </a:moveTo>
                    <a:lnTo>
                      <a:pt x="78" y="4"/>
                    </a:lnTo>
                    <a:lnTo>
                      <a:pt x="73" y="4"/>
                    </a:lnTo>
                    <a:lnTo>
                      <a:pt x="76" y="12"/>
                    </a:lnTo>
                    <a:lnTo>
                      <a:pt x="76" y="15"/>
                    </a:lnTo>
                    <a:lnTo>
                      <a:pt x="69" y="15"/>
                    </a:lnTo>
                    <a:lnTo>
                      <a:pt x="69" y="21"/>
                    </a:lnTo>
                    <a:lnTo>
                      <a:pt x="67" y="27"/>
                    </a:lnTo>
                    <a:lnTo>
                      <a:pt x="65" y="31"/>
                    </a:lnTo>
                    <a:lnTo>
                      <a:pt x="61" y="31"/>
                    </a:lnTo>
                    <a:lnTo>
                      <a:pt x="61" y="35"/>
                    </a:lnTo>
                    <a:lnTo>
                      <a:pt x="55" y="37"/>
                    </a:lnTo>
                    <a:lnTo>
                      <a:pt x="50" y="35"/>
                    </a:lnTo>
                    <a:lnTo>
                      <a:pt x="44" y="35"/>
                    </a:lnTo>
                    <a:lnTo>
                      <a:pt x="44" y="31"/>
                    </a:lnTo>
                    <a:lnTo>
                      <a:pt x="40" y="27"/>
                    </a:lnTo>
                    <a:lnTo>
                      <a:pt x="36" y="31"/>
                    </a:lnTo>
                    <a:lnTo>
                      <a:pt x="34" y="38"/>
                    </a:lnTo>
                    <a:lnTo>
                      <a:pt x="23" y="40"/>
                    </a:lnTo>
                    <a:lnTo>
                      <a:pt x="13" y="40"/>
                    </a:lnTo>
                    <a:lnTo>
                      <a:pt x="0" y="38"/>
                    </a:lnTo>
                    <a:lnTo>
                      <a:pt x="5" y="44"/>
                    </a:lnTo>
                    <a:lnTo>
                      <a:pt x="11" y="54"/>
                    </a:lnTo>
                    <a:lnTo>
                      <a:pt x="21" y="58"/>
                    </a:lnTo>
                    <a:lnTo>
                      <a:pt x="40" y="58"/>
                    </a:lnTo>
                    <a:lnTo>
                      <a:pt x="61" y="52"/>
                    </a:lnTo>
                    <a:lnTo>
                      <a:pt x="73" y="42"/>
                    </a:lnTo>
                    <a:lnTo>
                      <a:pt x="75" y="38"/>
                    </a:lnTo>
                    <a:lnTo>
                      <a:pt x="75" y="35"/>
                    </a:lnTo>
                    <a:lnTo>
                      <a:pt x="76" y="31"/>
                    </a:lnTo>
                    <a:lnTo>
                      <a:pt x="80" y="31"/>
                    </a:lnTo>
                    <a:lnTo>
                      <a:pt x="86" y="33"/>
                    </a:lnTo>
                    <a:lnTo>
                      <a:pt x="88" y="31"/>
                    </a:lnTo>
                    <a:lnTo>
                      <a:pt x="92" y="23"/>
                    </a:lnTo>
                    <a:lnTo>
                      <a:pt x="92" y="4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5" name="Freeform 93"/>
              <p:cNvSpPr>
                <a:spLocks/>
              </p:cNvSpPr>
              <p:nvPr/>
            </p:nvSpPr>
            <p:spPr bwMode="gray">
              <a:xfrm>
                <a:off x="4944" y="2863"/>
                <a:ext cx="19" cy="30"/>
              </a:xfrm>
              <a:custGeom>
                <a:avLst/>
                <a:gdLst>
                  <a:gd name="T0" fmla="*/ 0 w 36"/>
                  <a:gd name="T1" fmla="*/ 0 h 60"/>
                  <a:gd name="T2" fmla="*/ 3 w 36"/>
                  <a:gd name="T3" fmla="*/ 25 h 60"/>
                  <a:gd name="T4" fmla="*/ 9 w 36"/>
                  <a:gd name="T5" fmla="*/ 42 h 60"/>
                  <a:gd name="T6" fmla="*/ 21 w 36"/>
                  <a:gd name="T7" fmla="*/ 60 h 60"/>
                  <a:gd name="T8" fmla="*/ 27 w 36"/>
                  <a:gd name="T9" fmla="*/ 60 h 60"/>
                  <a:gd name="T10" fmla="*/ 32 w 36"/>
                  <a:gd name="T11" fmla="*/ 58 h 60"/>
                  <a:gd name="T12" fmla="*/ 32 w 36"/>
                  <a:gd name="T13" fmla="*/ 56 h 60"/>
                  <a:gd name="T14" fmla="*/ 34 w 36"/>
                  <a:gd name="T15" fmla="*/ 56 h 60"/>
                  <a:gd name="T16" fmla="*/ 36 w 36"/>
                  <a:gd name="T17" fmla="*/ 50 h 60"/>
                  <a:gd name="T18" fmla="*/ 36 w 36"/>
                  <a:gd name="T19" fmla="*/ 44 h 60"/>
                  <a:gd name="T20" fmla="*/ 9 w 36"/>
                  <a:gd name="T21" fmla="*/ 14 h 60"/>
                  <a:gd name="T22" fmla="*/ 0 w 36"/>
                  <a:gd name="T23" fmla="*/ 0 h 6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6"/>
                  <a:gd name="T37" fmla="*/ 0 h 60"/>
                  <a:gd name="T38" fmla="*/ 36 w 36"/>
                  <a:gd name="T39" fmla="*/ 60 h 6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6" h="60">
                    <a:moveTo>
                      <a:pt x="0" y="0"/>
                    </a:moveTo>
                    <a:lnTo>
                      <a:pt x="3" y="25"/>
                    </a:lnTo>
                    <a:lnTo>
                      <a:pt x="9" y="42"/>
                    </a:lnTo>
                    <a:lnTo>
                      <a:pt x="21" y="60"/>
                    </a:lnTo>
                    <a:lnTo>
                      <a:pt x="27" y="60"/>
                    </a:lnTo>
                    <a:lnTo>
                      <a:pt x="32" y="58"/>
                    </a:lnTo>
                    <a:lnTo>
                      <a:pt x="32" y="56"/>
                    </a:lnTo>
                    <a:lnTo>
                      <a:pt x="34" y="56"/>
                    </a:lnTo>
                    <a:lnTo>
                      <a:pt x="36" y="50"/>
                    </a:lnTo>
                    <a:lnTo>
                      <a:pt x="36" y="44"/>
                    </a:lnTo>
                    <a:lnTo>
                      <a:pt x="9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6" name="Freeform 94"/>
              <p:cNvSpPr>
                <a:spLocks/>
              </p:cNvSpPr>
              <p:nvPr/>
            </p:nvSpPr>
            <p:spPr bwMode="gray">
              <a:xfrm>
                <a:off x="4773" y="2828"/>
                <a:ext cx="121" cy="123"/>
              </a:xfrm>
              <a:custGeom>
                <a:avLst/>
                <a:gdLst>
                  <a:gd name="T0" fmla="*/ 33 w 242"/>
                  <a:gd name="T1" fmla="*/ 198 h 246"/>
                  <a:gd name="T2" fmla="*/ 71 w 242"/>
                  <a:gd name="T3" fmla="*/ 181 h 246"/>
                  <a:gd name="T4" fmla="*/ 71 w 242"/>
                  <a:gd name="T5" fmla="*/ 169 h 246"/>
                  <a:gd name="T6" fmla="*/ 96 w 242"/>
                  <a:gd name="T7" fmla="*/ 163 h 246"/>
                  <a:gd name="T8" fmla="*/ 142 w 242"/>
                  <a:gd name="T9" fmla="*/ 181 h 246"/>
                  <a:gd name="T10" fmla="*/ 144 w 242"/>
                  <a:gd name="T11" fmla="*/ 198 h 246"/>
                  <a:gd name="T12" fmla="*/ 154 w 242"/>
                  <a:gd name="T13" fmla="*/ 206 h 246"/>
                  <a:gd name="T14" fmla="*/ 163 w 242"/>
                  <a:gd name="T15" fmla="*/ 208 h 246"/>
                  <a:gd name="T16" fmla="*/ 196 w 242"/>
                  <a:gd name="T17" fmla="*/ 236 h 246"/>
                  <a:gd name="T18" fmla="*/ 242 w 242"/>
                  <a:gd name="T19" fmla="*/ 246 h 246"/>
                  <a:gd name="T20" fmla="*/ 240 w 242"/>
                  <a:gd name="T21" fmla="*/ 238 h 246"/>
                  <a:gd name="T22" fmla="*/ 234 w 242"/>
                  <a:gd name="T23" fmla="*/ 233 h 246"/>
                  <a:gd name="T24" fmla="*/ 225 w 242"/>
                  <a:gd name="T25" fmla="*/ 227 h 246"/>
                  <a:gd name="T26" fmla="*/ 230 w 242"/>
                  <a:gd name="T27" fmla="*/ 219 h 246"/>
                  <a:gd name="T28" fmla="*/ 217 w 242"/>
                  <a:gd name="T29" fmla="*/ 217 h 246"/>
                  <a:gd name="T30" fmla="*/ 207 w 242"/>
                  <a:gd name="T31" fmla="*/ 210 h 246"/>
                  <a:gd name="T32" fmla="*/ 211 w 242"/>
                  <a:gd name="T33" fmla="*/ 200 h 246"/>
                  <a:gd name="T34" fmla="*/ 200 w 242"/>
                  <a:gd name="T35" fmla="*/ 198 h 246"/>
                  <a:gd name="T36" fmla="*/ 190 w 242"/>
                  <a:gd name="T37" fmla="*/ 188 h 246"/>
                  <a:gd name="T38" fmla="*/ 186 w 242"/>
                  <a:gd name="T39" fmla="*/ 169 h 246"/>
                  <a:gd name="T40" fmla="*/ 177 w 242"/>
                  <a:gd name="T41" fmla="*/ 167 h 246"/>
                  <a:gd name="T42" fmla="*/ 167 w 242"/>
                  <a:gd name="T43" fmla="*/ 156 h 246"/>
                  <a:gd name="T44" fmla="*/ 159 w 242"/>
                  <a:gd name="T45" fmla="*/ 131 h 246"/>
                  <a:gd name="T46" fmla="*/ 178 w 242"/>
                  <a:gd name="T47" fmla="*/ 123 h 246"/>
                  <a:gd name="T48" fmla="*/ 177 w 242"/>
                  <a:gd name="T49" fmla="*/ 106 h 246"/>
                  <a:gd name="T50" fmla="*/ 157 w 242"/>
                  <a:gd name="T51" fmla="*/ 100 h 246"/>
                  <a:gd name="T52" fmla="*/ 150 w 242"/>
                  <a:gd name="T53" fmla="*/ 85 h 246"/>
                  <a:gd name="T54" fmla="*/ 125 w 242"/>
                  <a:gd name="T55" fmla="*/ 81 h 246"/>
                  <a:gd name="T56" fmla="*/ 123 w 242"/>
                  <a:gd name="T57" fmla="*/ 62 h 246"/>
                  <a:gd name="T58" fmla="*/ 109 w 242"/>
                  <a:gd name="T59" fmla="*/ 46 h 246"/>
                  <a:gd name="T60" fmla="*/ 96 w 242"/>
                  <a:gd name="T61" fmla="*/ 42 h 246"/>
                  <a:gd name="T62" fmla="*/ 86 w 242"/>
                  <a:gd name="T63" fmla="*/ 31 h 246"/>
                  <a:gd name="T64" fmla="*/ 46 w 242"/>
                  <a:gd name="T65" fmla="*/ 19 h 246"/>
                  <a:gd name="T66" fmla="*/ 21 w 242"/>
                  <a:gd name="T67" fmla="*/ 10 h 246"/>
                  <a:gd name="T68" fmla="*/ 4 w 242"/>
                  <a:gd name="T69" fmla="*/ 0 h 246"/>
                  <a:gd name="T70" fmla="*/ 0 w 242"/>
                  <a:gd name="T71" fmla="*/ 121 h 246"/>
                  <a:gd name="T72" fmla="*/ 6 w 242"/>
                  <a:gd name="T73" fmla="*/ 200 h 2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42"/>
                  <a:gd name="T112" fmla="*/ 0 h 246"/>
                  <a:gd name="T113" fmla="*/ 242 w 242"/>
                  <a:gd name="T114" fmla="*/ 246 h 2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42" h="246">
                    <a:moveTo>
                      <a:pt x="6" y="200"/>
                    </a:moveTo>
                    <a:lnTo>
                      <a:pt x="33" y="198"/>
                    </a:lnTo>
                    <a:lnTo>
                      <a:pt x="58" y="194"/>
                    </a:lnTo>
                    <a:lnTo>
                      <a:pt x="71" y="181"/>
                    </a:lnTo>
                    <a:lnTo>
                      <a:pt x="73" y="175"/>
                    </a:lnTo>
                    <a:lnTo>
                      <a:pt x="71" y="169"/>
                    </a:lnTo>
                    <a:lnTo>
                      <a:pt x="71" y="161"/>
                    </a:lnTo>
                    <a:lnTo>
                      <a:pt x="96" y="163"/>
                    </a:lnTo>
                    <a:lnTo>
                      <a:pt x="121" y="169"/>
                    </a:lnTo>
                    <a:lnTo>
                      <a:pt x="142" y="181"/>
                    </a:lnTo>
                    <a:lnTo>
                      <a:pt x="142" y="188"/>
                    </a:lnTo>
                    <a:lnTo>
                      <a:pt x="144" y="198"/>
                    </a:lnTo>
                    <a:lnTo>
                      <a:pt x="150" y="204"/>
                    </a:lnTo>
                    <a:lnTo>
                      <a:pt x="154" y="206"/>
                    </a:lnTo>
                    <a:lnTo>
                      <a:pt x="159" y="208"/>
                    </a:lnTo>
                    <a:lnTo>
                      <a:pt x="163" y="208"/>
                    </a:lnTo>
                    <a:lnTo>
                      <a:pt x="177" y="231"/>
                    </a:lnTo>
                    <a:lnTo>
                      <a:pt x="196" y="236"/>
                    </a:lnTo>
                    <a:lnTo>
                      <a:pt x="219" y="242"/>
                    </a:lnTo>
                    <a:lnTo>
                      <a:pt x="242" y="246"/>
                    </a:lnTo>
                    <a:lnTo>
                      <a:pt x="240" y="242"/>
                    </a:lnTo>
                    <a:lnTo>
                      <a:pt x="240" y="238"/>
                    </a:lnTo>
                    <a:lnTo>
                      <a:pt x="242" y="234"/>
                    </a:lnTo>
                    <a:lnTo>
                      <a:pt x="234" y="233"/>
                    </a:lnTo>
                    <a:lnTo>
                      <a:pt x="230" y="231"/>
                    </a:lnTo>
                    <a:lnTo>
                      <a:pt x="225" y="227"/>
                    </a:lnTo>
                    <a:lnTo>
                      <a:pt x="230" y="221"/>
                    </a:lnTo>
                    <a:lnTo>
                      <a:pt x="230" y="219"/>
                    </a:lnTo>
                    <a:lnTo>
                      <a:pt x="225" y="217"/>
                    </a:lnTo>
                    <a:lnTo>
                      <a:pt x="217" y="217"/>
                    </a:lnTo>
                    <a:lnTo>
                      <a:pt x="211" y="215"/>
                    </a:lnTo>
                    <a:lnTo>
                      <a:pt x="207" y="210"/>
                    </a:lnTo>
                    <a:lnTo>
                      <a:pt x="209" y="204"/>
                    </a:lnTo>
                    <a:lnTo>
                      <a:pt x="211" y="200"/>
                    </a:lnTo>
                    <a:lnTo>
                      <a:pt x="205" y="198"/>
                    </a:lnTo>
                    <a:lnTo>
                      <a:pt x="200" y="198"/>
                    </a:lnTo>
                    <a:lnTo>
                      <a:pt x="196" y="196"/>
                    </a:lnTo>
                    <a:lnTo>
                      <a:pt x="190" y="188"/>
                    </a:lnTo>
                    <a:lnTo>
                      <a:pt x="190" y="179"/>
                    </a:lnTo>
                    <a:lnTo>
                      <a:pt x="186" y="169"/>
                    </a:lnTo>
                    <a:lnTo>
                      <a:pt x="182" y="167"/>
                    </a:lnTo>
                    <a:lnTo>
                      <a:pt x="177" y="167"/>
                    </a:lnTo>
                    <a:lnTo>
                      <a:pt x="171" y="165"/>
                    </a:lnTo>
                    <a:lnTo>
                      <a:pt x="167" y="156"/>
                    </a:lnTo>
                    <a:lnTo>
                      <a:pt x="163" y="142"/>
                    </a:lnTo>
                    <a:lnTo>
                      <a:pt x="159" y="131"/>
                    </a:lnTo>
                    <a:lnTo>
                      <a:pt x="167" y="129"/>
                    </a:lnTo>
                    <a:lnTo>
                      <a:pt x="178" y="123"/>
                    </a:lnTo>
                    <a:lnTo>
                      <a:pt x="178" y="115"/>
                    </a:lnTo>
                    <a:lnTo>
                      <a:pt x="177" y="106"/>
                    </a:lnTo>
                    <a:lnTo>
                      <a:pt x="177" y="100"/>
                    </a:lnTo>
                    <a:lnTo>
                      <a:pt x="157" y="100"/>
                    </a:lnTo>
                    <a:lnTo>
                      <a:pt x="154" y="96"/>
                    </a:lnTo>
                    <a:lnTo>
                      <a:pt x="150" y="85"/>
                    </a:lnTo>
                    <a:lnTo>
                      <a:pt x="132" y="85"/>
                    </a:lnTo>
                    <a:lnTo>
                      <a:pt x="125" y="81"/>
                    </a:lnTo>
                    <a:lnTo>
                      <a:pt x="125" y="65"/>
                    </a:lnTo>
                    <a:lnTo>
                      <a:pt x="123" y="62"/>
                    </a:lnTo>
                    <a:lnTo>
                      <a:pt x="115" y="52"/>
                    </a:lnTo>
                    <a:lnTo>
                      <a:pt x="109" y="46"/>
                    </a:lnTo>
                    <a:lnTo>
                      <a:pt x="98" y="46"/>
                    </a:lnTo>
                    <a:lnTo>
                      <a:pt x="96" y="42"/>
                    </a:lnTo>
                    <a:lnTo>
                      <a:pt x="90" y="37"/>
                    </a:lnTo>
                    <a:lnTo>
                      <a:pt x="86" y="31"/>
                    </a:lnTo>
                    <a:lnTo>
                      <a:pt x="67" y="23"/>
                    </a:lnTo>
                    <a:lnTo>
                      <a:pt x="46" y="19"/>
                    </a:lnTo>
                    <a:lnTo>
                      <a:pt x="27" y="12"/>
                    </a:lnTo>
                    <a:lnTo>
                      <a:pt x="21" y="10"/>
                    </a:lnTo>
                    <a:lnTo>
                      <a:pt x="13" y="6"/>
                    </a:lnTo>
                    <a:lnTo>
                      <a:pt x="4" y="0"/>
                    </a:lnTo>
                    <a:lnTo>
                      <a:pt x="6" y="113"/>
                    </a:lnTo>
                    <a:lnTo>
                      <a:pt x="0" y="121"/>
                    </a:lnTo>
                    <a:lnTo>
                      <a:pt x="6" y="133"/>
                    </a:lnTo>
                    <a:lnTo>
                      <a:pt x="6" y="20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7" name="Freeform 95"/>
              <p:cNvSpPr>
                <a:spLocks noEditPoints="1"/>
              </p:cNvSpPr>
              <p:nvPr/>
            </p:nvSpPr>
            <p:spPr bwMode="gray">
              <a:xfrm>
                <a:off x="1995" y="2630"/>
                <a:ext cx="75" cy="43"/>
              </a:xfrm>
              <a:custGeom>
                <a:avLst/>
                <a:gdLst>
                  <a:gd name="T0" fmla="*/ 5 w 149"/>
                  <a:gd name="T1" fmla="*/ 2 h 87"/>
                  <a:gd name="T2" fmla="*/ 1 w 149"/>
                  <a:gd name="T3" fmla="*/ 8 h 87"/>
                  <a:gd name="T4" fmla="*/ 0 w 149"/>
                  <a:gd name="T5" fmla="*/ 21 h 87"/>
                  <a:gd name="T6" fmla="*/ 5 w 149"/>
                  <a:gd name="T7" fmla="*/ 31 h 87"/>
                  <a:gd name="T8" fmla="*/ 1 w 149"/>
                  <a:gd name="T9" fmla="*/ 44 h 87"/>
                  <a:gd name="T10" fmla="*/ 23 w 149"/>
                  <a:gd name="T11" fmla="*/ 42 h 87"/>
                  <a:gd name="T12" fmla="*/ 36 w 149"/>
                  <a:gd name="T13" fmla="*/ 60 h 87"/>
                  <a:gd name="T14" fmla="*/ 46 w 149"/>
                  <a:gd name="T15" fmla="*/ 58 h 87"/>
                  <a:gd name="T16" fmla="*/ 51 w 149"/>
                  <a:gd name="T17" fmla="*/ 67 h 87"/>
                  <a:gd name="T18" fmla="*/ 69 w 149"/>
                  <a:gd name="T19" fmla="*/ 71 h 87"/>
                  <a:gd name="T20" fmla="*/ 78 w 149"/>
                  <a:gd name="T21" fmla="*/ 69 h 87"/>
                  <a:gd name="T22" fmla="*/ 71 w 149"/>
                  <a:gd name="T23" fmla="*/ 67 h 87"/>
                  <a:gd name="T24" fmla="*/ 67 w 149"/>
                  <a:gd name="T25" fmla="*/ 67 h 87"/>
                  <a:gd name="T26" fmla="*/ 72 w 149"/>
                  <a:gd name="T27" fmla="*/ 58 h 87"/>
                  <a:gd name="T28" fmla="*/ 71 w 149"/>
                  <a:gd name="T29" fmla="*/ 52 h 87"/>
                  <a:gd name="T30" fmla="*/ 63 w 149"/>
                  <a:gd name="T31" fmla="*/ 44 h 87"/>
                  <a:gd name="T32" fmla="*/ 82 w 149"/>
                  <a:gd name="T33" fmla="*/ 33 h 87"/>
                  <a:gd name="T34" fmla="*/ 82 w 149"/>
                  <a:gd name="T35" fmla="*/ 27 h 87"/>
                  <a:gd name="T36" fmla="*/ 88 w 149"/>
                  <a:gd name="T37" fmla="*/ 25 h 87"/>
                  <a:gd name="T38" fmla="*/ 94 w 149"/>
                  <a:gd name="T39" fmla="*/ 21 h 87"/>
                  <a:gd name="T40" fmla="*/ 103 w 149"/>
                  <a:gd name="T41" fmla="*/ 39 h 87"/>
                  <a:gd name="T42" fmla="*/ 120 w 149"/>
                  <a:gd name="T43" fmla="*/ 44 h 87"/>
                  <a:gd name="T44" fmla="*/ 120 w 149"/>
                  <a:gd name="T45" fmla="*/ 50 h 87"/>
                  <a:gd name="T46" fmla="*/ 119 w 149"/>
                  <a:gd name="T47" fmla="*/ 56 h 87"/>
                  <a:gd name="T48" fmla="*/ 117 w 149"/>
                  <a:gd name="T49" fmla="*/ 75 h 87"/>
                  <a:gd name="T50" fmla="*/ 132 w 149"/>
                  <a:gd name="T51" fmla="*/ 87 h 87"/>
                  <a:gd name="T52" fmla="*/ 140 w 149"/>
                  <a:gd name="T53" fmla="*/ 87 h 87"/>
                  <a:gd name="T54" fmla="*/ 143 w 149"/>
                  <a:gd name="T55" fmla="*/ 77 h 87"/>
                  <a:gd name="T56" fmla="*/ 149 w 149"/>
                  <a:gd name="T57" fmla="*/ 66 h 87"/>
                  <a:gd name="T58" fmla="*/ 143 w 149"/>
                  <a:gd name="T59" fmla="*/ 56 h 87"/>
                  <a:gd name="T60" fmla="*/ 119 w 149"/>
                  <a:gd name="T61" fmla="*/ 19 h 87"/>
                  <a:gd name="T62" fmla="*/ 90 w 149"/>
                  <a:gd name="T63" fmla="*/ 2 h 87"/>
                  <a:gd name="T64" fmla="*/ 84 w 149"/>
                  <a:gd name="T65" fmla="*/ 10 h 87"/>
                  <a:gd name="T66" fmla="*/ 67 w 149"/>
                  <a:gd name="T67" fmla="*/ 17 h 87"/>
                  <a:gd name="T68" fmla="*/ 40 w 149"/>
                  <a:gd name="T69" fmla="*/ 25 h 87"/>
                  <a:gd name="T70" fmla="*/ 32 w 149"/>
                  <a:gd name="T71" fmla="*/ 17 h 87"/>
                  <a:gd name="T72" fmla="*/ 26 w 149"/>
                  <a:gd name="T73" fmla="*/ 21 h 87"/>
                  <a:gd name="T74" fmla="*/ 15 w 149"/>
                  <a:gd name="T75" fmla="*/ 10 h 87"/>
                  <a:gd name="T76" fmla="*/ 32 w 149"/>
                  <a:gd name="T77" fmla="*/ 67 h 87"/>
                  <a:gd name="T78" fmla="*/ 38 w 149"/>
                  <a:gd name="T79" fmla="*/ 75 h 87"/>
                  <a:gd name="T80" fmla="*/ 32 w 149"/>
                  <a:gd name="T81" fmla="*/ 67 h 87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49"/>
                  <a:gd name="T124" fmla="*/ 0 h 87"/>
                  <a:gd name="T125" fmla="*/ 149 w 149"/>
                  <a:gd name="T126" fmla="*/ 87 h 87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49" h="87">
                    <a:moveTo>
                      <a:pt x="11" y="0"/>
                    </a:moveTo>
                    <a:lnTo>
                      <a:pt x="5" y="2"/>
                    </a:lnTo>
                    <a:lnTo>
                      <a:pt x="1" y="2"/>
                    </a:lnTo>
                    <a:lnTo>
                      <a:pt x="1" y="8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3" y="25"/>
                    </a:lnTo>
                    <a:lnTo>
                      <a:pt x="5" y="31"/>
                    </a:lnTo>
                    <a:lnTo>
                      <a:pt x="1" y="42"/>
                    </a:lnTo>
                    <a:lnTo>
                      <a:pt x="1" y="44"/>
                    </a:lnTo>
                    <a:lnTo>
                      <a:pt x="13" y="44"/>
                    </a:lnTo>
                    <a:lnTo>
                      <a:pt x="23" y="42"/>
                    </a:lnTo>
                    <a:lnTo>
                      <a:pt x="36" y="48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6" y="58"/>
                    </a:lnTo>
                    <a:lnTo>
                      <a:pt x="51" y="60"/>
                    </a:lnTo>
                    <a:lnTo>
                      <a:pt x="51" y="67"/>
                    </a:lnTo>
                    <a:lnTo>
                      <a:pt x="61" y="69"/>
                    </a:lnTo>
                    <a:lnTo>
                      <a:pt x="69" y="71"/>
                    </a:lnTo>
                    <a:lnTo>
                      <a:pt x="78" y="71"/>
                    </a:lnTo>
                    <a:lnTo>
                      <a:pt x="78" y="69"/>
                    </a:lnTo>
                    <a:lnTo>
                      <a:pt x="74" y="67"/>
                    </a:lnTo>
                    <a:lnTo>
                      <a:pt x="71" y="67"/>
                    </a:lnTo>
                    <a:lnTo>
                      <a:pt x="69" y="69"/>
                    </a:lnTo>
                    <a:lnTo>
                      <a:pt x="67" y="67"/>
                    </a:lnTo>
                    <a:lnTo>
                      <a:pt x="74" y="64"/>
                    </a:lnTo>
                    <a:lnTo>
                      <a:pt x="72" y="58"/>
                    </a:lnTo>
                    <a:lnTo>
                      <a:pt x="71" y="54"/>
                    </a:lnTo>
                    <a:lnTo>
                      <a:pt x="71" y="52"/>
                    </a:lnTo>
                    <a:lnTo>
                      <a:pt x="63" y="52"/>
                    </a:lnTo>
                    <a:lnTo>
                      <a:pt x="63" y="44"/>
                    </a:lnTo>
                    <a:lnTo>
                      <a:pt x="76" y="37"/>
                    </a:lnTo>
                    <a:lnTo>
                      <a:pt x="82" y="33"/>
                    </a:lnTo>
                    <a:lnTo>
                      <a:pt x="78" y="33"/>
                    </a:lnTo>
                    <a:lnTo>
                      <a:pt x="82" y="27"/>
                    </a:lnTo>
                    <a:lnTo>
                      <a:pt x="86" y="25"/>
                    </a:lnTo>
                    <a:lnTo>
                      <a:pt x="88" y="25"/>
                    </a:lnTo>
                    <a:lnTo>
                      <a:pt x="92" y="23"/>
                    </a:lnTo>
                    <a:lnTo>
                      <a:pt x="94" y="21"/>
                    </a:lnTo>
                    <a:lnTo>
                      <a:pt x="99" y="29"/>
                    </a:lnTo>
                    <a:lnTo>
                      <a:pt x="103" y="39"/>
                    </a:lnTo>
                    <a:lnTo>
                      <a:pt x="109" y="48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0" y="50"/>
                    </a:lnTo>
                    <a:lnTo>
                      <a:pt x="120" y="52"/>
                    </a:lnTo>
                    <a:lnTo>
                      <a:pt x="119" y="56"/>
                    </a:lnTo>
                    <a:lnTo>
                      <a:pt x="117" y="67"/>
                    </a:lnTo>
                    <a:lnTo>
                      <a:pt x="117" y="75"/>
                    </a:lnTo>
                    <a:lnTo>
                      <a:pt x="128" y="87"/>
                    </a:lnTo>
                    <a:lnTo>
                      <a:pt x="132" y="87"/>
                    </a:lnTo>
                    <a:lnTo>
                      <a:pt x="136" y="85"/>
                    </a:lnTo>
                    <a:lnTo>
                      <a:pt x="140" y="87"/>
                    </a:lnTo>
                    <a:lnTo>
                      <a:pt x="143" y="79"/>
                    </a:lnTo>
                    <a:lnTo>
                      <a:pt x="143" y="77"/>
                    </a:lnTo>
                    <a:lnTo>
                      <a:pt x="147" y="71"/>
                    </a:lnTo>
                    <a:lnTo>
                      <a:pt x="149" y="66"/>
                    </a:lnTo>
                    <a:lnTo>
                      <a:pt x="147" y="60"/>
                    </a:lnTo>
                    <a:lnTo>
                      <a:pt x="143" y="56"/>
                    </a:lnTo>
                    <a:lnTo>
                      <a:pt x="143" y="44"/>
                    </a:lnTo>
                    <a:lnTo>
                      <a:pt x="119" y="19"/>
                    </a:lnTo>
                    <a:lnTo>
                      <a:pt x="109" y="6"/>
                    </a:lnTo>
                    <a:lnTo>
                      <a:pt x="90" y="2"/>
                    </a:lnTo>
                    <a:lnTo>
                      <a:pt x="86" y="2"/>
                    </a:lnTo>
                    <a:lnTo>
                      <a:pt x="84" y="10"/>
                    </a:lnTo>
                    <a:lnTo>
                      <a:pt x="82" y="14"/>
                    </a:lnTo>
                    <a:lnTo>
                      <a:pt x="67" y="17"/>
                    </a:lnTo>
                    <a:lnTo>
                      <a:pt x="55" y="19"/>
                    </a:lnTo>
                    <a:lnTo>
                      <a:pt x="40" y="25"/>
                    </a:lnTo>
                    <a:lnTo>
                      <a:pt x="36" y="17"/>
                    </a:lnTo>
                    <a:lnTo>
                      <a:pt x="32" y="17"/>
                    </a:lnTo>
                    <a:lnTo>
                      <a:pt x="30" y="19"/>
                    </a:lnTo>
                    <a:lnTo>
                      <a:pt x="26" y="21"/>
                    </a:lnTo>
                    <a:lnTo>
                      <a:pt x="21" y="21"/>
                    </a:lnTo>
                    <a:lnTo>
                      <a:pt x="15" y="10"/>
                    </a:lnTo>
                    <a:lnTo>
                      <a:pt x="11" y="0"/>
                    </a:lnTo>
                    <a:close/>
                    <a:moveTo>
                      <a:pt x="32" y="67"/>
                    </a:moveTo>
                    <a:lnTo>
                      <a:pt x="36" y="75"/>
                    </a:lnTo>
                    <a:lnTo>
                      <a:pt x="38" y="75"/>
                    </a:lnTo>
                    <a:lnTo>
                      <a:pt x="36" y="71"/>
                    </a:lnTo>
                    <a:lnTo>
                      <a:pt x="32" y="6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8" name="Freeform 96"/>
              <p:cNvSpPr>
                <a:spLocks/>
              </p:cNvSpPr>
              <p:nvPr/>
            </p:nvSpPr>
            <p:spPr bwMode="gray">
              <a:xfrm>
                <a:off x="3794" y="2196"/>
                <a:ext cx="191" cy="215"/>
              </a:xfrm>
              <a:custGeom>
                <a:avLst/>
                <a:gdLst>
                  <a:gd name="T0" fmla="*/ 183 w 382"/>
                  <a:gd name="T1" fmla="*/ 419 h 429"/>
                  <a:gd name="T2" fmla="*/ 202 w 382"/>
                  <a:gd name="T3" fmla="*/ 402 h 429"/>
                  <a:gd name="T4" fmla="*/ 215 w 382"/>
                  <a:gd name="T5" fmla="*/ 381 h 429"/>
                  <a:gd name="T6" fmla="*/ 200 w 382"/>
                  <a:gd name="T7" fmla="*/ 360 h 429"/>
                  <a:gd name="T8" fmla="*/ 194 w 382"/>
                  <a:gd name="T9" fmla="*/ 331 h 429"/>
                  <a:gd name="T10" fmla="*/ 215 w 382"/>
                  <a:gd name="T11" fmla="*/ 306 h 429"/>
                  <a:gd name="T12" fmla="*/ 236 w 382"/>
                  <a:gd name="T13" fmla="*/ 300 h 429"/>
                  <a:gd name="T14" fmla="*/ 256 w 382"/>
                  <a:gd name="T15" fmla="*/ 279 h 429"/>
                  <a:gd name="T16" fmla="*/ 277 w 382"/>
                  <a:gd name="T17" fmla="*/ 260 h 429"/>
                  <a:gd name="T18" fmla="*/ 288 w 382"/>
                  <a:gd name="T19" fmla="*/ 239 h 429"/>
                  <a:gd name="T20" fmla="*/ 304 w 382"/>
                  <a:gd name="T21" fmla="*/ 218 h 429"/>
                  <a:gd name="T22" fmla="*/ 315 w 382"/>
                  <a:gd name="T23" fmla="*/ 191 h 429"/>
                  <a:gd name="T24" fmla="*/ 321 w 382"/>
                  <a:gd name="T25" fmla="*/ 166 h 429"/>
                  <a:gd name="T26" fmla="*/ 300 w 382"/>
                  <a:gd name="T27" fmla="*/ 148 h 429"/>
                  <a:gd name="T28" fmla="*/ 290 w 382"/>
                  <a:gd name="T29" fmla="*/ 120 h 429"/>
                  <a:gd name="T30" fmla="*/ 284 w 382"/>
                  <a:gd name="T31" fmla="*/ 100 h 429"/>
                  <a:gd name="T32" fmla="*/ 306 w 382"/>
                  <a:gd name="T33" fmla="*/ 91 h 429"/>
                  <a:gd name="T34" fmla="*/ 321 w 382"/>
                  <a:gd name="T35" fmla="*/ 91 h 429"/>
                  <a:gd name="T36" fmla="*/ 334 w 382"/>
                  <a:gd name="T37" fmla="*/ 79 h 429"/>
                  <a:gd name="T38" fmla="*/ 363 w 382"/>
                  <a:gd name="T39" fmla="*/ 66 h 429"/>
                  <a:gd name="T40" fmla="*/ 377 w 382"/>
                  <a:gd name="T41" fmla="*/ 50 h 429"/>
                  <a:gd name="T42" fmla="*/ 373 w 382"/>
                  <a:gd name="T43" fmla="*/ 25 h 429"/>
                  <a:gd name="T44" fmla="*/ 338 w 382"/>
                  <a:gd name="T45" fmla="*/ 0 h 429"/>
                  <a:gd name="T46" fmla="*/ 315 w 382"/>
                  <a:gd name="T47" fmla="*/ 6 h 429"/>
                  <a:gd name="T48" fmla="*/ 292 w 382"/>
                  <a:gd name="T49" fmla="*/ 6 h 429"/>
                  <a:gd name="T50" fmla="*/ 259 w 382"/>
                  <a:gd name="T51" fmla="*/ 16 h 429"/>
                  <a:gd name="T52" fmla="*/ 233 w 382"/>
                  <a:gd name="T53" fmla="*/ 47 h 429"/>
                  <a:gd name="T54" fmla="*/ 229 w 382"/>
                  <a:gd name="T55" fmla="*/ 64 h 429"/>
                  <a:gd name="T56" fmla="*/ 211 w 382"/>
                  <a:gd name="T57" fmla="*/ 81 h 429"/>
                  <a:gd name="T58" fmla="*/ 196 w 382"/>
                  <a:gd name="T59" fmla="*/ 89 h 429"/>
                  <a:gd name="T60" fmla="*/ 206 w 382"/>
                  <a:gd name="T61" fmla="*/ 112 h 429"/>
                  <a:gd name="T62" fmla="*/ 194 w 382"/>
                  <a:gd name="T63" fmla="*/ 131 h 429"/>
                  <a:gd name="T64" fmla="*/ 183 w 382"/>
                  <a:gd name="T65" fmla="*/ 145 h 429"/>
                  <a:gd name="T66" fmla="*/ 167 w 382"/>
                  <a:gd name="T67" fmla="*/ 135 h 429"/>
                  <a:gd name="T68" fmla="*/ 148 w 382"/>
                  <a:gd name="T69" fmla="*/ 150 h 429"/>
                  <a:gd name="T70" fmla="*/ 154 w 382"/>
                  <a:gd name="T71" fmla="*/ 168 h 429"/>
                  <a:gd name="T72" fmla="*/ 139 w 382"/>
                  <a:gd name="T73" fmla="*/ 168 h 429"/>
                  <a:gd name="T74" fmla="*/ 110 w 382"/>
                  <a:gd name="T75" fmla="*/ 196 h 429"/>
                  <a:gd name="T76" fmla="*/ 104 w 382"/>
                  <a:gd name="T77" fmla="*/ 220 h 429"/>
                  <a:gd name="T78" fmla="*/ 87 w 382"/>
                  <a:gd name="T79" fmla="*/ 233 h 429"/>
                  <a:gd name="T80" fmla="*/ 52 w 382"/>
                  <a:gd name="T81" fmla="*/ 227 h 429"/>
                  <a:gd name="T82" fmla="*/ 33 w 382"/>
                  <a:gd name="T83" fmla="*/ 233 h 429"/>
                  <a:gd name="T84" fmla="*/ 18 w 382"/>
                  <a:gd name="T85" fmla="*/ 245 h 429"/>
                  <a:gd name="T86" fmla="*/ 18 w 382"/>
                  <a:gd name="T87" fmla="*/ 260 h 429"/>
                  <a:gd name="T88" fmla="*/ 39 w 382"/>
                  <a:gd name="T89" fmla="*/ 277 h 429"/>
                  <a:gd name="T90" fmla="*/ 48 w 382"/>
                  <a:gd name="T91" fmla="*/ 304 h 429"/>
                  <a:gd name="T92" fmla="*/ 60 w 382"/>
                  <a:gd name="T93" fmla="*/ 319 h 429"/>
                  <a:gd name="T94" fmla="*/ 35 w 382"/>
                  <a:gd name="T95" fmla="*/ 331 h 429"/>
                  <a:gd name="T96" fmla="*/ 4 w 382"/>
                  <a:gd name="T97" fmla="*/ 358 h 429"/>
                  <a:gd name="T98" fmla="*/ 35 w 382"/>
                  <a:gd name="T99" fmla="*/ 381 h 429"/>
                  <a:gd name="T100" fmla="*/ 121 w 382"/>
                  <a:gd name="T101" fmla="*/ 373 h 429"/>
                  <a:gd name="T102" fmla="*/ 131 w 382"/>
                  <a:gd name="T103" fmla="*/ 393 h 429"/>
                  <a:gd name="T104" fmla="*/ 129 w 382"/>
                  <a:gd name="T105" fmla="*/ 400 h 429"/>
                  <a:gd name="T106" fmla="*/ 152 w 382"/>
                  <a:gd name="T107" fmla="*/ 404 h 429"/>
                  <a:gd name="T108" fmla="*/ 154 w 382"/>
                  <a:gd name="T109" fmla="*/ 423 h 429"/>
                  <a:gd name="T110" fmla="*/ 173 w 382"/>
                  <a:gd name="T111" fmla="*/ 429 h 429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82"/>
                  <a:gd name="T169" fmla="*/ 0 h 429"/>
                  <a:gd name="T170" fmla="*/ 382 w 382"/>
                  <a:gd name="T171" fmla="*/ 429 h 429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82" h="429">
                    <a:moveTo>
                      <a:pt x="173" y="429"/>
                    </a:moveTo>
                    <a:lnTo>
                      <a:pt x="183" y="419"/>
                    </a:lnTo>
                    <a:lnTo>
                      <a:pt x="187" y="406"/>
                    </a:lnTo>
                    <a:lnTo>
                      <a:pt x="202" y="402"/>
                    </a:lnTo>
                    <a:lnTo>
                      <a:pt x="217" y="394"/>
                    </a:lnTo>
                    <a:lnTo>
                      <a:pt x="215" y="381"/>
                    </a:lnTo>
                    <a:lnTo>
                      <a:pt x="202" y="368"/>
                    </a:lnTo>
                    <a:lnTo>
                      <a:pt x="200" y="360"/>
                    </a:lnTo>
                    <a:lnTo>
                      <a:pt x="210" y="348"/>
                    </a:lnTo>
                    <a:lnTo>
                      <a:pt x="194" y="331"/>
                    </a:lnTo>
                    <a:lnTo>
                      <a:pt x="213" y="316"/>
                    </a:lnTo>
                    <a:lnTo>
                      <a:pt x="215" y="306"/>
                    </a:lnTo>
                    <a:lnTo>
                      <a:pt x="227" y="314"/>
                    </a:lnTo>
                    <a:lnTo>
                      <a:pt x="236" y="300"/>
                    </a:lnTo>
                    <a:lnTo>
                      <a:pt x="246" y="291"/>
                    </a:lnTo>
                    <a:lnTo>
                      <a:pt x="256" y="279"/>
                    </a:lnTo>
                    <a:lnTo>
                      <a:pt x="261" y="268"/>
                    </a:lnTo>
                    <a:lnTo>
                      <a:pt x="277" y="260"/>
                    </a:lnTo>
                    <a:lnTo>
                      <a:pt x="284" y="250"/>
                    </a:lnTo>
                    <a:lnTo>
                      <a:pt x="288" y="239"/>
                    </a:lnTo>
                    <a:lnTo>
                      <a:pt x="300" y="229"/>
                    </a:lnTo>
                    <a:lnTo>
                      <a:pt x="304" y="218"/>
                    </a:lnTo>
                    <a:lnTo>
                      <a:pt x="304" y="200"/>
                    </a:lnTo>
                    <a:lnTo>
                      <a:pt x="315" y="191"/>
                    </a:lnTo>
                    <a:lnTo>
                      <a:pt x="321" y="179"/>
                    </a:lnTo>
                    <a:lnTo>
                      <a:pt x="321" y="166"/>
                    </a:lnTo>
                    <a:lnTo>
                      <a:pt x="309" y="154"/>
                    </a:lnTo>
                    <a:lnTo>
                      <a:pt x="300" y="148"/>
                    </a:lnTo>
                    <a:lnTo>
                      <a:pt x="294" y="141"/>
                    </a:lnTo>
                    <a:lnTo>
                      <a:pt x="290" y="120"/>
                    </a:lnTo>
                    <a:lnTo>
                      <a:pt x="283" y="112"/>
                    </a:lnTo>
                    <a:lnTo>
                      <a:pt x="284" y="100"/>
                    </a:lnTo>
                    <a:lnTo>
                      <a:pt x="296" y="95"/>
                    </a:lnTo>
                    <a:lnTo>
                      <a:pt x="306" y="91"/>
                    </a:lnTo>
                    <a:lnTo>
                      <a:pt x="315" y="95"/>
                    </a:lnTo>
                    <a:lnTo>
                      <a:pt x="321" y="91"/>
                    </a:lnTo>
                    <a:lnTo>
                      <a:pt x="323" y="85"/>
                    </a:lnTo>
                    <a:lnTo>
                      <a:pt x="334" y="79"/>
                    </a:lnTo>
                    <a:lnTo>
                      <a:pt x="352" y="75"/>
                    </a:lnTo>
                    <a:lnTo>
                      <a:pt x="363" y="66"/>
                    </a:lnTo>
                    <a:lnTo>
                      <a:pt x="369" y="58"/>
                    </a:lnTo>
                    <a:lnTo>
                      <a:pt x="377" y="50"/>
                    </a:lnTo>
                    <a:lnTo>
                      <a:pt x="382" y="35"/>
                    </a:lnTo>
                    <a:lnTo>
                      <a:pt x="373" y="25"/>
                    </a:lnTo>
                    <a:lnTo>
                      <a:pt x="367" y="18"/>
                    </a:lnTo>
                    <a:lnTo>
                      <a:pt x="338" y="0"/>
                    </a:lnTo>
                    <a:lnTo>
                      <a:pt x="321" y="0"/>
                    </a:lnTo>
                    <a:lnTo>
                      <a:pt x="315" y="6"/>
                    </a:lnTo>
                    <a:lnTo>
                      <a:pt x="307" y="8"/>
                    </a:lnTo>
                    <a:lnTo>
                      <a:pt x="292" y="6"/>
                    </a:lnTo>
                    <a:lnTo>
                      <a:pt x="275" y="12"/>
                    </a:lnTo>
                    <a:lnTo>
                      <a:pt x="259" y="16"/>
                    </a:lnTo>
                    <a:lnTo>
                      <a:pt x="231" y="33"/>
                    </a:lnTo>
                    <a:lnTo>
                      <a:pt x="233" y="47"/>
                    </a:lnTo>
                    <a:lnTo>
                      <a:pt x="223" y="54"/>
                    </a:lnTo>
                    <a:lnTo>
                      <a:pt x="229" y="64"/>
                    </a:lnTo>
                    <a:lnTo>
                      <a:pt x="225" y="79"/>
                    </a:lnTo>
                    <a:lnTo>
                      <a:pt x="211" y="81"/>
                    </a:lnTo>
                    <a:lnTo>
                      <a:pt x="202" y="79"/>
                    </a:lnTo>
                    <a:lnTo>
                      <a:pt x="196" y="89"/>
                    </a:lnTo>
                    <a:lnTo>
                      <a:pt x="206" y="98"/>
                    </a:lnTo>
                    <a:lnTo>
                      <a:pt x="206" y="112"/>
                    </a:lnTo>
                    <a:lnTo>
                      <a:pt x="194" y="122"/>
                    </a:lnTo>
                    <a:lnTo>
                      <a:pt x="194" y="131"/>
                    </a:lnTo>
                    <a:lnTo>
                      <a:pt x="192" y="141"/>
                    </a:lnTo>
                    <a:lnTo>
                      <a:pt x="183" y="145"/>
                    </a:lnTo>
                    <a:lnTo>
                      <a:pt x="171" y="141"/>
                    </a:lnTo>
                    <a:lnTo>
                      <a:pt x="167" y="135"/>
                    </a:lnTo>
                    <a:lnTo>
                      <a:pt x="162" y="143"/>
                    </a:lnTo>
                    <a:lnTo>
                      <a:pt x="148" y="150"/>
                    </a:lnTo>
                    <a:lnTo>
                      <a:pt x="158" y="160"/>
                    </a:lnTo>
                    <a:lnTo>
                      <a:pt x="154" y="168"/>
                    </a:lnTo>
                    <a:lnTo>
                      <a:pt x="146" y="172"/>
                    </a:lnTo>
                    <a:lnTo>
                      <a:pt x="139" y="168"/>
                    </a:lnTo>
                    <a:lnTo>
                      <a:pt x="121" y="191"/>
                    </a:lnTo>
                    <a:lnTo>
                      <a:pt x="110" y="196"/>
                    </a:lnTo>
                    <a:lnTo>
                      <a:pt x="106" y="208"/>
                    </a:lnTo>
                    <a:lnTo>
                      <a:pt x="104" y="220"/>
                    </a:lnTo>
                    <a:lnTo>
                      <a:pt x="91" y="221"/>
                    </a:lnTo>
                    <a:lnTo>
                      <a:pt x="87" y="233"/>
                    </a:lnTo>
                    <a:lnTo>
                      <a:pt x="75" y="227"/>
                    </a:lnTo>
                    <a:lnTo>
                      <a:pt x="52" y="227"/>
                    </a:lnTo>
                    <a:lnTo>
                      <a:pt x="43" y="229"/>
                    </a:lnTo>
                    <a:lnTo>
                      <a:pt x="33" y="233"/>
                    </a:lnTo>
                    <a:lnTo>
                      <a:pt x="8" y="218"/>
                    </a:lnTo>
                    <a:lnTo>
                      <a:pt x="18" y="245"/>
                    </a:lnTo>
                    <a:lnTo>
                      <a:pt x="14" y="250"/>
                    </a:lnTo>
                    <a:lnTo>
                      <a:pt x="18" y="260"/>
                    </a:lnTo>
                    <a:lnTo>
                      <a:pt x="29" y="275"/>
                    </a:lnTo>
                    <a:lnTo>
                      <a:pt x="39" y="277"/>
                    </a:lnTo>
                    <a:lnTo>
                      <a:pt x="48" y="289"/>
                    </a:lnTo>
                    <a:lnTo>
                      <a:pt x="48" y="304"/>
                    </a:lnTo>
                    <a:lnTo>
                      <a:pt x="60" y="310"/>
                    </a:lnTo>
                    <a:lnTo>
                      <a:pt x="60" y="319"/>
                    </a:lnTo>
                    <a:lnTo>
                      <a:pt x="50" y="327"/>
                    </a:lnTo>
                    <a:lnTo>
                      <a:pt x="35" y="331"/>
                    </a:lnTo>
                    <a:lnTo>
                      <a:pt x="21" y="337"/>
                    </a:lnTo>
                    <a:lnTo>
                      <a:pt x="4" y="358"/>
                    </a:lnTo>
                    <a:lnTo>
                      <a:pt x="0" y="385"/>
                    </a:lnTo>
                    <a:lnTo>
                      <a:pt x="35" y="381"/>
                    </a:lnTo>
                    <a:lnTo>
                      <a:pt x="83" y="371"/>
                    </a:lnTo>
                    <a:lnTo>
                      <a:pt x="121" y="373"/>
                    </a:lnTo>
                    <a:lnTo>
                      <a:pt x="133" y="389"/>
                    </a:lnTo>
                    <a:lnTo>
                      <a:pt x="131" y="393"/>
                    </a:lnTo>
                    <a:lnTo>
                      <a:pt x="127" y="396"/>
                    </a:lnTo>
                    <a:lnTo>
                      <a:pt x="129" y="400"/>
                    </a:lnTo>
                    <a:lnTo>
                      <a:pt x="144" y="400"/>
                    </a:lnTo>
                    <a:lnTo>
                      <a:pt x="152" y="404"/>
                    </a:lnTo>
                    <a:lnTo>
                      <a:pt x="154" y="406"/>
                    </a:lnTo>
                    <a:lnTo>
                      <a:pt x="154" y="423"/>
                    </a:lnTo>
                    <a:lnTo>
                      <a:pt x="156" y="423"/>
                    </a:lnTo>
                    <a:lnTo>
                      <a:pt x="173" y="429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09" name="Freeform 97"/>
              <p:cNvSpPr>
                <a:spLocks noEditPoints="1"/>
              </p:cNvSpPr>
              <p:nvPr/>
            </p:nvSpPr>
            <p:spPr bwMode="gray">
              <a:xfrm>
                <a:off x="3677" y="2371"/>
                <a:ext cx="97" cy="149"/>
              </a:xfrm>
              <a:custGeom>
                <a:avLst/>
                <a:gdLst>
                  <a:gd name="T0" fmla="*/ 100 w 194"/>
                  <a:gd name="T1" fmla="*/ 21 h 298"/>
                  <a:gd name="T2" fmla="*/ 96 w 194"/>
                  <a:gd name="T3" fmla="*/ 12 h 298"/>
                  <a:gd name="T4" fmla="*/ 106 w 194"/>
                  <a:gd name="T5" fmla="*/ 0 h 298"/>
                  <a:gd name="T6" fmla="*/ 108 w 194"/>
                  <a:gd name="T7" fmla="*/ 19 h 298"/>
                  <a:gd name="T8" fmla="*/ 41 w 194"/>
                  <a:gd name="T9" fmla="*/ 298 h 298"/>
                  <a:gd name="T10" fmla="*/ 44 w 194"/>
                  <a:gd name="T11" fmla="*/ 296 h 298"/>
                  <a:gd name="T12" fmla="*/ 50 w 194"/>
                  <a:gd name="T13" fmla="*/ 292 h 298"/>
                  <a:gd name="T14" fmla="*/ 60 w 194"/>
                  <a:gd name="T15" fmla="*/ 285 h 298"/>
                  <a:gd name="T16" fmla="*/ 67 w 194"/>
                  <a:gd name="T17" fmla="*/ 287 h 298"/>
                  <a:gd name="T18" fmla="*/ 79 w 194"/>
                  <a:gd name="T19" fmla="*/ 277 h 298"/>
                  <a:gd name="T20" fmla="*/ 87 w 194"/>
                  <a:gd name="T21" fmla="*/ 262 h 298"/>
                  <a:gd name="T22" fmla="*/ 102 w 194"/>
                  <a:gd name="T23" fmla="*/ 262 h 298"/>
                  <a:gd name="T24" fmla="*/ 119 w 194"/>
                  <a:gd name="T25" fmla="*/ 244 h 298"/>
                  <a:gd name="T26" fmla="*/ 148 w 194"/>
                  <a:gd name="T27" fmla="*/ 231 h 298"/>
                  <a:gd name="T28" fmla="*/ 148 w 194"/>
                  <a:gd name="T29" fmla="*/ 202 h 298"/>
                  <a:gd name="T30" fmla="*/ 163 w 194"/>
                  <a:gd name="T31" fmla="*/ 189 h 298"/>
                  <a:gd name="T32" fmla="*/ 167 w 194"/>
                  <a:gd name="T33" fmla="*/ 167 h 298"/>
                  <a:gd name="T34" fmla="*/ 181 w 194"/>
                  <a:gd name="T35" fmla="*/ 146 h 298"/>
                  <a:gd name="T36" fmla="*/ 194 w 194"/>
                  <a:gd name="T37" fmla="*/ 112 h 298"/>
                  <a:gd name="T38" fmla="*/ 186 w 194"/>
                  <a:gd name="T39" fmla="*/ 110 h 298"/>
                  <a:gd name="T40" fmla="*/ 179 w 194"/>
                  <a:gd name="T41" fmla="*/ 100 h 298"/>
                  <a:gd name="T42" fmla="*/ 171 w 194"/>
                  <a:gd name="T43" fmla="*/ 77 h 298"/>
                  <a:gd name="T44" fmla="*/ 150 w 194"/>
                  <a:gd name="T45" fmla="*/ 69 h 298"/>
                  <a:gd name="T46" fmla="*/ 129 w 194"/>
                  <a:gd name="T47" fmla="*/ 56 h 298"/>
                  <a:gd name="T48" fmla="*/ 113 w 194"/>
                  <a:gd name="T49" fmla="*/ 31 h 298"/>
                  <a:gd name="T50" fmla="*/ 108 w 194"/>
                  <a:gd name="T51" fmla="*/ 35 h 298"/>
                  <a:gd name="T52" fmla="*/ 100 w 194"/>
                  <a:gd name="T53" fmla="*/ 41 h 298"/>
                  <a:gd name="T54" fmla="*/ 94 w 194"/>
                  <a:gd name="T55" fmla="*/ 41 h 298"/>
                  <a:gd name="T56" fmla="*/ 98 w 194"/>
                  <a:gd name="T57" fmla="*/ 46 h 298"/>
                  <a:gd name="T58" fmla="*/ 88 w 194"/>
                  <a:gd name="T59" fmla="*/ 58 h 298"/>
                  <a:gd name="T60" fmla="*/ 92 w 194"/>
                  <a:gd name="T61" fmla="*/ 62 h 298"/>
                  <a:gd name="T62" fmla="*/ 92 w 194"/>
                  <a:gd name="T63" fmla="*/ 71 h 298"/>
                  <a:gd name="T64" fmla="*/ 85 w 194"/>
                  <a:gd name="T65" fmla="*/ 89 h 298"/>
                  <a:gd name="T66" fmla="*/ 83 w 194"/>
                  <a:gd name="T67" fmla="*/ 100 h 298"/>
                  <a:gd name="T68" fmla="*/ 96 w 194"/>
                  <a:gd name="T69" fmla="*/ 142 h 298"/>
                  <a:gd name="T70" fmla="*/ 83 w 194"/>
                  <a:gd name="T71" fmla="*/ 194 h 298"/>
                  <a:gd name="T72" fmla="*/ 2 w 194"/>
                  <a:gd name="T73" fmla="*/ 229 h 298"/>
                  <a:gd name="T74" fmla="*/ 25 w 194"/>
                  <a:gd name="T75" fmla="*/ 285 h 29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4"/>
                  <a:gd name="T115" fmla="*/ 0 h 298"/>
                  <a:gd name="T116" fmla="*/ 194 w 194"/>
                  <a:gd name="T117" fmla="*/ 298 h 29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4" h="298">
                    <a:moveTo>
                      <a:pt x="112" y="27"/>
                    </a:moveTo>
                    <a:lnTo>
                      <a:pt x="100" y="21"/>
                    </a:lnTo>
                    <a:lnTo>
                      <a:pt x="102" y="14"/>
                    </a:lnTo>
                    <a:lnTo>
                      <a:pt x="96" y="12"/>
                    </a:lnTo>
                    <a:lnTo>
                      <a:pt x="102" y="6"/>
                    </a:lnTo>
                    <a:lnTo>
                      <a:pt x="106" y="0"/>
                    </a:lnTo>
                    <a:lnTo>
                      <a:pt x="106" y="10"/>
                    </a:lnTo>
                    <a:lnTo>
                      <a:pt x="108" y="19"/>
                    </a:lnTo>
                    <a:lnTo>
                      <a:pt x="112" y="27"/>
                    </a:lnTo>
                    <a:close/>
                    <a:moveTo>
                      <a:pt x="41" y="298"/>
                    </a:moveTo>
                    <a:lnTo>
                      <a:pt x="42" y="298"/>
                    </a:lnTo>
                    <a:lnTo>
                      <a:pt x="44" y="296"/>
                    </a:lnTo>
                    <a:lnTo>
                      <a:pt x="48" y="296"/>
                    </a:lnTo>
                    <a:lnTo>
                      <a:pt x="50" y="292"/>
                    </a:lnTo>
                    <a:lnTo>
                      <a:pt x="54" y="287"/>
                    </a:lnTo>
                    <a:lnTo>
                      <a:pt x="60" y="285"/>
                    </a:lnTo>
                    <a:lnTo>
                      <a:pt x="64" y="285"/>
                    </a:lnTo>
                    <a:lnTo>
                      <a:pt x="67" y="287"/>
                    </a:lnTo>
                    <a:lnTo>
                      <a:pt x="75" y="285"/>
                    </a:lnTo>
                    <a:lnTo>
                      <a:pt x="79" y="277"/>
                    </a:lnTo>
                    <a:lnTo>
                      <a:pt x="81" y="267"/>
                    </a:lnTo>
                    <a:lnTo>
                      <a:pt x="87" y="262"/>
                    </a:lnTo>
                    <a:lnTo>
                      <a:pt x="92" y="260"/>
                    </a:lnTo>
                    <a:lnTo>
                      <a:pt x="102" y="262"/>
                    </a:lnTo>
                    <a:lnTo>
                      <a:pt x="110" y="262"/>
                    </a:lnTo>
                    <a:lnTo>
                      <a:pt x="119" y="244"/>
                    </a:lnTo>
                    <a:lnTo>
                      <a:pt x="127" y="239"/>
                    </a:lnTo>
                    <a:lnTo>
                      <a:pt x="148" y="231"/>
                    </a:lnTo>
                    <a:lnTo>
                      <a:pt x="144" y="219"/>
                    </a:lnTo>
                    <a:lnTo>
                      <a:pt x="148" y="202"/>
                    </a:lnTo>
                    <a:lnTo>
                      <a:pt x="152" y="189"/>
                    </a:lnTo>
                    <a:lnTo>
                      <a:pt x="163" y="189"/>
                    </a:lnTo>
                    <a:lnTo>
                      <a:pt x="165" y="179"/>
                    </a:lnTo>
                    <a:lnTo>
                      <a:pt x="167" y="167"/>
                    </a:lnTo>
                    <a:lnTo>
                      <a:pt x="171" y="158"/>
                    </a:lnTo>
                    <a:lnTo>
                      <a:pt x="181" y="146"/>
                    </a:lnTo>
                    <a:lnTo>
                      <a:pt x="190" y="131"/>
                    </a:lnTo>
                    <a:lnTo>
                      <a:pt x="194" y="112"/>
                    </a:lnTo>
                    <a:lnTo>
                      <a:pt x="190" y="110"/>
                    </a:lnTo>
                    <a:lnTo>
                      <a:pt x="186" y="110"/>
                    </a:lnTo>
                    <a:lnTo>
                      <a:pt x="183" y="108"/>
                    </a:lnTo>
                    <a:lnTo>
                      <a:pt x="179" y="100"/>
                    </a:lnTo>
                    <a:lnTo>
                      <a:pt x="175" y="87"/>
                    </a:lnTo>
                    <a:lnTo>
                      <a:pt x="171" y="77"/>
                    </a:lnTo>
                    <a:lnTo>
                      <a:pt x="161" y="71"/>
                    </a:lnTo>
                    <a:lnTo>
                      <a:pt x="150" y="69"/>
                    </a:lnTo>
                    <a:lnTo>
                      <a:pt x="140" y="66"/>
                    </a:lnTo>
                    <a:lnTo>
                      <a:pt x="129" y="56"/>
                    </a:lnTo>
                    <a:lnTo>
                      <a:pt x="119" y="44"/>
                    </a:lnTo>
                    <a:lnTo>
                      <a:pt x="113" y="31"/>
                    </a:lnTo>
                    <a:lnTo>
                      <a:pt x="112" y="33"/>
                    </a:lnTo>
                    <a:lnTo>
                      <a:pt x="108" y="35"/>
                    </a:lnTo>
                    <a:lnTo>
                      <a:pt x="104" y="39"/>
                    </a:lnTo>
                    <a:lnTo>
                      <a:pt x="100" y="41"/>
                    </a:lnTo>
                    <a:lnTo>
                      <a:pt x="96" y="39"/>
                    </a:lnTo>
                    <a:lnTo>
                      <a:pt x="94" y="41"/>
                    </a:lnTo>
                    <a:lnTo>
                      <a:pt x="94" y="44"/>
                    </a:lnTo>
                    <a:lnTo>
                      <a:pt x="98" y="46"/>
                    </a:lnTo>
                    <a:lnTo>
                      <a:pt x="98" y="48"/>
                    </a:lnTo>
                    <a:lnTo>
                      <a:pt x="88" y="58"/>
                    </a:lnTo>
                    <a:lnTo>
                      <a:pt x="88" y="62"/>
                    </a:lnTo>
                    <a:lnTo>
                      <a:pt x="92" y="62"/>
                    </a:lnTo>
                    <a:lnTo>
                      <a:pt x="94" y="64"/>
                    </a:lnTo>
                    <a:lnTo>
                      <a:pt x="92" y="71"/>
                    </a:lnTo>
                    <a:lnTo>
                      <a:pt x="88" y="81"/>
                    </a:lnTo>
                    <a:lnTo>
                      <a:pt x="85" y="89"/>
                    </a:lnTo>
                    <a:lnTo>
                      <a:pt x="83" y="96"/>
                    </a:lnTo>
                    <a:lnTo>
                      <a:pt x="83" y="100"/>
                    </a:lnTo>
                    <a:lnTo>
                      <a:pt x="100" y="121"/>
                    </a:lnTo>
                    <a:lnTo>
                      <a:pt x="96" y="142"/>
                    </a:lnTo>
                    <a:lnTo>
                      <a:pt x="88" y="175"/>
                    </a:lnTo>
                    <a:lnTo>
                      <a:pt x="83" y="194"/>
                    </a:lnTo>
                    <a:lnTo>
                      <a:pt x="54" y="206"/>
                    </a:lnTo>
                    <a:lnTo>
                      <a:pt x="2" y="229"/>
                    </a:lnTo>
                    <a:lnTo>
                      <a:pt x="0" y="239"/>
                    </a:lnTo>
                    <a:lnTo>
                      <a:pt x="25" y="285"/>
                    </a:lnTo>
                    <a:lnTo>
                      <a:pt x="41" y="29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0" name="Freeform 98"/>
              <p:cNvSpPr>
                <a:spLocks/>
              </p:cNvSpPr>
              <p:nvPr/>
            </p:nvSpPr>
            <p:spPr bwMode="gray">
              <a:xfrm>
                <a:off x="3261" y="1272"/>
                <a:ext cx="117" cy="49"/>
              </a:xfrm>
              <a:custGeom>
                <a:avLst/>
                <a:gdLst>
                  <a:gd name="T0" fmla="*/ 42 w 234"/>
                  <a:gd name="T1" fmla="*/ 11 h 98"/>
                  <a:gd name="T2" fmla="*/ 46 w 234"/>
                  <a:gd name="T3" fmla="*/ 17 h 98"/>
                  <a:gd name="T4" fmla="*/ 35 w 234"/>
                  <a:gd name="T5" fmla="*/ 19 h 98"/>
                  <a:gd name="T6" fmla="*/ 0 w 234"/>
                  <a:gd name="T7" fmla="*/ 23 h 98"/>
                  <a:gd name="T8" fmla="*/ 8 w 234"/>
                  <a:gd name="T9" fmla="*/ 32 h 98"/>
                  <a:gd name="T10" fmla="*/ 23 w 234"/>
                  <a:gd name="T11" fmla="*/ 34 h 98"/>
                  <a:gd name="T12" fmla="*/ 17 w 234"/>
                  <a:gd name="T13" fmla="*/ 42 h 98"/>
                  <a:gd name="T14" fmla="*/ 10 w 234"/>
                  <a:gd name="T15" fmla="*/ 50 h 98"/>
                  <a:gd name="T16" fmla="*/ 12 w 234"/>
                  <a:gd name="T17" fmla="*/ 57 h 98"/>
                  <a:gd name="T18" fmla="*/ 54 w 234"/>
                  <a:gd name="T19" fmla="*/ 56 h 98"/>
                  <a:gd name="T20" fmla="*/ 77 w 234"/>
                  <a:gd name="T21" fmla="*/ 56 h 98"/>
                  <a:gd name="T22" fmla="*/ 77 w 234"/>
                  <a:gd name="T23" fmla="*/ 65 h 98"/>
                  <a:gd name="T24" fmla="*/ 56 w 234"/>
                  <a:gd name="T25" fmla="*/ 69 h 98"/>
                  <a:gd name="T26" fmla="*/ 39 w 234"/>
                  <a:gd name="T27" fmla="*/ 65 h 98"/>
                  <a:gd name="T28" fmla="*/ 31 w 234"/>
                  <a:gd name="T29" fmla="*/ 77 h 98"/>
                  <a:gd name="T30" fmla="*/ 67 w 234"/>
                  <a:gd name="T31" fmla="*/ 80 h 98"/>
                  <a:gd name="T32" fmla="*/ 96 w 234"/>
                  <a:gd name="T33" fmla="*/ 92 h 98"/>
                  <a:gd name="T34" fmla="*/ 104 w 234"/>
                  <a:gd name="T35" fmla="*/ 90 h 98"/>
                  <a:gd name="T36" fmla="*/ 146 w 234"/>
                  <a:gd name="T37" fmla="*/ 98 h 98"/>
                  <a:gd name="T38" fmla="*/ 173 w 234"/>
                  <a:gd name="T39" fmla="*/ 90 h 98"/>
                  <a:gd name="T40" fmla="*/ 181 w 234"/>
                  <a:gd name="T41" fmla="*/ 79 h 98"/>
                  <a:gd name="T42" fmla="*/ 200 w 234"/>
                  <a:gd name="T43" fmla="*/ 77 h 98"/>
                  <a:gd name="T44" fmla="*/ 202 w 234"/>
                  <a:gd name="T45" fmla="*/ 65 h 98"/>
                  <a:gd name="T46" fmla="*/ 215 w 234"/>
                  <a:gd name="T47" fmla="*/ 61 h 98"/>
                  <a:gd name="T48" fmla="*/ 229 w 234"/>
                  <a:gd name="T49" fmla="*/ 44 h 98"/>
                  <a:gd name="T50" fmla="*/ 221 w 234"/>
                  <a:gd name="T51" fmla="*/ 34 h 98"/>
                  <a:gd name="T52" fmla="*/ 196 w 234"/>
                  <a:gd name="T53" fmla="*/ 31 h 98"/>
                  <a:gd name="T54" fmla="*/ 198 w 234"/>
                  <a:gd name="T55" fmla="*/ 25 h 98"/>
                  <a:gd name="T56" fmla="*/ 194 w 234"/>
                  <a:gd name="T57" fmla="*/ 23 h 98"/>
                  <a:gd name="T58" fmla="*/ 188 w 234"/>
                  <a:gd name="T59" fmla="*/ 31 h 98"/>
                  <a:gd name="T60" fmla="*/ 181 w 234"/>
                  <a:gd name="T61" fmla="*/ 25 h 98"/>
                  <a:gd name="T62" fmla="*/ 184 w 234"/>
                  <a:gd name="T63" fmla="*/ 19 h 98"/>
                  <a:gd name="T64" fmla="*/ 165 w 234"/>
                  <a:gd name="T65" fmla="*/ 31 h 98"/>
                  <a:gd name="T66" fmla="*/ 150 w 234"/>
                  <a:gd name="T67" fmla="*/ 34 h 98"/>
                  <a:gd name="T68" fmla="*/ 154 w 234"/>
                  <a:gd name="T69" fmla="*/ 23 h 98"/>
                  <a:gd name="T70" fmla="*/ 146 w 234"/>
                  <a:gd name="T71" fmla="*/ 31 h 98"/>
                  <a:gd name="T72" fmla="*/ 138 w 234"/>
                  <a:gd name="T73" fmla="*/ 25 h 98"/>
                  <a:gd name="T74" fmla="*/ 133 w 234"/>
                  <a:gd name="T75" fmla="*/ 27 h 98"/>
                  <a:gd name="T76" fmla="*/ 131 w 234"/>
                  <a:gd name="T77" fmla="*/ 38 h 98"/>
                  <a:gd name="T78" fmla="*/ 113 w 234"/>
                  <a:gd name="T79" fmla="*/ 32 h 98"/>
                  <a:gd name="T80" fmla="*/ 102 w 234"/>
                  <a:gd name="T81" fmla="*/ 29 h 98"/>
                  <a:gd name="T82" fmla="*/ 100 w 234"/>
                  <a:gd name="T83" fmla="*/ 23 h 98"/>
                  <a:gd name="T84" fmla="*/ 73 w 234"/>
                  <a:gd name="T85" fmla="*/ 19 h 98"/>
                  <a:gd name="T86" fmla="*/ 52 w 234"/>
                  <a:gd name="T87" fmla="*/ 4 h 9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34"/>
                  <a:gd name="T133" fmla="*/ 0 h 98"/>
                  <a:gd name="T134" fmla="*/ 234 w 234"/>
                  <a:gd name="T135" fmla="*/ 98 h 9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34" h="98">
                    <a:moveTo>
                      <a:pt x="42" y="0"/>
                    </a:moveTo>
                    <a:lnTo>
                      <a:pt x="42" y="11"/>
                    </a:lnTo>
                    <a:lnTo>
                      <a:pt x="44" y="15"/>
                    </a:lnTo>
                    <a:lnTo>
                      <a:pt x="46" y="17"/>
                    </a:lnTo>
                    <a:lnTo>
                      <a:pt x="46" y="19"/>
                    </a:lnTo>
                    <a:lnTo>
                      <a:pt x="35" y="19"/>
                    </a:lnTo>
                    <a:lnTo>
                      <a:pt x="35" y="34"/>
                    </a:lnTo>
                    <a:lnTo>
                      <a:pt x="0" y="23"/>
                    </a:lnTo>
                    <a:lnTo>
                      <a:pt x="0" y="31"/>
                    </a:lnTo>
                    <a:lnTo>
                      <a:pt x="8" y="32"/>
                    </a:lnTo>
                    <a:lnTo>
                      <a:pt x="15" y="32"/>
                    </a:lnTo>
                    <a:lnTo>
                      <a:pt x="23" y="34"/>
                    </a:lnTo>
                    <a:lnTo>
                      <a:pt x="19" y="42"/>
                    </a:lnTo>
                    <a:lnTo>
                      <a:pt x="17" y="42"/>
                    </a:lnTo>
                    <a:lnTo>
                      <a:pt x="12" y="46"/>
                    </a:lnTo>
                    <a:lnTo>
                      <a:pt x="10" y="50"/>
                    </a:lnTo>
                    <a:lnTo>
                      <a:pt x="12" y="54"/>
                    </a:lnTo>
                    <a:lnTo>
                      <a:pt x="12" y="57"/>
                    </a:lnTo>
                    <a:lnTo>
                      <a:pt x="33" y="57"/>
                    </a:lnTo>
                    <a:lnTo>
                      <a:pt x="54" y="56"/>
                    </a:lnTo>
                    <a:lnTo>
                      <a:pt x="77" y="54"/>
                    </a:lnTo>
                    <a:lnTo>
                      <a:pt x="77" y="56"/>
                    </a:lnTo>
                    <a:lnTo>
                      <a:pt x="79" y="61"/>
                    </a:lnTo>
                    <a:lnTo>
                      <a:pt x="77" y="65"/>
                    </a:lnTo>
                    <a:lnTo>
                      <a:pt x="67" y="67"/>
                    </a:lnTo>
                    <a:lnTo>
                      <a:pt x="56" y="69"/>
                    </a:lnTo>
                    <a:lnTo>
                      <a:pt x="50" y="69"/>
                    </a:lnTo>
                    <a:lnTo>
                      <a:pt x="39" y="65"/>
                    </a:lnTo>
                    <a:lnTo>
                      <a:pt x="35" y="65"/>
                    </a:lnTo>
                    <a:lnTo>
                      <a:pt x="31" y="77"/>
                    </a:lnTo>
                    <a:lnTo>
                      <a:pt x="50" y="80"/>
                    </a:lnTo>
                    <a:lnTo>
                      <a:pt x="67" y="80"/>
                    </a:lnTo>
                    <a:lnTo>
                      <a:pt x="88" y="84"/>
                    </a:lnTo>
                    <a:lnTo>
                      <a:pt x="96" y="92"/>
                    </a:lnTo>
                    <a:lnTo>
                      <a:pt x="102" y="92"/>
                    </a:lnTo>
                    <a:lnTo>
                      <a:pt x="104" y="90"/>
                    </a:lnTo>
                    <a:lnTo>
                      <a:pt x="108" y="88"/>
                    </a:lnTo>
                    <a:lnTo>
                      <a:pt x="146" y="98"/>
                    </a:lnTo>
                    <a:lnTo>
                      <a:pt x="169" y="96"/>
                    </a:lnTo>
                    <a:lnTo>
                      <a:pt x="173" y="90"/>
                    </a:lnTo>
                    <a:lnTo>
                      <a:pt x="173" y="80"/>
                    </a:lnTo>
                    <a:lnTo>
                      <a:pt x="181" y="79"/>
                    </a:lnTo>
                    <a:lnTo>
                      <a:pt x="190" y="79"/>
                    </a:lnTo>
                    <a:lnTo>
                      <a:pt x="200" y="77"/>
                    </a:lnTo>
                    <a:lnTo>
                      <a:pt x="202" y="73"/>
                    </a:lnTo>
                    <a:lnTo>
                      <a:pt x="202" y="65"/>
                    </a:lnTo>
                    <a:lnTo>
                      <a:pt x="200" y="61"/>
                    </a:lnTo>
                    <a:lnTo>
                      <a:pt x="215" y="61"/>
                    </a:lnTo>
                    <a:lnTo>
                      <a:pt x="221" y="54"/>
                    </a:lnTo>
                    <a:lnTo>
                      <a:pt x="229" y="44"/>
                    </a:lnTo>
                    <a:lnTo>
                      <a:pt x="234" y="34"/>
                    </a:lnTo>
                    <a:lnTo>
                      <a:pt x="221" y="34"/>
                    </a:lnTo>
                    <a:lnTo>
                      <a:pt x="209" y="32"/>
                    </a:lnTo>
                    <a:lnTo>
                      <a:pt x="196" y="31"/>
                    </a:lnTo>
                    <a:lnTo>
                      <a:pt x="196" y="29"/>
                    </a:lnTo>
                    <a:lnTo>
                      <a:pt x="198" y="25"/>
                    </a:lnTo>
                    <a:lnTo>
                      <a:pt x="200" y="23"/>
                    </a:lnTo>
                    <a:lnTo>
                      <a:pt x="194" y="23"/>
                    </a:lnTo>
                    <a:lnTo>
                      <a:pt x="190" y="27"/>
                    </a:lnTo>
                    <a:lnTo>
                      <a:pt x="188" y="31"/>
                    </a:lnTo>
                    <a:lnTo>
                      <a:pt x="177" y="27"/>
                    </a:lnTo>
                    <a:lnTo>
                      <a:pt x="181" y="25"/>
                    </a:lnTo>
                    <a:lnTo>
                      <a:pt x="181" y="23"/>
                    </a:lnTo>
                    <a:lnTo>
                      <a:pt x="184" y="19"/>
                    </a:lnTo>
                    <a:lnTo>
                      <a:pt x="177" y="23"/>
                    </a:lnTo>
                    <a:lnTo>
                      <a:pt x="165" y="31"/>
                    </a:lnTo>
                    <a:lnTo>
                      <a:pt x="158" y="34"/>
                    </a:lnTo>
                    <a:lnTo>
                      <a:pt x="150" y="34"/>
                    </a:lnTo>
                    <a:lnTo>
                      <a:pt x="154" y="27"/>
                    </a:lnTo>
                    <a:lnTo>
                      <a:pt x="154" y="23"/>
                    </a:lnTo>
                    <a:lnTo>
                      <a:pt x="146" y="11"/>
                    </a:lnTo>
                    <a:lnTo>
                      <a:pt x="146" y="31"/>
                    </a:lnTo>
                    <a:lnTo>
                      <a:pt x="140" y="29"/>
                    </a:lnTo>
                    <a:lnTo>
                      <a:pt x="138" y="25"/>
                    </a:lnTo>
                    <a:lnTo>
                      <a:pt x="134" y="23"/>
                    </a:lnTo>
                    <a:lnTo>
                      <a:pt x="133" y="27"/>
                    </a:lnTo>
                    <a:lnTo>
                      <a:pt x="131" y="32"/>
                    </a:lnTo>
                    <a:lnTo>
                      <a:pt x="131" y="38"/>
                    </a:lnTo>
                    <a:lnTo>
                      <a:pt x="121" y="36"/>
                    </a:lnTo>
                    <a:lnTo>
                      <a:pt x="113" y="32"/>
                    </a:lnTo>
                    <a:lnTo>
                      <a:pt x="104" y="31"/>
                    </a:lnTo>
                    <a:lnTo>
                      <a:pt x="102" y="29"/>
                    </a:lnTo>
                    <a:lnTo>
                      <a:pt x="100" y="25"/>
                    </a:lnTo>
                    <a:lnTo>
                      <a:pt x="100" y="23"/>
                    </a:lnTo>
                    <a:lnTo>
                      <a:pt x="83" y="23"/>
                    </a:lnTo>
                    <a:lnTo>
                      <a:pt x="73" y="19"/>
                    </a:lnTo>
                    <a:lnTo>
                      <a:pt x="65" y="13"/>
                    </a:lnTo>
                    <a:lnTo>
                      <a:pt x="52" y="4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1" name="Freeform 99"/>
              <p:cNvSpPr>
                <a:spLocks/>
              </p:cNvSpPr>
              <p:nvPr/>
            </p:nvSpPr>
            <p:spPr bwMode="gray">
              <a:xfrm>
                <a:off x="3180" y="1287"/>
                <a:ext cx="108" cy="100"/>
              </a:xfrm>
              <a:custGeom>
                <a:avLst/>
                <a:gdLst>
                  <a:gd name="T0" fmla="*/ 90 w 215"/>
                  <a:gd name="T1" fmla="*/ 34 h 199"/>
                  <a:gd name="T2" fmla="*/ 57 w 215"/>
                  <a:gd name="T3" fmla="*/ 19 h 199"/>
                  <a:gd name="T4" fmla="*/ 50 w 215"/>
                  <a:gd name="T5" fmla="*/ 38 h 199"/>
                  <a:gd name="T6" fmla="*/ 50 w 215"/>
                  <a:gd name="T7" fmla="*/ 15 h 199"/>
                  <a:gd name="T8" fmla="*/ 46 w 215"/>
                  <a:gd name="T9" fmla="*/ 11 h 199"/>
                  <a:gd name="T10" fmla="*/ 15 w 215"/>
                  <a:gd name="T11" fmla="*/ 17 h 199"/>
                  <a:gd name="T12" fmla="*/ 8 w 215"/>
                  <a:gd name="T13" fmla="*/ 15 h 199"/>
                  <a:gd name="T14" fmla="*/ 2 w 215"/>
                  <a:gd name="T15" fmla="*/ 30 h 199"/>
                  <a:gd name="T16" fmla="*/ 6 w 215"/>
                  <a:gd name="T17" fmla="*/ 34 h 199"/>
                  <a:gd name="T18" fmla="*/ 10 w 215"/>
                  <a:gd name="T19" fmla="*/ 44 h 199"/>
                  <a:gd name="T20" fmla="*/ 4 w 215"/>
                  <a:gd name="T21" fmla="*/ 55 h 199"/>
                  <a:gd name="T22" fmla="*/ 19 w 215"/>
                  <a:gd name="T23" fmla="*/ 69 h 199"/>
                  <a:gd name="T24" fmla="*/ 42 w 215"/>
                  <a:gd name="T25" fmla="*/ 96 h 199"/>
                  <a:gd name="T26" fmla="*/ 54 w 215"/>
                  <a:gd name="T27" fmla="*/ 88 h 199"/>
                  <a:gd name="T28" fmla="*/ 69 w 215"/>
                  <a:gd name="T29" fmla="*/ 73 h 199"/>
                  <a:gd name="T30" fmla="*/ 81 w 215"/>
                  <a:gd name="T31" fmla="*/ 88 h 199"/>
                  <a:gd name="T32" fmla="*/ 123 w 215"/>
                  <a:gd name="T33" fmla="*/ 99 h 199"/>
                  <a:gd name="T34" fmla="*/ 94 w 215"/>
                  <a:gd name="T35" fmla="*/ 105 h 199"/>
                  <a:gd name="T36" fmla="*/ 57 w 215"/>
                  <a:gd name="T37" fmla="*/ 111 h 199"/>
                  <a:gd name="T38" fmla="*/ 44 w 215"/>
                  <a:gd name="T39" fmla="*/ 107 h 199"/>
                  <a:gd name="T40" fmla="*/ 46 w 215"/>
                  <a:gd name="T41" fmla="*/ 128 h 199"/>
                  <a:gd name="T42" fmla="*/ 92 w 215"/>
                  <a:gd name="T43" fmla="*/ 123 h 199"/>
                  <a:gd name="T44" fmla="*/ 81 w 215"/>
                  <a:gd name="T45" fmla="*/ 149 h 199"/>
                  <a:gd name="T46" fmla="*/ 44 w 215"/>
                  <a:gd name="T47" fmla="*/ 147 h 199"/>
                  <a:gd name="T48" fmla="*/ 57 w 215"/>
                  <a:gd name="T49" fmla="*/ 167 h 199"/>
                  <a:gd name="T50" fmla="*/ 77 w 215"/>
                  <a:gd name="T51" fmla="*/ 176 h 199"/>
                  <a:gd name="T52" fmla="*/ 88 w 215"/>
                  <a:gd name="T53" fmla="*/ 180 h 199"/>
                  <a:gd name="T54" fmla="*/ 100 w 215"/>
                  <a:gd name="T55" fmla="*/ 182 h 199"/>
                  <a:gd name="T56" fmla="*/ 105 w 215"/>
                  <a:gd name="T57" fmla="*/ 197 h 199"/>
                  <a:gd name="T58" fmla="*/ 113 w 215"/>
                  <a:gd name="T59" fmla="*/ 197 h 199"/>
                  <a:gd name="T60" fmla="*/ 123 w 215"/>
                  <a:gd name="T61" fmla="*/ 184 h 199"/>
                  <a:gd name="T62" fmla="*/ 125 w 215"/>
                  <a:gd name="T63" fmla="*/ 172 h 199"/>
                  <a:gd name="T64" fmla="*/ 140 w 215"/>
                  <a:gd name="T65" fmla="*/ 172 h 199"/>
                  <a:gd name="T66" fmla="*/ 152 w 215"/>
                  <a:gd name="T67" fmla="*/ 161 h 199"/>
                  <a:gd name="T68" fmla="*/ 169 w 215"/>
                  <a:gd name="T69" fmla="*/ 153 h 199"/>
                  <a:gd name="T70" fmla="*/ 178 w 215"/>
                  <a:gd name="T71" fmla="*/ 128 h 199"/>
                  <a:gd name="T72" fmla="*/ 176 w 215"/>
                  <a:gd name="T73" fmla="*/ 99 h 199"/>
                  <a:gd name="T74" fmla="*/ 215 w 215"/>
                  <a:gd name="T75" fmla="*/ 92 h 199"/>
                  <a:gd name="T76" fmla="*/ 211 w 215"/>
                  <a:gd name="T77" fmla="*/ 80 h 199"/>
                  <a:gd name="T78" fmla="*/ 176 w 215"/>
                  <a:gd name="T79" fmla="*/ 73 h 199"/>
                  <a:gd name="T80" fmla="*/ 161 w 215"/>
                  <a:gd name="T81" fmla="*/ 48 h 199"/>
                  <a:gd name="T82" fmla="*/ 157 w 215"/>
                  <a:gd name="T83" fmla="*/ 34 h 199"/>
                  <a:gd name="T84" fmla="*/ 140 w 215"/>
                  <a:gd name="T85" fmla="*/ 19 h 199"/>
                  <a:gd name="T86" fmla="*/ 125 w 215"/>
                  <a:gd name="T87" fmla="*/ 15 h 199"/>
                  <a:gd name="T88" fmla="*/ 111 w 215"/>
                  <a:gd name="T89" fmla="*/ 0 h 19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15"/>
                  <a:gd name="T136" fmla="*/ 0 h 199"/>
                  <a:gd name="T137" fmla="*/ 215 w 215"/>
                  <a:gd name="T138" fmla="*/ 199 h 19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15" h="199">
                    <a:moveTo>
                      <a:pt x="111" y="0"/>
                    </a:moveTo>
                    <a:lnTo>
                      <a:pt x="96" y="19"/>
                    </a:lnTo>
                    <a:lnTo>
                      <a:pt x="90" y="34"/>
                    </a:lnTo>
                    <a:lnTo>
                      <a:pt x="96" y="61"/>
                    </a:lnTo>
                    <a:lnTo>
                      <a:pt x="61" y="15"/>
                    </a:lnTo>
                    <a:lnTo>
                      <a:pt x="57" y="19"/>
                    </a:lnTo>
                    <a:lnTo>
                      <a:pt x="54" y="26"/>
                    </a:lnTo>
                    <a:lnTo>
                      <a:pt x="50" y="30"/>
                    </a:lnTo>
                    <a:lnTo>
                      <a:pt x="50" y="38"/>
                    </a:lnTo>
                    <a:lnTo>
                      <a:pt x="40" y="28"/>
                    </a:lnTo>
                    <a:lnTo>
                      <a:pt x="38" y="23"/>
                    </a:lnTo>
                    <a:lnTo>
                      <a:pt x="50" y="15"/>
                    </a:lnTo>
                    <a:lnTo>
                      <a:pt x="48" y="15"/>
                    </a:lnTo>
                    <a:lnTo>
                      <a:pt x="44" y="13"/>
                    </a:lnTo>
                    <a:lnTo>
                      <a:pt x="46" y="11"/>
                    </a:lnTo>
                    <a:lnTo>
                      <a:pt x="19" y="11"/>
                    </a:lnTo>
                    <a:lnTo>
                      <a:pt x="17" y="13"/>
                    </a:lnTo>
                    <a:lnTo>
                      <a:pt x="15" y="17"/>
                    </a:lnTo>
                    <a:lnTo>
                      <a:pt x="15" y="19"/>
                    </a:lnTo>
                    <a:lnTo>
                      <a:pt x="10" y="19"/>
                    </a:lnTo>
                    <a:lnTo>
                      <a:pt x="8" y="15"/>
                    </a:lnTo>
                    <a:lnTo>
                      <a:pt x="4" y="15"/>
                    </a:lnTo>
                    <a:lnTo>
                      <a:pt x="2" y="23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2" y="36"/>
                    </a:lnTo>
                    <a:lnTo>
                      <a:pt x="6" y="34"/>
                    </a:lnTo>
                    <a:lnTo>
                      <a:pt x="11" y="34"/>
                    </a:lnTo>
                    <a:lnTo>
                      <a:pt x="10" y="38"/>
                    </a:lnTo>
                    <a:lnTo>
                      <a:pt x="10" y="44"/>
                    </a:lnTo>
                    <a:lnTo>
                      <a:pt x="11" y="49"/>
                    </a:lnTo>
                    <a:lnTo>
                      <a:pt x="6" y="48"/>
                    </a:lnTo>
                    <a:lnTo>
                      <a:pt x="4" y="55"/>
                    </a:lnTo>
                    <a:lnTo>
                      <a:pt x="4" y="61"/>
                    </a:lnTo>
                    <a:lnTo>
                      <a:pt x="15" y="65"/>
                    </a:lnTo>
                    <a:lnTo>
                      <a:pt x="19" y="69"/>
                    </a:lnTo>
                    <a:lnTo>
                      <a:pt x="23" y="88"/>
                    </a:lnTo>
                    <a:lnTo>
                      <a:pt x="23" y="96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84"/>
                    </a:lnTo>
                    <a:lnTo>
                      <a:pt x="54" y="88"/>
                    </a:lnTo>
                    <a:lnTo>
                      <a:pt x="61" y="88"/>
                    </a:lnTo>
                    <a:lnTo>
                      <a:pt x="65" y="73"/>
                    </a:lnTo>
                    <a:lnTo>
                      <a:pt x="69" y="73"/>
                    </a:lnTo>
                    <a:lnTo>
                      <a:pt x="73" y="74"/>
                    </a:lnTo>
                    <a:lnTo>
                      <a:pt x="81" y="73"/>
                    </a:lnTo>
                    <a:lnTo>
                      <a:pt x="81" y="88"/>
                    </a:lnTo>
                    <a:lnTo>
                      <a:pt x="98" y="92"/>
                    </a:lnTo>
                    <a:lnTo>
                      <a:pt x="123" y="96"/>
                    </a:lnTo>
                    <a:lnTo>
                      <a:pt x="123" y="99"/>
                    </a:lnTo>
                    <a:lnTo>
                      <a:pt x="117" y="101"/>
                    </a:lnTo>
                    <a:lnTo>
                      <a:pt x="100" y="103"/>
                    </a:lnTo>
                    <a:lnTo>
                      <a:pt x="94" y="105"/>
                    </a:lnTo>
                    <a:lnTo>
                      <a:pt x="81" y="107"/>
                    </a:lnTo>
                    <a:lnTo>
                      <a:pt x="69" y="107"/>
                    </a:lnTo>
                    <a:lnTo>
                      <a:pt x="57" y="111"/>
                    </a:lnTo>
                    <a:lnTo>
                      <a:pt x="54" y="103"/>
                    </a:lnTo>
                    <a:lnTo>
                      <a:pt x="50" y="105"/>
                    </a:lnTo>
                    <a:lnTo>
                      <a:pt x="44" y="107"/>
                    </a:lnTo>
                    <a:lnTo>
                      <a:pt x="38" y="107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8" y="124"/>
                    </a:lnTo>
                    <a:lnTo>
                      <a:pt x="50" y="123"/>
                    </a:lnTo>
                    <a:lnTo>
                      <a:pt x="92" y="123"/>
                    </a:lnTo>
                    <a:lnTo>
                      <a:pt x="81" y="128"/>
                    </a:lnTo>
                    <a:lnTo>
                      <a:pt x="71" y="138"/>
                    </a:lnTo>
                    <a:lnTo>
                      <a:pt x="81" y="149"/>
                    </a:lnTo>
                    <a:lnTo>
                      <a:pt x="50" y="146"/>
                    </a:lnTo>
                    <a:lnTo>
                      <a:pt x="46" y="146"/>
                    </a:lnTo>
                    <a:lnTo>
                      <a:pt x="44" y="147"/>
                    </a:lnTo>
                    <a:lnTo>
                      <a:pt x="46" y="157"/>
                    </a:lnTo>
                    <a:lnTo>
                      <a:pt x="50" y="165"/>
                    </a:lnTo>
                    <a:lnTo>
                      <a:pt x="57" y="167"/>
                    </a:lnTo>
                    <a:lnTo>
                      <a:pt x="67" y="167"/>
                    </a:lnTo>
                    <a:lnTo>
                      <a:pt x="77" y="169"/>
                    </a:lnTo>
                    <a:lnTo>
                      <a:pt x="77" y="176"/>
                    </a:lnTo>
                    <a:lnTo>
                      <a:pt x="81" y="176"/>
                    </a:lnTo>
                    <a:lnTo>
                      <a:pt x="86" y="178"/>
                    </a:lnTo>
                    <a:lnTo>
                      <a:pt x="88" y="180"/>
                    </a:lnTo>
                    <a:lnTo>
                      <a:pt x="96" y="176"/>
                    </a:lnTo>
                    <a:lnTo>
                      <a:pt x="100" y="176"/>
                    </a:lnTo>
                    <a:lnTo>
                      <a:pt x="100" y="182"/>
                    </a:lnTo>
                    <a:lnTo>
                      <a:pt x="102" y="190"/>
                    </a:lnTo>
                    <a:lnTo>
                      <a:pt x="104" y="196"/>
                    </a:lnTo>
                    <a:lnTo>
                      <a:pt x="105" y="197"/>
                    </a:lnTo>
                    <a:lnTo>
                      <a:pt x="109" y="197"/>
                    </a:lnTo>
                    <a:lnTo>
                      <a:pt x="111" y="199"/>
                    </a:lnTo>
                    <a:lnTo>
                      <a:pt x="113" y="197"/>
                    </a:lnTo>
                    <a:lnTo>
                      <a:pt x="117" y="196"/>
                    </a:lnTo>
                    <a:lnTo>
                      <a:pt x="123" y="196"/>
                    </a:lnTo>
                    <a:lnTo>
                      <a:pt x="123" y="184"/>
                    </a:lnTo>
                    <a:lnTo>
                      <a:pt x="119" y="184"/>
                    </a:lnTo>
                    <a:lnTo>
                      <a:pt x="119" y="176"/>
                    </a:lnTo>
                    <a:lnTo>
                      <a:pt x="125" y="172"/>
                    </a:lnTo>
                    <a:lnTo>
                      <a:pt x="130" y="176"/>
                    </a:lnTo>
                    <a:lnTo>
                      <a:pt x="138" y="176"/>
                    </a:lnTo>
                    <a:lnTo>
                      <a:pt x="140" y="172"/>
                    </a:lnTo>
                    <a:lnTo>
                      <a:pt x="146" y="169"/>
                    </a:lnTo>
                    <a:lnTo>
                      <a:pt x="150" y="165"/>
                    </a:lnTo>
                    <a:lnTo>
                      <a:pt x="152" y="161"/>
                    </a:lnTo>
                    <a:lnTo>
                      <a:pt x="152" y="157"/>
                    </a:lnTo>
                    <a:lnTo>
                      <a:pt x="153" y="153"/>
                    </a:lnTo>
                    <a:lnTo>
                      <a:pt x="169" y="153"/>
                    </a:lnTo>
                    <a:lnTo>
                      <a:pt x="169" y="134"/>
                    </a:lnTo>
                    <a:lnTo>
                      <a:pt x="180" y="130"/>
                    </a:lnTo>
                    <a:lnTo>
                      <a:pt x="178" y="128"/>
                    </a:lnTo>
                    <a:lnTo>
                      <a:pt x="178" y="124"/>
                    </a:lnTo>
                    <a:lnTo>
                      <a:pt x="176" y="126"/>
                    </a:lnTo>
                    <a:lnTo>
                      <a:pt x="176" y="99"/>
                    </a:lnTo>
                    <a:lnTo>
                      <a:pt x="190" y="94"/>
                    </a:lnTo>
                    <a:lnTo>
                      <a:pt x="200" y="94"/>
                    </a:lnTo>
                    <a:lnTo>
                      <a:pt x="215" y="92"/>
                    </a:lnTo>
                    <a:lnTo>
                      <a:pt x="213" y="88"/>
                    </a:lnTo>
                    <a:lnTo>
                      <a:pt x="213" y="84"/>
                    </a:lnTo>
                    <a:lnTo>
                      <a:pt x="211" y="80"/>
                    </a:lnTo>
                    <a:lnTo>
                      <a:pt x="200" y="76"/>
                    </a:lnTo>
                    <a:lnTo>
                      <a:pt x="186" y="76"/>
                    </a:lnTo>
                    <a:lnTo>
                      <a:pt x="176" y="73"/>
                    </a:lnTo>
                    <a:lnTo>
                      <a:pt x="173" y="65"/>
                    </a:lnTo>
                    <a:lnTo>
                      <a:pt x="169" y="46"/>
                    </a:lnTo>
                    <a:lnTo>
                      <a:pt x="161" y="48"/>
                    </a:lnTo>
                    <a:lnTo>
                      <a:pt x="157" y="48"/>
                    </a:lnTo>
                    <a:lnTo>
                      <a:pt x="153" y="46"/>
                    </a:lnTo>
                    <a:lnTo>
                      <a:pt x="157" y="34"/>
                    </a:lnTo>
                    <a:lnTo>
                      <a:pt x="157" y="26"/>
                    </a:lnTo>
                    <a:lnTo>
                      <a:pt x="146" y="23"/>
                    </a:lnTo>
                    <a:lnTo>
                      <a:pt x="140" y="19"/>
                    </a:lnTo>
                    <a:lnTo>
                      <a:pt x="134" y="11"/>
                    </a:lnTo>
                    <a:lnTo>
                      <a:pt x="129" y="13"/>
                    </a:lnTo>
                    <a:lnTo>
                      <a:pt x="125" y="15"/>
                    </a:lnTo>
                    <a:lnTo>
                      <a:pt x="123" y="15"/>
                    </a:lnTo>
                    <a:lnTo>
                      <a:pt x="117" y="3"/>
                    </a:lnTo>
                    <a:lnTo>
                      <a:pt x="111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2" name="Freeform 100"/>
              <p:cNvSpPr>
                <a:spLocks/>
              </p:cNvSpPr>
              <p:nvPr/>
            </p:nvSpPr>
            <p:spPr bwMode="gray">
              <a:xfrm>
                <a:off x="3177" y="1314"/>
                <a:ext cx="7" cy="17"/>
              </a:xfrm>
              <a:custGeom>
                <a:avLst/>
                <a:gdLst>
                  <a:gd name="T0" fmla="*/ 0 w 16"/>
                  <a:gd name="T1" fmla="*/ 0 h 35"/>
                  <a:gd name="T2" fmla="*/ 2 w 16"/>
                  <a:gd name="T3" fmla="*/ 14 h 35"/>
                  <a:gd name="T4" fmla="*/ 4 w 16"/>
                  <a:gd name="T5" fmla="*/ 23 h 35"/>
                  <a:gd name="T6" fmla="*/ 8 w 16"/>
                  <a:gd name="T7" fmla="*/ 35 h 35"/>
                  <a:gd name="T8" fmla="*/ 16 w 16"/>
                  <a:gd name="T9" fmla="*/ 35 h 35"/>
                  <a:gd name="T10" fmla="*/ 16 w 16"/>
                  <a:gd name="T11" fmla="*/ 31 h 35"/>
                  <a:gd name="T12" fmla="*/ 10 w 16"/>
                  <a:gd name="T13" fmla="*/ 21 h 35"/>
                  <a:gd name="T14" fmla="*/ 4 w 16"/>
                  <a:gd name="T15" fmla="*/ 10 h 35"/>
                  <a:gd name="T16" fmla="*/ 0 w 16"/>
                  <a:gd name="T17" fmla="*/ 0 h 3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35"/>
                  <a:gd name="T29" fmla="*/ 16 w 16"/>
                  <a:gd name="T30" fmla="*/ 35 h 3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35">
                    <a:moveTo>
                      <a:pt x="0" y="0"/>
                    </a:moveTo>
                    <a:lnTo>
                      <a:pt x="2" y="14"/>
                    </a:lnTo>
                    <a:lnTo>
                      <a:pt x="4" y="23"/>
                    </a:lnTo>
                    <a:lnTo>
                      <a:pt x="8" y="35"/>
                    </a:lnTo>
                    <a:lnTo>
                      <a:pt x="16" y="35"/>
                    </a:lnTo>
                    <a:lnTo>
                      <a:pt x="16" y="31"/>
                    </a:lnTo>
                    <a:lnTo>
                      <a:pt x="10" y="21"/>
                    </a:lnTo>
                    <a:lnTo>
                      <a:pt x="4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3" name="Freeform 101"/>
              <p:cNvSpPr>
                <a:spLocks/>
              </p:cNvSpPr>
              <p:nvPr/>
            </p:nvSpPr>
            <p:spPr bwMode="gray">
              <a:xfrm>
                <a:off x="3228" y="1318"/>
                <a:ext cx="2" cy="4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4 h 8"/>
                  <a:gd name="T4" fmla="*/ 0 w 4"/>
                  <a:gd name="T5" fmla="*/ 8 h 8"/>
                  <a:gd name="T6" fmla="*/ 0 w 4"/>
                  <a:gd name="T7" fmla="*/ 0 h 8"/>
                  <a:gd name="T8" fmla="*/ 4 w 4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8"/>
                  <a:gd name="T17" fmla="*/ 4 w 4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8">
                    <a:moveTo>
                      <a:pt x="4" y="0"/>
                    </a:moveTo>
                    <a:lnTo>
                      <a:pt x="4" y="4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4" name="Freeform 102"/>
              <p:cNvSpPr>
                <a:spLocks/>
              </p:cNvSpPr>
              <p:nvPr/>
            </p:nvSpPr>
            <p:spPr bwMode="gray">
              <a:xfrm>
                <a:off x="3280" y="1335"/>
                <a:ext cx="23" cy="14"/>
              </a:xfrm>
              <a:custGeom>
                <a:avLst/>
                <a:gdLst>
                  <a:gd name="T0" fmla="*/ 23 w 46"/>
                  <a:gd name="T1" fmla="*/ 0 h 27"/>
                  <a:gd name="T2" fmla="*/ 0 w 46"/>
                  <a:gd name="T3" fmla="*/ 11 h 27"/>
                  <a:gd name="T4" fmla="*/ 13 w 46"/>
                  <a:gd name="T5" fmla="*/ 25 h 27"/>
                  <a:gd name="T6" fmla="*/ 42 w 46"/>
                  <a:gd name="T7" fmla="*/ 27 h 27"/>
                  <a:gd name="T8" fmla="*/ 42 w 46"/>
                  <a:gd name="T9" fmla="*/ 15 h 27"/>
                  <a:gd name="T10" fmla="*/ 46 w 46"/>
                  <a:gd name="T11" fmla="*/ 15 h 27"/>
                  <a:gd name="T12" fmla="*/ 38 w 46"/>
                  <a:gd name="T13" fmla="*/ 5 h 27"/>
                  <a:gd name="T14" fmla="*/ 23 w 46"/>
                  <a:gd name="T15" fmla="*/ 0 h 2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6"/>
                  <a:gd name="T25" fmla="*/ 0 h 27"/>
                  <a:gd name="T26" fmla="*/ 46 w 46"/>
                  <a:gd name="T27" fmla="*/ 27 h 2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6" h="27">
                    <a:moveTo>
                      <a:pt x="23" y="0"/>
                    </a:moveTo>
                    <a:lnTo>
                      <a:pt x="0" y="11"/>
                    </a:lnTo>
                    <a:lnTo>
                      <a:pt x="13" y="25"/>
                    </a:lnTo>
                    <a:lnTo>
                      <a:pt x="42" y="27"/>
                    </a:lnTo>
                    <a:lnTo>
                      <a:pt x="42" y="15"/>
                    </a:lnTo>
                    <a:lnTo>
                      <a:pt x="46" y="15"/>
                    </a:lnTo>
                    <a:lnTo>
                      <a:pt x="38" y="5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5" name="Freeform 103"/>
              <p:cNvSpPr>
                <a:spLocks/>
              </p:cNvSpPr>
              <p:nvPr/>
            </p:nvSpPr>
            <p:spPr bwMode="gray">
              <a:xfrm>
                <a:off x="3290" y="1351"/>
                <a:ext cx="46" cy="19"/>
              </a:xfrm>
              <a:custGeom>
                <a:avLst/>
                <a:gdLst>
                  <a:gd name="T0" fmla="*/ 11 w 92"/>
                  <a:gd name="T1" fmla="*/ 0 h 39"/>
                  <a:gd name="T2" fmla="*/ 2 w 92"/>
                  <a:gd name="T3" fmla="*/ 6 h 39"/>
                  <a:gd name="T4" fmla="*/ 2 w 92"/>
                  <a:gd name="T5" fmla="*/ 18 h 39"/>
                  <a:gd name="T6" fmla="*/ 7 w 92"/>
                  <a:gd name="T7" fmla="*/ 27 h 39"/>
                  <a:gd name="T8" fmla="*/ 2 w 92"/>
                  <a:gd name="T9" fmla="*/ 29 h 39"/>
                  <a:gd name="T10" fmla="*/ 0 w 92"/>
                  <a:gd name="T11" fmla="*/ 33 h 39"/>
                  <a:gd name="T12" fmla="*/ 0 w 92"/>
                  <a:gd name="T13" fmla="*/ 39 h 39"/>
                  <a:gd name="T14" fmla="*/ 27 w 92"/>
                  <a:gd name="T15" fmla="*/ 33 h 39"/>
                  <a:gd name="T16" fmla="*/ 55 w 92"/>
                  <a:gd name="T17" fmla="*/ 33 h 39"/>
                  <a:gd name="T18" fmla="*/ 88 w 92"/>
                  <a:gd name="T19" fmla="*/ 31 h 39"/>
                  <a:gd name="T20" fmla="*/ 92 w 92"/>
                  <a:gd name="T21" fmla="*/ 16 h 39"/>
                  <a:gd name="T22" fmla="*/ 84 w 92"/>
                  <a:gd name="T23" fmla="*/ 16 h 39"/>
                  <a:gd name="T24" fmla="*/ 80 w 92"/>
                  <a:gd name="T25" fmla="*/ 20 h 39"/>
                  <a:gd name="T26" fmla="*/ 73 w 92"/>
                  <a:gd name="T27" fmla="*/ 20 h 39"/>
                  <a:gd name="T28" fmla="*/ 63 w 92"/>
                  <a:gd name="T29" fmla="*/ 14 h 39"/>
                  <a:gd name="T30" fmla="*/ 50 w 92"/>
                  <a:gd name="T31" fmla="*/ 0 h 39"/>
                  <a:gd name="T32" fmla="*/ 11 w 92"/>
                  <a:gd name="T33" fmla="*/ 0 h 3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2"/>
                  <a:gd name="T52" fmla="*/ 0 h 39"/>
                  <a:gd name="T53" fmla="*/ 92 w 92"/>
                  <a:gd name="T54" fmla="*/ 39 h 3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2" h="39">
                    <a:moveTo>
                      <a:pt x="11" y="0"/>
                    </a:moveTo>
                    <a:lnTo>
                      <a:pt x="2" y="6"/>
                    </a:lnTo>
                    <a:lnTo>
                      <a:pt x="2" y="18"/>
                    </a:lnTo>
                    <a:lnTo>
                      <a:pt x="7" y="27"/>
                    </a:lnTo>
                    <a:lnTo>
                      <a:pt x="2" y="29"/>
                    </a:lnTo>
                    <a:lnTo>
                      <a:pt x="0" y="33"/>
                    </a:lnTo>
                    <a:lnTo>
                      <a:pt x="0" y="39"/>
                    </a:lnTo>
                    <a:lnTo>
                      <a:pt x="27" y="33"/>
                    </a:lnTo>
                    <a:lnTo>
                      <a:pt x="55" y="33"/>
                    </a:lnTo>
                    <a:lnTo>
                      <a:pt x="88" y="31"/>
                    </a:lnTo>
                    <a:lnTo>
                      <a:pt x="92" y="16"/>
                    </a:lnTo>
                    <a:lnTo>
                      <a:pt x="84" y="16"/>
                    </a:lnTo>
                    <a:lnTo>
                      <a:pt x="80" y="20"/>
                    </a:lnTo>
                    <a:lnTo>
                      <a:pt x="73" y="20"/>
                    </a:lnTo>
                    <a:lnTo>
                      <a:pt x="63" y="14"/>
                    </a:lnTo>
                    <a:lnTo>
                      <a:pt x="50" y="0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6" name="Freeform 104"/>
              <p:cNvSpPr>
                <a:spLocks/>
              </p:cNvSpPr>
              <p:nvPr/>
            </p:nvSpPr>
            <p:spPr bwMode="gray">
              <a:xfrm>
                <a:off x="3353" y="1502"/>
                <a:ext cx="5" cy="8"/>
              </a:xfrm>
              <a:custGeom>
                <a:avLst/>
                <a:gdLst>
                  <a:gd name="T0" fmla="*/ 0 w 10"/>
                  <a:gd name="T1" fmla="*/ 0 h 15"/>
                  <a:gd name="T2" fmla="*/ 0 w 10"/>
                  <a:gd name="T3" fmla="*/ 15 h 15"/>
                  <a:gd name="T4" fmla="*/ 8 w 10"/>
                  <a:gd name="T5" fmla="*/ 10 h 15"/>
                  <a:gd name="T6" fmla="*/ 10 w 10"/>
                  <a:gd name="T7" fmla="*/ 2 h 15"/>
                  <a:gd name="T8" fmla="*/ 0 w 10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15"/>
                  <a:gd name="T17" fmla="*/ 10 w 10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15">
                    <a:moveTo>
                      <a:pt x="0" y="0"/>
                    </a:moveTo>
                    <a:lnTo>
                      <a:pt x="0" y="15"/>
                    </a:lnTo>
                    <a:lnTo>
                      <a:pt x="8" y="10"/>
                    </a:lnTo>
                    <a:lnTo>
                      <a:pt x="1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7" name="Freeform 105"/>
              <p:cNvSpPr>
                <a:spLocks/>
              </p:cNvSpPr>
              <p:nvPr/>
            </p:nvSpPr>
            <p:spPr bwMode="gray">
              <a:xfrm>
                <a:off x="3303" y="1504"/>
                <a:ext cx="17" cy="14"/>
              </a:xfrm>
              <a:custGeom>
                <a:avLst/>
                <a:gdLst>
                  <a:gd name="T0" fmla="*/ 26 w 32"/>
                  <a:gd name="T1" fmla="*/ 0 h 27"/>
                  <a:gd name="T2" fmla="*/ 25 w 32"/>
                  <a:gd name="T3" fmla="*/ 2 h 27"/>
                  <a:gd name="T4" fmla="*/ 21 w 32"/>
                  <a:gd name="T5" fmla="*/ 8 h 27"/>
                  <a:gd name="T6" fmla="*/ 19 w 32"/>
                  <a:gd name="T7" fmla="*/ 11 h 27"/>
                  <a:gd name="T8" fmla="*/ 11 w 32"/>
                  <a:gd name="T9" fmla="*/ 13 h 27"/>
                  <a:gd name="T10" fmla="*/ 5 w 32"/>
                  <a:gd name="T11" fmla="*/ 13 h 27"/>
                  <a:gd name="T12" fmla="*/ 0 w 32"/>
                  <a:gd name="T13" fmla="*/ 15 h 27"/>
                  <a:gd name="T14" fmla="*/ 0 w 32"/>
                  <a:gd name="T15" fmla="*/ 27 h 27"/>
                  <a:gd name="T16" fmla="*/ 3 w 32"/>
                  <a:gd name="T17" fmla="*/ 27 h 27"/>
                  <a:gd name="T18" fmla="*/ 19 w 32"/>
                  <a:gd name="T19" fmla="*/ 17 h 27"/>
                  <a:gd name="T20" fmla="*/ 32 w 32"/>
                  <a:gd name="T21" fmla="*/ 2 h 27"/>
                  <a:gd name="T22" fmla="*/ 26 w 32"/>
                  <a:gd name="T23" fmla="*/ 0 h 2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"/>
                  <a:gd name="T37" fmla="*/ 0 h 27"/>
                  <a:gd name="T38" fmla="*/ 32 w 32"/>
                  <a:gd name="T39" fmla="*/ 27 h 2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" h="27">
                    <a:moveTo>
                      <a:pt x="26" y="0"/>
                    </a:moveTo>
                    <a:lnTo>
                      <a:pt x="25" y="2"/>
                    </a:lnTo>
                    <a:lnTo>
                      <a:pt x="21" y="8"/>
                    </a:lnTo>
                    <a:lnTo>
                      <a:pt x="19" y="11"/>
                    </a:lnTo>
                    <a:lnTo>
                      <a:pt x="11" y="13"/>
                    </a:lnTo>
                    <a:lnTo>
                      <a:pt x="5" y="13"/>
                    </a:lnTo>
                    <a:lnTo>
                      <a:pt x="0" y="15"/>
                    </a:lnTo>
                    <a:lnTo>
                      <a:pt x="0" y="27"/>
                    </a:lnTo>
                    <a:lnTo>
                      <a:pt x="3" y="27"/>
                    </a:lnTo>
                    <a:lnTo>
                      <a:pt x="19" y="17"/>
                    </a:lnTo>
                    <a:lnTo>
                      <a:pt x="32" y="2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8" name="Freeform 106"/>
              <p:cNvSpPr>
                <a:spLocks/>
              </p:cNvSpPr>
              <p:nvPr/>
            </p:nvSpPr>
            <p:spPr bwMode="gray">
              <a:xfrm>
                <a:off x="3332" y="1504"/>
                <a:ext cx="2" cy="4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8 h 8"/>
                  <a:gd name="T4" fmla="*/ 4 w 4"/>
                  <a:gd name="T5" fmla="*/ 0 h 8"/>
                  <a:gd name="T6" fmla="*/ 0 w 4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8"/>
                  <a:gd name="T14" fmla="*/ 4 w 4"/>
                  <a:gd name="T15" fmla="*/ 8 h 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8">
                    <a:moveTo>
                      <a:pt x="0" y="0"/>
                    </a:moveTo>
                    <a:lnTo>
                      <a:pt x="4" y="8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19" name="Freeform 107"/>
              <p:cNvSpPr>
                <a:spLocks/>
              </p:cNvSpPr>
              <p:nvPr/>
            </p:nvSpPr>
            <p:spPr bwMode="gray">
              <a:xfrm>
                <a:off x="3320" y="1514"/>
                <a:ext cx="6" cy="10"/>
              </a:xfrm>
              <a:custGeom>
                <a:avLst/>
                <a:gdLst>
                  <a:gd name="T0" fmla="*/ 10 w 14"/>
                  <a:gd name="T1" fmla="*/ 0 h 19"/>
                  <a:gd name="T2" fmla="*/ 0 w 14"/>
                  <a:gd name="T3" fmla="*/ 4 h 19"/>
                  <a:gd name="T4" fmla="*/ 0 w 14"/>
                  <a:gd name="T5" fmla="*/ 12 h 19"/>
                  <a:gd name="T6" fmla="*/ 10 w 14"/>
                  <a:gd name="T7" fmla="*/ 19 h 19"/>
                  <a:gd name="T8" fmla="*/ 14 w 14"/>
                  <a:gd name="T9" fmla="*/ 4 h 19"/>
                  <a:gd name="T10" fmla="*/ 10 w 14"/>
                  <a:gd name="T11" fmla="*/ 0 h 1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19"/>
                  <a:gd name="T20" fmla="*/ 14 w 14"/>
                  <a:gd name="T21" fmla="*/ 19 h 1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19">
                    <a:moveTo>
                      <a:pt x="10" y="0"/>
                    </a:moveTo>
                    <a:lnTo>
                      <a:pt x="0" y="4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14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0" name="Freeform 108"/>
              <p:cNvSpPr>
                <a:spLocks/>
              </p:cNvSpPr>
              <p:nvPr/>
            </p:nvSpPr>
            <p:spPr bwMode="gray">
              <a:xfrm>
                <a:off x="3392" y="1518"/>
                <a:ext cx="3" cy="8"/>
              </a:xfrm>
              <a:custGeom>
                <a:avLst/>
                <a:gdLst>
                  <a:gd name="T0" fmla="*/ 4 w 8"/>
                  <a:gd name="T1" fmla="*/ 0 h 15"/>
                  <a:gd name="T2" fmla="*/ 4 w 8"/>
                  <a:gd name="T3" fmla="*/ 2 h 15"/>
                  <a:gd name="T4" fmla="*/ 6 w 8"/>
                  <a:gd name="T5" fmla="*/ 7 h 15"/>
                  <a:gd name="T6" fmla="*/ 8 w 8"/>
                  <a:gd name="T7" fmla="*/ 11 h 15"/>
                  <a:gd name="T8" fmla="*/ 4 w 8"/>
                  <a:gd name="T9" fmla="*/ 11 h 15"/>
                  <a:gd name="T10" fmla="*/ 0 w 8"/>
                  <a:gd name="T11" fmla="*/ 15 h 15"/>
                  <a:gd name="T12" fmla="*/ 0 w 8"/>
                  <a:gd name="T13" fmla="*/ 2 h 15"/>
                  <a:gd name="T14" fmla="*/ 4 w 8"/>
                  <a:gd name="T15" fmla="*/ 0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"/>
                  <a:gd name="T25" fmla="*/ 0 h 15"/>
                  <a:gd name="T26" fmla="*/ 8 w 8"/>
                  <a:gd name="T27" fmla="*/ 15 h 1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" h="15">
                    <a:moveTo>
                      <a:pt x="4" y="0"/>
                    </a:moveTo>
                    <a:lnTo>
                      <a:pt x="4" y="2"/>
                    </a:lnTo>
                    <a:lnTo>
                      <a:pt x="6" y="7"/>
                    </a:lnTo>
                    <a:lnTo>
                      <a:pt x="8" y="11"/>
                    </a:lnTo>
                    <a:lnTo>
                      <a:pt x="4" y="11"/>
                    </a:lnTo>
                    <a:lnTo>
                      <a:pt x="0" y="15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1" name="Freeform 109"/>
              <p:cNvSpPr>
                <a:spLocks/>
              </p:cNvSpPr>
              <p:nvPr/>
            </p:nvSpPr>
            <p:spPr bwMode="gray">
              <a:xfrm>
                <a:off x="3240" y="1552"/>
                <a:ext cx="3" cy="4"/>
              </a:xfrm>
              <a:custGeom>
                <a:avLst/>
                <a:gdLst>
                  <a:gd name="T0" fmla="*/ 4 w 6"/>
                  <a:gd name="T1" fmla="*/ 0 h 8"/>
                  <a:gd name="T2" fmla="*/ 2 w 6"/>
                  <a:gd name="T3" fmla="*/ 2 h 8"/>
                  <a:gd name="T4" fmla="*/ 0 w 6"/>
                  <a:gd name="T5" fmla="*/ 8 h 8"/>
                  <a:gd name="T6" fmla="*/ 4 w 6"/>
                  <a:gd name="T7" fmla="*/ 8 h 8"/>
                  <a:gd name="T8" fmla="*/ 4 w 6"/>
                  <a:gd name="T9" fmla="*/ 4 h 8"/>
                  <a:gd name="T10" fmla="*/ 6 w 6"/>
                  <a:gd name="T11" fmla="*/ 0 h 8"/>
                  <a:gd name="T12" fmla="*/ 4 w 6"/>
                  <a:gd name="T13" fmla="*/ 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8"/>
                  <a:gd name="T23" fmla="*/ 6 w 6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8">
                    <a:moveTo>
                      <a:pt x="4" y="0"/>
                    </a:moveTo>
                    <a:lnTo>
                      <a:pt x="2" y="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2" name="Freeform 110"/>
              <p:cNvSpPr>
                <a:spLocks/>
              </p:cNvSpPr>
              <p:nvPr/>
            </p:nvSpPr>
            <p:spPr bwMode="gray">
              <a:xfrm>
                <a:off x="3225" y="1560"/>
                <a:ext cx="19" cy="19"/>
              </a:xfrm>
              <a:custGeom>
                <a:avLst/>
                <a:gdLst>
                  <a:gd name="T0" fmla="*/ 16 w 39"/>
                  <a:gd name="T1" fmla="*/ 0 h 39"/>
                  <a:gd name="T2" fmla="*/ 12 w 39"/>
                  <a:gd name="T3" fmla="*/ 6 h 39"/>
                  <a:gd name="T4" fmla="*/ 10 w 39"/>
                  <a:gd name="T5" fmla="*/ 12 h 39"/>
                  <a:gd name="T6" fmla="*/ 8 w 39"/>
                  <a:gd name="T7" fmla="*/ 20 h 39"/>
                  <a:gd name="T8" fmla="*/ 0 w 39"/>
                  <a:gd name="T9" fmla="*/ 20 h 39"/>
                  <a:gd name="T10" fmla="*/ 2 w 39"/>
                  <a:gd name="T11" fmla="*/ 23 h 39"/>
                  <a:gd name="T12" fmla="*/ 6 w 39"/>
                  <a:gd name="T13" fmla="*/ 33 h 39"/>
                  <a:gd name="T14" fmla="*/ 8 w 39"/>
                  <a:gd name="T15" fmla="*/ 39 h 39"/>
                  <a:gd name="T16" fmla="*/ 16 w 39"/>
                  <a:gd name="T17" fmla="*/ 33 h 39"/>
                  <a:gd name="T18" fmla="*/ 27 w 39"/>
                  <a:gd name="T19" fmla="*/ 25 h 39"/>
                  <a:gd name="T20" fmla="*/ 35 w 39"/>
                  <a:gd name="T21" fmla="*/ 20 h 39"/>
                  <a:gd name="T22" fmla="*/ 35 w 39"/>
                  <a:gd name="T23" fmla="*/ 12 h 39"/>
                  <a:gd name="T24" fmla="*/ 39 w 39"/>
                  <a:gd name="T25" fmla="*/ 4 h 39"/>
                  <a:gd name="T26" fmla="*/ 27 w 39"/>
                  <a:gd name="T27" fmla="*/ 8 h 39"/>
                  <a:gd name="T28" fmla="*/ 19 w 39"/>
                  <a:gd name="T29" fmla="*/ 12 h 39"/>
                  <a:gd name="T30" fmla="*/ 19 w 39"/>
                  <a:gd name="T31" fmla="*/ 0 h 39"/>
                  <a:gd name="T32" fmla="*/ 16 w 39"/>
                  <a:gd name="T33" fmla="*/ 0 h 3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9"/>
                  <a:gd name="T52" fmla="*/ 0 h 39"/>
                  <a:gd name="T53" fmla="*/ 39 w 39"/>
                  <a:gd name="T54" fmla="*/ 39 h 3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9" h="39">
                    <a:moveTo>
                      <a:pt x="16" y="0"/>
                    </a:moveTo>
                    <a:lnTo>
                      <a:pt x="12" y="6"/>
                    </a:lnTo>
                    <a:lnTo>
                      <a:pt x="10" y="12"/>
                    </a:lnTo>
                    <a:lnTo>
                      <a:pt x="8" y="20"/>
                    </a:lnTo>
                    <a:lnTo>
                      <a:pt x="0" y="20"/>
                    </a:lnTo>
                    <a:lnTo>
                      <a:pt x="2" y="23"/>
                    </a:lnTo>
                    <a:lnTo>
                      <a:pt x="6" y="33"/>
                    </a:lnTo>
                    <a:lnTo>
                      <a:pt x="8" y="39"/>
                    </a:lnTo>
                    <a:lnTo>
                      <a:pt x="16" y="33"/>
                    </a:lnTo>
                    <a:lnTo>
                      <a:pt x="27" y="25"/>
                    </a:lnTo>
                    <a:lnTo>
                      <a:pt x="35" y="20"/>
                    </a:lnTo>
                    <a:lnTo>
                      <a:pt x="35" y="12"/>
                    </a:lnTo>
                    <a:lnTo>
                      <a:pt x="39" y="4"/>
                    </a:lnTo>
                    <a:lnTo>
                      <a:pt x="27" y="8"/>
                    </a:lnTo>
                    <a:lnTo>
                      <a:pt x="19" y="12"/>
                    </a:lnTo>
                    <a:lnTo>
                      <a:pt x="19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3" name="Freeform 111"/>
              <p:cNvSpPr>
                <a:spLocks/>
              </p:cNvSpPr>
              <p:nvPr/>
            </p:nvSpPr>
            <p:spPr bwMode="gray">
              <a:xfrm>
                <a:off x="3247" y="1577"/>
                <a:ext cx="6" cy="4"/>
              </a:xfrm>
              <a:custGeom>
                <a:avLst/>
                <a:gdLst>
                  <a:gd name="T0" fmla="*/ 10 w 14"/>
                  <a:gd name="T1" fmla="*/ 0 h 8"/>
                  <a:gd name="T2" fmla="*/ 14 w 14"/>
                  <a:gd name="T3" fmla="*/ 0 h 8"/>
                  <a:gd name="T4" fmla="*/ 14 w 14"/>
                  <a:gd name="T5" fmla="*/ 8 h 8"/>
                  <a:gd name="T6" fmla="*/ 2 w 14"/>
                  <a:gd name="T7" fmla="*/ 6 h 8"/>
                  <a:gd name="T8" fmla="*/ 0 w 14"/>
                  <a:gd name="T9" fmla="*/ 2 h 8"/>
                  <a:gd name="T10" fmla="*/ 10 w 14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8"/>
                  <a:gd name="T20" fmla="*/ 14 w 14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8">
                    <a:moveTo>
                      <a:pt x="10" y="0"/>
                    </a:moveTo>
                    <a:lnTo>
                      <a:pt x="14" y="0"/>
                    </a:lnTo>
                    <a:lnTo>
                      <a:pt x="14" y="8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4" name="Freeform 112"/>
              <p:cNvSpPr>
                <a:spLocks/>
              </p:cNvSpPr>
              <p:nvPr/>
            </p:nvSpPr>
            <p:spPr bwMode="gray">
              <a:xfrm>
                <a:off x="3120" y="1713"/>
                <a:ext cx="3" cy="4"/>
              </a:xfrm>
              <a:custGeom>
                <a:avLst/>
                <a:gdLst>
                  <a:gd name="T0" fmla="*/ 6 w 6"/>
                  <a:gd name="T1" fmla="*/ 2 h 8"/>
                  <a:gd name="T2" fmla="*/ 6 w 6"/>
                  <a:gd name="T3" fmla="*/ 4 h 8"/>
                  <a:gd name="T4" fmla="*/ 4 w 6"/>
                  <a:gd name="T5" fmla="*/ 8 h 8"/>
                  <a:gd name="T6" fmla="*/ 2 w 6"/>
                  <a:gd name="T7" fmla="*/ 8 h 8"/>
                  <a:gd name="T8" fmla="*/ 0 w 6"/>
                  <a:gd name="T9" fmla="*/ 4 h 8"/>
                  <a:gd name="T10" fmla="*/ 2 w 6"/>
                  <a:gd name="T11" fmla="*/ 0 h 8"/>
                  <a:gd name="T12" fmla="*/ 6 w 6"/>
                  <a:gd name="T13" fmla="*/ 2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8"/>
                  <a:gd name="T23" fmla="*/ 6 w 6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8">
                    <a:moveTo>
                      <a:pt x="6" y="2"/>
                    </a:moveTo>
                    <a:lnTo>
                      <a:pt x="6" y="4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5" name="Freeform 113"/>
              <p:cNvSpPr>
                <a:spLocks/>
              </p:cNvSpPr>
              <p:nvPr/>
            </p:nvSpPr>
            <p:spPr bwMode="gray">
              <a:xfrm>
                <a:off x="3105" y="1732"/>
                <a:ext cx="10" cy="8"/>
              </a:xfrm>
              <a:custGeom>
                <a:avLst/>
                <a:gdLst>
                  <a:gd name="T0" fmla="*/ 14 w 21"/>
                  <a:gd name="T1" fmla="*/ 0 h 16"/>
                  <a:gd name="T2" fmla="*/ 21 w 21"/>
                  <a:gd name="T3" fmla="*/ 4 h 16"/>
                  <a:gd name="T4" fmla="*/ 21 w 21"/>
                  <a:gd name="T5" fmla="*/ 16 h 16"/>
                  <a:gd name="T6" fmla="*/ 10 w 21"/>
                  <a:gd name="T7" fmla="*/ 12 h 16"/>
                  <a:gd name="T8" fmla="*/ 0 w 21"/>
                  <a:gd name="T9" fmla="*/ 8 h 16"/>
                  <a:gd name="T10" fmla="*/ 10 w 21"/>
                  <a:gd name="T11" fmla="*/ 8 h 16"/>
                  <a:gd name="T12" fmla="*/ 10 w 21"/>
                  <a:gd name="T13" fmla="*/ 2 h 16"/>
                  <a:gd name="T14" fmla="*/ 14 w 21"/>
                  <a:gd name="T15" fmla="*/ 0 h 1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"/>
                  <a:gd name="T25" fmla="*/ 0 h 16"/>
                  <a:gd name="T26" fmla="*/ 21 w 21"/>
                  <a:gd name="T27" fmla="*/ 16 h 1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" h="16">
                    <a:moveTo>
                      <a:pt x="14" y="0"/>
                    </a:moveTo>
                    <a:lnTo>
                      <a:pt x="21" y="4"/>
                    </a:lnTo>
                    <a:lnTo>
                      <a:pt x="21" y="16"/>
                    </a:lnTo>
                    <a:lnTo>
                      <a:pt x="10" y="12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0" y="2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6" name="Freeform 114"/>
              <p:cNvSpPr>
                <a:spLocks/>
              </p:cNvSpPr>
              <p:nvPr/>
            </p:nvSpPr>
            <p:spPr bwMode="gray">
              <a:xfrm>
                <a:off x="3119" y="1732"/>
                <a:ext cx="2" cy="4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4 h 8"/>
                  <a:gd name="T4" fmla="*/ 2 w 4"/>
                  <a:gd name="T5" fmla="*/ 8 h 8"/>
                  <a:gd name="T6" fmla="*/ 0 w 4"/>
                  <a:gd name="T7" fmla="*/ 8 h 8"/>
                  <a:gd name="T8" fmla="*/ 0 w 4"/>
                  <a:gd name="T9" fmla="*/ 0 h 8"/>
                  <a:gd name="T10" fmla="*/ 4 w 4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8"/>
                  <a:gd name="T20" fmla="*/ 4 w 4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8">
                    <a:moveTo>
                      <a:pt x="4" y="0"/>
                    </a:moveTo>
                    <a:lnTo>
                      <a:pt x="4" y="4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7" name="Freeform 115"/>
              <p:cNvSpPr>
                <a:spLocks/>
              </p:cNvSpPr>
              <p:nvPr/>
            </p:nvSpPr>
            <p:spPr bwMode="gray">
              <a:xfrm>
                <a:off x="3102" y="1757"/>
                <a:ext cx="2" cy="4"/>
              </a:xfrm>
              <a:custGeom>
                <a:avLst/>
                <a:gdLst>
                  <a:gd name="T0" fmla="*/ 0 w 3"/>
                  <a:gd name="T1" fmla="*/ 0 h 8"/>
                  <a:gd name="T2" fmla="*/ 3 w 3"/>
                  <a:gd name="T3" fmla="*/ 8 h 8"/>
                  <a:gd name="T4" fmla="*/ 3 w 3"/>
                  <a:gd name="T5" fmla="*/ 2 h 8"/>
                  <a:gd name="T6" fmla="*/ 0 w 3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8"/>
                  <a:gd name="T14" fmla="*/ 3 w 3"/>
                  <a:gd name="T15" fmla="*/ 8 h 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8">
                    <a:moveTo>
                      <a:pt x="0" y="0"/>
                    </a:moveTo>
                    <a:lnTo>
                      <a:pt x="3" y="8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8" name="Freeform 116"/>
              <p:cNvSpPr>
                <a:spLocks/>
              </p:cNvSpPr>
              <p:nvPr/>
            </p:nvSpPr>
            <p:spPr bwMode="gray">
              <a:xfrm>
                <a:off x="3092" y="1504"/>
                <a:ext cx="328" cy="299"/>
              </a:xfrm>
              <a:custGeom>
                <a:avLst/>
                <a:gdLst>
                  <a:gd name="T0" fmla="*/ 171 w 657"/>
                  <a:gd name="T1" fmla="*/ 528 h 597"/>
                  <a:gd name="T2" fmla="*/ 181 w 657"/>
                  <a:gd name="T3" fmla="*/ 496 h 597"/>
                  <a:gd name="T4" fmla="*/ 192 w 657"/>
                  <a:gd name="T5" fmla="*/ 440 h 597"/>
                  <a:gd name="T6" fmla="*/ 185 w 657"/>
                  <a:gd name="T7" fmla="*/ 398 h 597"/>
                  <a:gd name="T8" fmla="*/ 200 w 657"/>
                  <a:gd name="T9" fmla="*/ 336 h 597"/>
                  <a:gd name="T10" fmla="*/ 250 w 657"/>
                  <a:gd name="T11" fmla="*/ 317 h 597"/>
                  <a:gd name="T12" fmla="*/ 275 w 657"/>
                  <a:gd name="T13" fmla="*/ 255 h 597"/>
                  <a:gd name="T14" fmla="*/ 298 w 657"/>
                  <a:gd name="T15" fmla="*/ 207 h 597"/>
                  <a:gd name="T16" fmla="*/ 332 w 657"/>
                  <a:gd name="T17" fmla="*/ 154 h 597"/>
                  <a:gd name="T18" fmla="*/ 365 w 657"/>
                  <a:gd name="T19" fmla="*/ 148 h 597"/>
                  <a:gd name="T20" fmla="*/ 411 w 657"/>
                  <a:gd name="T21" fmla="*/ 109 h 597"/>
                  <a:gd name="T22" fmla="*/ 484 w 657"/>
                  <a:gd name="T23" fmla="*/ 129 h 597"/>
                  <a:gd name="T24" fmla="*/ 524 w 657"/>
                  <a:gd name="T25" fmla="*/ 123 h 597"/>
                  <a:gd name="T26" fmla="*/ 540 w 657"/>
                  <a:gd name="T27" fmla="*/ 82 h 597"/>
                  <a:gd name="T28" fmla="*/ 586 w 657"/>
                  <a:gd name="T29" fmla="*/ 63 h 597"/>
                  <a:gd name="T30" fmla="*/ 626 w 657"/>
                  <a:gd name="T31" fmla="*/ 98 h 597"/>
                  <a:gd name="T32" fmla="*/ 643 w 657"/>
                  <a:gd name="T33" fmla="*/ 81 h 597"/>
                  <a:gd name="T34" fmla="*/ 636 w 657"/>
                  <a:gd name="T35" fmla="*/ 73 h 597"/>
                  <a:gd name="T36" fmla="*/ 634 w 657"/>
                  <a:gd name="T37" fmla="*/ 61 h 597"/>
                  <a:gd name="T38" fmla="*/ 649 w 657"/>
                  <a:gd name="T39" fmla="*/ 34 h 597"/>
                  <a:gd name="T40" fmla="*/ 626 w 657"/>
                  <a:gd name="T41" fmla="*/ 34 h 597"/>
                  <a:gd name="T42" fmla="*/ 611 w 657"/>
                  <a:gd name="T43" fmla="*/ 15 h 597"/>
                  <a:gd name="T44" fmla="*/ 599 w 657"/>
                  <a:gd name="T45" fmla="*/ 9 h 597"/>
                  <a:gd name="T46" fmla="*/ 572 w 657"/>
                  <a:gd name="T47" fmla="*/ 27 h 597"/>
                  <a:gd name="T48" fmla="*/ 549 w 657"/>
                  <a:gd name="T49" fmla="*/ 17 h 597"/>
                  <a:gd name="T50" fmla="*/ 515 w 657"/>
                  <a:gd name="T51" fmla="*/ 63 h 597"/>
                  <a:gd name="T52" fmla="*/ 519 w 657"/>
                  <a:gd name="T53" fmla="*/ 15 h 597"/>
                  <a:gd name="T54" fmla="*/ 499 w 657"/>
                  <a:gd name="T55" fmla="*/ 11 h 597"/>
                  <a:gd name="T56" fmla="*/ 461 w 657"/>
                  <a:gd name="T57" fmla="*/ 52 h 597"/>
                  <a:gd name="T58" fmla="*/ 426 w 657"/>
                  <a:gd name="T59" fmla="*/ 52 h 597"/>
                  <a:gd name="T60" fmla="*/ 405 w 657"/>
                  <a:gd name="T61" fmla="*/ 67 h 597"/>
                  <a:gd name="T62" fmla="*/ 386 w 657"/>
                  <a:gd name="T63" fmla="*/ 57 h 597"/>
                  <a:gd name="T64" fmla="*/ 361 w 657"/>
                  <a:gd name="T65" fmla="*/ 63 h 597"/>
                  <a:gd name="T66" fmla="*/ 350 w 657"/>
                  <a:gd name="T67" fmla="*/ 86 h 597"/>
                  <a:gd name="T68" fmla="*/ 334 w 657"/>
                  <a:gd name="T69" fmla="*/ 81 h 597"/>
                  <a:gd name="T70" fmla="*/ 319 w 657"/>
                  <a:gd name="T71" fmla="*/ 134 h 597"/>
                  <a:gd name="T72" fmla="*/ 284 w 657"/>
                  <a:gd name="T73" fmla="*/ 157 h 597"/>
                  <a:gd name="T74" fmla="*/ 281 w 657"/>
                  <a:gd name="T75" fmla="*/ 202 h 597"/>
                  <a:gd name="T76" fmla="*/ 246 w 657"/>
                  <a:gd name="T77" fmla="*/ 229 h 597"/>
                  <a:gd name="T78" fmla="*/ 231 w 657"/>
                  <a:gd name="T79" fmla="*/ 259 h 597"/>
                  <a:gd name="T80" fmla="*/ 171 w 657"/>
                  <a:gd name="T81" fmla="*/ 307 h 597"/>
                  <a:gd name="T82" fmla="*/ 139 w 657"/>
                  <a:gd name="T83" fmla="*/ 338 h 597"/>
                  <a:gd name="T84" fmla="*/ 169 w 657"/>
                  <a:gd name="T85" fmla="*/ 340 h 597"/>
                  <a:gd name="T86" fmla="*/ 127 w 657"/>
                  <a:gd name="T87" fmla="*/ 342 h 597"/>
                  <a:gd name="T88" fmla="*/ 96 w 657"/>
                  <a:gd name="T89" fmla="*/ 348 h 597"/>
                  <a:gd name="T90" fmla="*/ 89 w 657"/>
                  <a:gd name="T91" fmla="*/ 378 h 597"/>
                  <a:gd name="T92" fmla="*/ 69 w 657"/>
                  <a:gd name="T93" fmla="*/ 398 h 597"/>
                  <a:gd name="T94" fmla="*/ 39 w 657"/>
                  <a:gd name="T95" fmla="*/ 421 h 597"/>
                  <a:gd name="T96" fmla="*/ 0 w 657"/>
                  <a:gd name="T97" fmla="*/ 444 h 597"/>
                  <a:gd name="T98" fmla="*/ 6 w 657"/>
                  <a:gd name="T99" fmla="*/ 473 h 597"/>
                  <a:gd name="T100" fmla="*/ 20 w 657"/>
                  <a:gd name="T101" fmla="*/ 494 h 597"/>
                  <a:gd name="T102" fmla="*/ 27 w 657"/>
                  <a:gd name="T103" fmla="*/ 509 h 597"/>
                  <a:gd name="T104" fmla="*/ 27 w 657"/>
                  <a:gd name="T105" fmla="*/ 528 h 597"/>
                  <a:gd name="T106" fmla="*/ 37 w 657"/>
                  <a:gd name="T107" fmla="*/ 546 h 597"/>
                  <a:gd name="T108" fmla="*/ 52 w 657"/>
                  <a:gd name="T109" fmla="*/ 586 h 597"/>
                  <a:gd name="T110" fmla="*/ 131 w 657"/>
                  <a:gd name="T111" fmla="*/ 567 h 59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57"/>
                  <a:gd name="T169" fmla="*/ 0 h 597"/>
                  <a:gd name="T170" fmla="*/ 657 w 657"/>
                  <a:gd name="T171" fmla="*/ 597 h 597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57" h="597">
                    <a:moveTo>
                      <a:pt x="165" y="555"/>
                    </a:moveTo>
                    <a:lnTo>
                      <a:pt x="167" y="555"/>
                    </a:lnTo>
                    <a:lnTo>
                      <a:pt x="171" y="557"/>
                    </a:lnTo>
                    <a:lnTo>
                      <a:pt x="175" y="555"/>
                    </a:lnTo>
                    <a:lnTo>
                      <a:pt x="177" y="549"/>
                    </a:lnTo>
                    <a:lnTo>
                      <a:pt x="177" y="542"/>
                    </a:lnTo>
                    <a:lnTo>
                      <a:pt x="173" y="534"/>
                    </a:lnTo>
                    <a:lnTo>
                      <a:pt x="171" y="528"/>
                    </a:lnTo>
                    <a:lnTo>
                      <a:pt x="171" y="523"/>
                    </a:lnTo>
                    <a:lnTo>
                      <a:pt x="169" y="521"/>
                    </a:lnTo>
                    <a:lnTo>
                      <a:pt x="173" y="521"/>
                    </a:lnTo>
                    <a:lnTo>
                      <a:pt x="177" y="517"/>
                    </a:lnTo>
                    <a:lnTo>
                      <a:pt x="177" y="513"/>
                    </a:lnTo>
                    <a:lnTo>
                      <a:pt x="185" y="505"/>
                    </a:lnTo>
                    <a:lnTo>
                      <a:pt x="185" y="501"/>
                    </a:lnTo>
                    <a:lnTo>
                      <a:pt x="181" y="496"/>
                    </a:lnTo>
                    <a:lnTo>
                      <a:pt x="177" y="492"/>
                    </a:lnTo>
                    <a:lnTo>
                      <a:pt x="179" y="486"/>
                    </a:lnTo>
                    <a:lnTo>
                      <a:pt x="181" y="482"/>
                    </a:lnTo>
                    <a:lnTo>
                      <a:pt x="181" y="465"/>
                    </a:lnTo>
                    <a:lnTo>
                      <a:pt x="183" y="467"/>
                    </a:lnTo>
                    <a:lnTo>
                      <a:pt x="185" y="467"/>
                    </a:lnTo>
                    <a:lnTo>
                      <a:pt x="192" y="459"/>
                    </a:lnTo>
                    <a:lnTo>
                      <a:pt x="192" y="440"/>
                    </a:lnTo>
                    <a:lnTo>
                      <a:pt x="188" y="436"/>
                    </a:lnTo>
                    <a:lnTo>
                      <a:pt x="185" y="434"/>
                    </a:lnTo>
                    <a:lnTo>
                      <a:pt x="183" y="432"/>
                    </a:lnTo>
                    <a:lnTo>
                      <a:pt x="183" y="426"/>
                    </a:lnTo>
                    <a:lnTo>
                      <a:pt x="185" y="421"/>
                    </a:lnTo>
                    <a:lnTo>
                      <a:pt x="187" y="413"/>
                    </a:lnTo>
                    <a:lnTo>
                      <a:pt x="187" y="405"/>
                    </a:lnTo>
                    <a:lnTo>
                      <a:pt x="185" y="398"/>
                    </a:lnTo>
                    <a:lnTo>
                      <a:pt x="185" y="384"/>
                    </a:lnTo>
                    <a:lnTo>
                      <a:pt x="187" y="378"/>
                    </a:lnTo>
                    <a:lnTo>
                      <a:pt x="187" y="373"/>
                    </a:lnTo>
                    <a:lnTo>
                      <a:pt x="183" y="361"/>
                    </a:lnTo>
                    <a:lnTo>
                      <a:pt x="185" y="355"/>
                    </a:lnTo>
                    <a:lnTo>
                      <a:pt x="192" y="350"/>
                    </a:lnTo>
                    <a:lnTo>
                      <a:pt x="196" y="342"/>
                    </a:lnTo>
                    <a:lnTo>
                      <a:pt x="200" y="336"/>
                    </a:lnTo>
                    <a:lnTo>
                      <a:pt x="206" y="328"/>
                    </a:lnTo>
                    <a:lnTo>
                      <a:pt x="210" y="321"/>
                    </a:lnTo>
                    <a:lnTo>
                      <a:pt x="213" y="315"/>
                    </a:lnTo>
                    <a:lnTo>
                      <a:pt x="229" y="303"/>
                    </a:lnTo>
                    <a:lnTo>
                      <a:pt x="234" y="305"/>
                    </a:lnTo>
                    <a:lnTo>
                      <a:pt x="238" y="311"/>
                    </a:lnTo>
                    <a:lnTo>
                      <a:pt x="246" y="317"/>
                    </a:lnTo>
                    <a:lnTo>
                      <a:pt x="250" y="317"/>
                    </a:lnTo>
                    <a:lnTo>
                      <a:pt x="254" y="302"/>
                    </a:lnTo>
                    <a:lnTo>
                      <a:pt x="256" y="292"/>
                    </a:lnTo>
                    <a:lnTo>
                      <a:pt x="254" y="282"/>
                    </a:lnTo>
                    <a:lnTo>
                      <a:pt x="254" y="275"/>
                    </a:lnTo>
                    <a:lnTo>
                      <a:pt x="256" y="271"/>
                    </a:lnTo>
                    <a:lnTo>
                      <a:pt x="261" y="267"/>
                    </a:lnTo>
                    <a:lnTo>
                      <a:pt x="269" y="263"/>
                    </a:lnTo>
                    <a:lnTo>
                      <a:pt x="275" y="255"/>
                    </a:lnTo>
                    <a:lnTo>
                      <a:pt x="279" y="242"/>
                    </a:lnTo>
                    <a:lnTo>
                      <a:pt x="281" y="232"/>
                    </a:lnTo>
                    <a:lnTo>
                      <a:pt x="281" y="225"/>
                    </a:lnTo>
                    <a:lnTo>
                      <a:pt x="282" y="217"/>
                    </a:lnTo>
                    <a:lnTo>
                      <a:pt x="288" y="213"/>
                    </a:lnTo>
                    <a:lnTo>
                      <a:pt x="294" y="213"/>
                    </a:lnTo>
                    <a:lnTo>
                      <a:pt x="296" y="211"/>
                    </a:lnTo>
                    <a:lnTo>
                      <a:pt x="298" y="207"/>
                    </a:lnTo>
                    <a:lnTo>
                      <a:pt x="300" y="202"/>
                    </a:lnTo>
                    <a:lnTo>
                      <a:pt x="306" y="200"/>
                    </a:lnTo>
                    <a:lnTo>
                      <a:pt x="317" y="188"/>
                    </a:lnTo>
                    <a:lnTo>
                      <a:pt x="317" y="184"/>
                    </a:lnTo>
                    <a:lnTo>
                      <a:pt x="319" y="177"/>
                    </a:lnTo>
                    <a:lnTo>
                      <a:pt x="321" y="171"/>
                    </a:lnTo>
                    <a:lnTo>
                      <a:pt x="327" y="159"/>
                    </a:lnTo>
                    <a:lnTo>
                      <a:pt x="332" y="154"/>
                    </a:lnTo>
                    <a:lnTo>
                      <a:pt x="340" y="159"/>
                    </a:lnTo>
                    <a:lnTo>
                      <a:pt x="350" y="169"/>
                    </a:lnTo>
                    <a:lnTo>
                      <a:pt x="352" y="169"/>
                    </a:lnTo>
                    <a:lnTo>
                      <a:pt x="352" y="155"/>
                    </a:lnTo>
                    <a:lnTo>
                      <a:pt x="353" y="152"/>
                    </a:lnTo>
                    <a:lnTo>
                      <a:pt x="357" y="150"/>
                    </a:lnTo>
                    <a:lnTo>
                      <a:pt x="359" y="148"/>
                    </a:lnTo>
                    <a:lnTo>
                      <a:pt x="365" y="148"/>
                    </a:lnTo>
                    <a:lnTo>
                      <a:pt x="371" y="150"/>
                    </a:lnTo>
                    <a:lnTo>
                      <a:pt x="378" y="152"/>
                    </a:lnTo>
                    <a:lnTo>
                      <a:pt x="382" y="150"/>
                    </a:lnTo>
                    <a:lnTo>
                      <a:pt x="386" y="144"/>
                    </a:lnTo>
                    <a:lnTo>
                      <a:pt x="390" y="125"/>
                    </a:lnTo>
                    <a:lnTo>
                      <a:pt x="386" y="115"/>
                    </a:lnTo>
                    <a:lnTo>
                      <a:pt x="398" y="115"/>
                    </a:lnTo>
                    <a:lnTo>
                      <a:pt x="411" y="109"/>
                    </a:lnTo>
                    <a:lnTo>
                      <a:pt x="411" y="104"/>
                    </a:lnTo>
                    <a:lnTo>
                      <a:pt x="415" y="100"/>
                    </a:lnTo>
                    <a:lnTo>
                      <a:pt x="423" y="100"/>
                    </a:lnTo>
                    <a:lnTo>
                      <a:pt x="451" y="131"/>
                    </a:lnTo>
                    <a:lnTo>
                      <a:pt x="455" y="129"/>
                    </a:lnTo>
                    <a:lnTo>
                      <a:pt x="476" y="129"/>
                    </a:lnTo>
                    <a:lnTo>
                      <a:pt x="484" y="131"/>
                    </a:lnTo>
                    <a:lnTo>
                      <a:pt x="484" y="129"/>
                    </a:lnTo>
                    <a:lnTo>
                      <a:pt x="488" y="127"/>
                    </a:lnTo>
                    <a:lnTo>
                      <a:pt x="494" y="127"/>
                    </a:lnTo>
                    <a:lnTo>
                      <a:pt x="496" y="131"/>
                    </a:lnTo>
                    <a:lnTo>
                      <a:pt x="511" y="142"/>
                    </a:lnTo>
                    <a:lnTo>
                      <a:pt x="511" y="136"/>
                    </a:lnTo>
                    <a:lnTo>
                      <a:pt x="515" y="132"/>
                    </a:lnTo>
                    <a:lnTo>
                      <a:pt x="520" y="129"/>
                    </a:lnTo>
                    <a:lnTo>
                      <a:pt x="524" y="123"/>
                    </a:lnTo>
                    <a:lnTo>
                      <a:pt x="526" y="115"/>
                    </a:lnTo>
                    <a:lnTo>
                      <a:pt x="526" y="104"/>
                    </a:lnTo>
                    <a:lnTo>
                      <a:pt x="524" y="100"/>
                    </a:lnTo>
                    <a:lnTo>
                      <a:pt x="526" y="96"/>
                    </a:lnTo>
                    <a:lnTo>
                      <a:pt x="526" y="94"/>
                    </a:lnTo>
                    <a:lnTo>
                      <a:pt x="528" y="92"/>
                    </a:lnTo>
                    <a:lnTo>
                      <a:pt x="532" y="86"/>
                    </a:lnTo>
                    <a:lnTo>
                      <a:pt x="540" y="82"/>
                    </a:lnTo>
                    <a:lnTo>
                      <a:pt x="545" y="79"/>
                    </a:lnTo>
                    <a:lnTo>
                      <a:pt x="547" y="73"/>
                    </a:lnTo>
                    <a:lnTo>
                      <a:pt x="549" y="71"/>
                    </a:lnTo>
                    <a:lnTo>
                      <a:pt x="559" y="71"/>
                    </a:lnTo>
                    <a:lnTo>
                      <a:pt x="565" y="75"/>
                    </a:lnTo>
                    <a:lnTo>
                      <a:pt x="572" y="71"/>
                    </a:lnTo>
                    <a:lnTo>
                      <a:pt x="580" y="65"/>
                    </a:lnTo>
                    <a:lnTo>
                      <a:pt x="586" y="63"/>
                    </a:lnTo>
                    <a:lnTo>
                      <a:pt x="588" y="67"/>
                    </a:lnTo>
                    <a:lnTo>
                      <a:pt x="591" y="77"/>
                    </a:lnTo>
                    <a:lnTo>
                      <a:pt x="599" y="84"/>
                    </a:lnTo>
                    <a:lnTo>
                      <a:pt x="611" y="92"/>
                    </a:lnTo>
                    <a:lnTo>
                      <a:pt x="615" y="96"/>
                    </a:lnTo>
                    <a:lnTo>
                      <a:pt x="622" y="100"/>
                    </a:lnTo>
                    <a:lnTo>
                      <a:pt x="624" y="98"/>
                    </a:lnTo>
                    <a:lnTo>
                      <a:pt x="626" y="98"/>
                    </a:lnTo>
                    <a:lnTo>
                      <a:pt x="626" y="106"/>
                    </a:lnTo>
                    <a:lnTo>
                      <a:pt x="628" y="107"/>
                    </a:lnTo>
                    <a:lnTo>
                      <a:pt x="628" y="109"/>
                    </a:lnTo>
                    <a:lnTo>
                      <a:pt x="632" y="107"/>
                    </a:lnTo>
                    <a:lnTo>
                      <a:pt x="636" y="102"/>
                    </a:lnTo>
                    <a:lnTo>
                      <a:pt x="636" y="82"/>
                    </a:lnTo>
                    <a:lnTo>
                      <a:pt x="638" y="82"/>
                    </a:lnTo>
                    <a:lnTo>
                      <a:pt x="643" y="81"/>
                    </a:lnTo>
                    <a:lnTo>
                      <a:pt x="647" y="77"/>
                    </a:lnTo>
                    <a:lnTo>
                      <a:pt x="649" y="73"/>
                    </a:lnTo>
                    <a:lnTo>
                      <a:pt x="653" y="67"/>
                    </a:lnTo>
                    <a:lnTo>
                      <a:pt x="655" y="65"/>
                    </a:lnTo>
                    <a:lnTo>
                      <a:pt x="649" y="63"/>
                    </a:lnTo>
                    <a:lnTo>
                      <a:pt x="645" y="63"/>
                    </a:lnTo>
                    <a:lnTo>
                      <a:pt x="641" y="71"/>
                    </a:lnTo>
                    <a:lnTo>
                      <a:pt x="636" y="73"/>
                    </a:lnTo>
                    <a:lnTo>
                      <a:pt x="630" y="73"/>
                    </a:lnTo>
                    <a:lnTo>
                      <a:pt x="622" y="77"/>
                    </a:lnTo>
                    <a:lnTo>
                      <a:pt x="620" y="71"/>
                    </a:lnTo>
                    <a:lnTo>
                      <a:pt x="616" y="65"/>
                    </a:lnTo>
                    <a:lnTo>
                      <a:pt x="615" y="61"/>
                    </a:lnTo>
                    <a:lnTo>
                      <a:pt x="620" y="59"/>
                    </a:lnTo>
                    <a:lnTo>
                      <a:pt x="628" y="61"/>
                    </a:lnTo>
                    <a:lnTo>
                      <a:pt x="634" y="61"/>
                    </a:lnTo>
                    <a:lnTo>
                      <a:pt x="636" y="57"/>
                    </a:lnTo>
                    <a:lnTo>
                      <a:pt x="639" y="52"/>
                    </a:lnTo>
                    <a:lnTo>
                      <a:pt x="641" y="50"/>
                    </a:lnTo>
                    <a:lnTo>
                      <a:pt x="647" y="50"/>
                    </a:lnTo>
                    <a:lnTo>
                      <a:pt x="651" y="52"/>
                    </a:lnTo>
                    <a:lnTo>
                      <a:pt x="657" y="52"/>
                    </a:lnTo>
                    <a:lnTo>
                      <a:pt x="653" y="48"/>
                    </a:lnTo>
                    <a:lnTo>
                      <a:pt x="649" y="34"/>
                    </a:lnTo>
                    <a:lnTo>
                      <a:pt x="643" y="34"/>
                    </a:lnTo>
                    <a:lnTo>
                      <a:pt x="645" y="38"/>
                    </a:lnTo>
                    <a:lnTo>
                      <a:pt x="634" y="38"/>
                    </a:lnTo>
                    <a:lnTo>
                      <a:pt x="634" y="36"/>
                    </a:lnTo>
                    <a:lnTo>
                      <a:pt x="636" y="33"/>
                    </a:lnTo>
                    <a:lnTo>
                      <a:pt x="638" y="31"/>
                    </a:lnTo>
                    <a:lnTo>
                      <a:pt x="638" y="27"/>
                    </a:lnTo>
                    <a:lnTo>
                      <a:pt x="626" y="34"/>
                    </a:lnTo>
                    <a:lnTo>
                      <a:pt x="626" y="27"/>
                    </a:lnTo>
                    <a:lnTo>
                      <a:pt x="618" y="27"/>
                    </a:lnTo>
                    <a:lnTo>
                      <a:pt x="618" y="25"/>
                    </a:lnTo>
                    <a:lnTo>
                      <a:pt x="620" y="21"/>
                    </a:lnTo>
                    <a:lnTo>
                      <a:pt x="622" y="19"/>
                    </a:lnTo>
                    <a:lnTo>
                      <a:pt x="618" y="17"/>
                    </a:lnTo>
                    <a:lnTo>
                      <a:pt x="616" y="15"/>
                    </a:lnTo>
                    <a:lnTo>
                      <a:pt x="611" y="15"/>
                    </a:lnTo>
                    <a:lnTo>
                      <a:pt x="609" y="17"/>
                    </a:lnTo>
                    <a:lnTo>
                      <a:pt x="607" y="23"/>
                    </a:lnTo>
                    <a:lnTo>
                      <a:pt x="607" y="27"/>
                    </a:lnTo>
                    <a:lnTo>
                      <a:pt x="603" y="27"/>
                    </a:lnTo>
                    <a:lnTo>
                      <a:pt x="591" y="31"/>
                    </a:lnTo>
                    <a:lnTo>
                      <a:pt x="591" y="15"/>
                    </a:lnTo>
                    <a:lnTo>
                      <a:pt x="601" y="13"/>
                    </a:lnTo>
                    <a:lnTo>
                      <a:pt x="599" y="9"/>
                    </a:lnTo>
                    <a:lnTo>
                      <a:pt x="595" y="8"/>
                    </a:lnTo>
                    <a:lnTo>
                      <a:pt x="593" y="6"/>
                    </a:lnTo>
                    <a:lnTo>
                      <a:pt x="588" y="2"/>
                    </a:lnTo>
                    <a:lnTo>
                      <a:pt x="580" y="0"/>
                    </a:lnTo>
                    <a:lnTo>
                      <a:pt x="576" y="11"/>
                    </a:lnTo>
                    <a:lnTo>
                      <a:pt x="570" y="13"/>
                    </a:lnTo>
                    <a:lnTo>
                      <a:pt x="568" y="15"/>
                    </a:lnTo>
                    <a:lnTo>
                      <a:pt x="572" y="27"/>
                    </a:lnTo>
                    <a:lnTo>
                      <a:pt x="561" y="34"/>
                    </a:lnTo>
                    <a:lnTo>
                      <a:pt x="557" y="38"/>
                    </a:lnTo>
                    <a:lnTo>
                      <a:pt x="557" y="42"/>
                    </a:lnTo>
                    <a:lnTo>
                      <a:pt x="553" y="40"/>
                    </a:lnTo>
                    <a:lnTo>
                      <a:pt x="553" y="27"/>
                    </a:lnTo>
                    <a:lnTo>
                      <a:pt x="557" y="23"/>
                    </a:lnTo>
                    <a:lnTo>
                      <a:pt x="553" y="15"/>
                    </a:lnTo>
                    <a:lnTo>
                      <a:pt x="549" y="17"/>
                    </a:lnTo>
                    <a:lnTo>
                      <a:pt x="544" y="23"/>
                    </a:lnTo>
                    <a:lnTo>
                      <a:pt x="545" y="27"/>
                    </a:lnTo>
                    <a:lnTo>
                      <a:pt x="530" y="38"/>
                    </a:lnTo>
                    <a:lnTo>
                      <a:pt x="526" y="46"/>
                    </a:lnTo>
                    <a:lnTo>
                      <a:pt x="526" y="57"/>
                    </a:lnTo>
                    <a:lnTo>
                      <a:pt x="522" y="59"/>
                    </a:lnTo>
                    <a:lnTo>
                      <a:pt x="517" y="61"/>
                    </a:lnTo>
                    <a:lnTo>
                      <a:pt x="515" y="63"/>
                    </a:lnTo>
                    <a:lnTo>
                      <a:pt x="517" y="56"/>
                    </a:lnTo>
                    <a:lnTo>
                      <a:pt x="517" y="48"/>
                    </a:lnTo>
                    <a:lnTo>
                      <a:pt x="519" y="38"/>
                    </a:lnTo>
                    <a:lnTo>
                      <a:pt x="522" y="36"/>
                    </a:lnTo>
                    <a:lnTo>
                      <a:pt x="526" y="36"/>
                    </a:lnTo>
                    <a:lnTo>
                      <a:pt x="530" y="34"/>
                    </a:lnTo>
                    <a:lnTo>
                      <a:pt x="522" y="15"/>
                    </a:lnTo>
                    <a:lnTo>
                      <a:pt x="519" y="15"/>
                    </a:lnTo>
                    <a:lnTo>
                      <a:pt x="517" y="19"/>
                    </a:lnTo>
                    <a:lnTo>
                      <a:pt x="519" y="23"/>
                    </a:lnTo>
                    <a:lnTo>
                      <a:pt x="515" y="21"/>
                    </a:lnTo>
                    <a:lnTo>
                      <a:pt x="513" y="17"/>
                    </a:lnTo>
                    <a:lnTo>
                      <a:pt x="511" y="15"/>
                    </a:lnTo>
                    <a:lnTo>
                      <a:pt x="505" y="15"/>
                    </a:lnTo>
                    <a:lnTo>
                      <a:pt x="501" y="13"/>
                    </a:lnTo>
                    <a:lnTo>
                      <a:pt x="499" y="11"/>
                    </a:lnTo>
                    <a:lnTo>
                      <a:pt x="499" y="34"/>
                    </a:lnTo>
                    <a:lnTo>
                      <a:pt x="497" y="33"/>
                    </a:lnTo>
                    <a:lnTo>
                      <a:pt x="492" y="31"/>
                    </a:lnTo>
                    <a:lnTo>
                      <a:pt x="494" y="25"/>
                    </a:lnTo>
                    <a:lnTo>
                      <a:pt x="488" y="23"/>
                    </a:lnTo>
                    <a:lnTo>
                      <a:pt x="484" y="23"/>
                    </a:lnTo>
                    <a:lnTo>
                      <a:pt x="484" y="34"/>
                    </a:lnTo>
                    <a:lnTo>
                      <a:pt x="461" y="52"/>
                    </a:lnTo>
                    <a:lnTo>
                      <a:pt x="449" y="44"/>
                    </a:lnTo>
                    <a:lnTo>
                      <a:pt x="434" y="36"/>
                    </a:lnTo>
                    <a:lnTo>
                      <a:pt x="423" y="34"/>
                    </a:lnTo>
                    <a:lnTo>
                      <a:pt x="419" y="36"/>
                    </a:lnTo>
                    <a:lnTo>
                      <a:pt x="417" y="42"/>
                    </a:lnTo>
                    <a:lnTo>
                      <a:pt x="415" y="46"/>
                    </a:lnTo>
                    <a:lnTo>
                      <a:pt x="426" y="46"/>
                    </a:lnTo>
                    <a:lnTo>
                      <a:pt x="426" y="52"/>
                    </a:lnTo>
                    <a:lnTo>
                      <a:pt x="428" y="56"/>
                    </a:lnTo>
                    <a:lnTo>
                      <a:pt x="430" y="61"/>
                    </a:lnTo>
                    <a:lnTo>
                      <a:pt x="423" y="57"/>
                    </a:lnTo>
                    <a:lnTo>
                      <a:pt x="417" y="56"/>
                    </a:lnTo>
                    <a:lnTo>
                      <a:pt x="411" y="52"/>
                    </a:lnTo>
                    <a:lnTo>
                      <a:pt x="415" y="69"/>
                    </a:lnTo>
                    <a:lnTo>
                      <a:pt x="411" y="67"/>
                    </a:lnTo>
                    <a:lnTo>
                      <a:pt x="405" y="67"/>
                    </a:lnTo>
                    <a:lnTo>
                      <a:pt x="403" y="69"/>
                    </a:lnTo>
                    <a:lnTo>
                      <a:pt x="403" y="59"/>
                    </a:lnTo>
                    <a:lnTo>
                      <a:pt x="405" y="56"/>
                    </a:lnTo>
                    <a:lnTo>
                      <a:pt x="403" y="52"/>
                    </a:lnTo>
                    <a:lnTo>
                      <a:pt x="396" y="67"/>
                    </a:lnTo>
                    <a:lnTo>
                      <a:pt x="392" y="69"/>
                    </a:lnTo>
                    <a:lnTo>
                      <a:pt x="388" y="52"/>
                    </a:lnTo>
                    <a:lnTo>
                      <a:pt x="386" y="57"/>
                    </a:lnTo>
                    <a:lnTo>
                      <a:pt x="386" y="63"/>
                    </a:lnTo>
                    <a:lnTo>
                      <a:pt x="384" y="69"/>
                    </a:lnTo>
                    <a:lnTo>
                      <a:pt x="380" y="71"/>
                    </a:lnTo>
                    <a:lnTo>
                      <a:pt x="373" y="73"/>
                    </a:lnTo>
                    <a:lnTo>
                      <a:pt x="369" y="77"/>
                    </a:lnTo>
                    <a:lnTo>
                      <a:pt x="367" y="71"/>
                    </a:lnTo>
                    <a:lnTo>
                      <a:pt x="367" y="67"/>
                    </a:lnTo>
                    <a:lnTo>
                      <a:pt x="361" y="63"/>
                    </a:lnTo>
                    <a:lnTo>
                      <a:pt x="359" y="67"/>
                    </a:lnTo>
                    <a:lnTo>
                      <a:pt x="357" y="75"/>
                    </a:lnTo>
                    <a:lnTo>
                      <a:pt x="357" y="81"/>
                    </a:lnTo>
                    <a:lnTo>
                      <a:pt x="361" y="79"/>
                    </a:lnTo>
                    <a:lnTo>
                      <a:pt x="365" y="81"/>
                    </a:lnTo>
                    <a:lnTo>
                      <a:pt x="361" y="84"/>
                    </a:lnTo>
                    <a:lnTo>
                      <a:pt x="355" y="84"/>
                    </a:lnTo>
                    <a:lnTo>
                      <a:pt x="350" y="86"/>
                    </a:lnTo>
                    <a:lnTo>
                      <a:pt x="353" y="88"/>
                    </a:lnTo>
                    <a:lnTo>
                      <a:pt x="353" y="96"/>
                    </a:lnTo>
                    <a:lnTo>
                      <a:pt x="348" y="94"/>
                    </a:lnTo>
                    <a:lnTo>
                      <a:pt x="344" y="92"/>
                    </a:lnTo>
                    <a:lnTo>
                      <a:pt x="338" y="90"/>
                    </a:lnTo>
                    <a:lnTo>
                      <a:pt x="338" y="104"/>
                    </a:lnTo>
                    <a:lnTo>
                      <a:pt x="330" y="94"/>
                    </a:lnTo>
                    <a:lnTo>
                      <a:pt x="334" y="81"/>
                    </a:lnTo>
                    <a:lnTo>
                      <a:pt x="323" y="81"/>
                    </a:lnTo>
                    <a:lnTo>
                      <a:pt x="315" y="84"/>
                    </a:lnTo>
                    <a:lnTo>
                      <a:pt x="311" y="88"/>
                    </a:lnTo>
                    <a:lnTo>
                      <a:pt x="311" y="104"/>
                    </a:lnTo>
                    <a:lnTo>
                      <a:pt x="315" y="106"/>
                    </a:lnTo>
                    <a:lnTo>
                      <a:pt x="330" y="104"/>
                    </a:lnTo>
                    <a:lnTo>
                      <a:pt x="325" y="125"/>
                    </a:lnTo>
                    <a:lnTo>
                      <a:pt x="319" y="134"/>
                    </a:lnTo>
                    <a:lnTo>
                      <a:pt x="300" y="146"/>
                    </a:lnTo>
                    <a:lnTo>
                      <a:pt x="300" y="152"/>
                    </a:lnTo>
                    <a:lnTo>
                      <a:pt x="302" y="152"/>
                    </a:lnTo>
                    <a:lnTo>
                      <a:pt x="307" y="154"/>
                    </a:lnTo>
                    <a:lnTo>
                      <a:pt x="307" y="169"/>
                    </a:lnTo>
                    <a:lnTo>
                      <a:pt x="300" y="165"/>
                    </a:lnTo>
                    <a:lnTo>
                      <a:pt x="292" y="159"/>
                    </a:lnTo>
                    <a:lnTo>
                      <a:pt x="284" y="157"/>
                    </a:lnTo>
                    <a:lnTo>
                      <a:pt x="288" y="171"/>
                    </a:lnTo>
                    <a:lnTo>
                      <a:pt x="294" y="177"/>
                    </a:lnTo>
                    <a:lnTo>
                      <a:pt x="300" y="190"/>
                    </a:lnTo>
                    <a:lnTo>
                      <a:pt x="294" y="192"/>
                    </a:lnTo>
                    <a:lnTo>
                      <a:pt x="286" y="190"/>
                    </a:lnTo>
                    <a:lnTo>
                      <a:pt x="281" y="190"/>
                    </a:lnTo>
                    <a:lnTo>
                      <a:pt x="279" y="194"/>
                    </a:lnTo>
                    <a:lnTo>
                      <a:pt x="281" y="202"/>
                    </a:lnTo>
                    <a:lnTo>
                      <a:pt x="281" y="207"/>
                    </a:lnTo>
                    <a:lnTo>
                      <a:pt x="263" y="215"/>
                    </a:lnTo>
                    <a:lnTo>
                      <a:pt x="258" y="217"/>
                    </a:lnTo>
                    <a:lnTo>
                      <a:pt x="258" y="213"/>
                    </a:lnTo>
                    <a:lnTo>
                      <a:pt x="254" y="213"/>
                    </a:lnTo>
                    <a:lnTo>
                      <a:pt x="252" y="219"/>
                    </a:lnTo>
                    <a:lnTo>
                      <a:pt x="248" y="225"/>
                    </a:lnTo>
                    <a:lnTo>
                      <a:pt x="246" y="229"/>
                    </a:lnTo>
                    <a:lnTo>
                      <a:pt x="234" y="229"/>
                    </a:lnTo>
                    <a:lnTo>
                      <a:pt x="234" y="236"/>
                    </a:lnTo>
                    <a:lnTo>
                      <a:pt x="242" y="236"/>
                    </a:lnTo>
                    <a:lnTo>
                      <a:pt x="236" y="244"/>
                    </a:lnTo>
                    <a:lnTo>
                      <a:pt x="238" y="248"/>
                    </a:lnTo>
                    <a:lnTo>
                      <a:pt x="238" y="255"/>
                    </a:lnTo>
                    <a:lnTo>
                      <a:pt x="234" y="259"/>
                    </a:lnTo>
                    <a:lnTo>
                      <a:pt x="231" y="259"/>
                    </a:lnTo>
                    <a:lnTo>
                      <a:pt x="211" y="269"/>
                    </a:lnTo>
                    <a:lnTo>
                      <a:pt x="204" y="277"/>
                    </a:lnTo>
                    <a:lnTo>
                      <a:pt x="200" y="296"/>
                    </a:lnTo>
                    <a:lnTo>
                      <a:pt x="194" y="294"/>
                    </a:lnTo>
                    <a:lnTo>
                      <a:pt x="188" y="290"/>
                    </a:lnTo>
                    <a:lnTo>
                      <a:pt x="185" y="288"/>
                    </a:lnTo>
                    <a:lnTo>
                      <a:pt x="179" y="296"/>
                    </a:lnTo>
                    <a:lnTo>
                      <a:pt x="171" y="307"/>
                    </a:lnTo>
                    <a:lnTo>
                      <a:pt x="165" y="313"/>
                    </a:lnTo>
                    <a:lnTo>
                      <a:pt x="160" y="315"/>
                    </a:lnTo>
                    <a:lnTo>
                      <a:pt x="158" y="315"/>
                    </a:lnTo>
                    <a:lnTo>
                      <a:pt x="154" y="317"/>
                    </a:lnTo>
                    <a:lnTo>
                      <a:pt x="150" y="323"/>
                    </a:lnTo>
                    <a:lnTo>
                      <a:pt x="148" y="330"/>
                    </a:lnTo>
                    <a:lnTo>
                      <a:pt x="146" y="336"/>
                    </a:lnTo>
                    <a:lnTo>
                      <a:pt x="139" y="338"/>
                    </a:lnTo>
                    <a:lnTo>
                      <a:pt x="140" y="344"/>
                    </a:lnTo>
                    <a:lnTo>
                      <a:pt x="150" y="344"/>
                    </a:lnTo>
                    <a:lnTo>
                      <a:pt x="154" y="342"/>
                    </a:lnTo>
                    <a:lnTo>
                      <a:pt x="158" y="336"/>
                    </a:lnTo>
                    <a:lnTo>
                      <a:pt x="162" y="332"/>
                    </a:lnTo>
                    <a:lnTo>
                      <a:pt x="165" y="334"/>
                    </a:lnTo>
                    <a:lnTo>
                      <a:pt x="171" y="336"/>
                    </a:lnTo>
                    <a:lnTo>
                      <a:pt x="169" y="340"/>
                    </a:lnTo>
                    <a:lnTo>
                      <a:pt x="163" y="344"/>
                    </a:lnTo>
                    <a:lnTo>
                      <a:pt x="154" y="348"/>
                    </a:lnTo>
                    <a:lnTo>
                      <a:pt x="154" y="355"/>
                    </a:lnTo>
                    <a:lnTo>
                      <a:pt x="135" y="355"/>
                    </a:lnTo>
                    <a:lnTo>
                      <a:pt x="133" y="350"/>
                    </a:lnTo>
                    <a:lnTo>
                      <a:pt x="133" y="344"/>
                    </a:lnTo>
                    <a:lnTo>
                      <a:pt x="131" y="340"/>
                    </a:lnTo>
                    <a:lnTo>
                      <a:pt x="127" y="342"/>
                    </a:lnTo>
                    <a:lnTo>
                      <a:pt x="125" y="346"/>
                    </a:lnTo>
                    <a:lnTo>
                      <a:pt x="123" y="348"/>
                    </a:lnTo>
                    <a:lnTo>
                      <a:pt x="114" y="344"/>
                    </a:lnTo>
                    <a:lnTo>
                      <a:pt x="110" y="340"/>
                    </a:lnTo>
                    <a:lnTo>
                      <a:pt x="104" y="336"/>
                    </a:lnTo>
                    <a:lnTo>
                      <a:pt x="102" y="340"/>
                    </a:lnTo>
                    <a:lnTo>
                      <a:pt x="98" y="346"/>
                    </a:lnTo>
                    <a:lnTo>
                      <a:pt x="96" y="348"/>
                    </a:lnTo>
                    <a:lnTo>
                      <a:pt x="100" y="350"/>
                    </a:lnTo>
                    <a:lnTo>
                      <a:pt x="108" y="344"/>
                    </a:lnTo>
                    <a:lnTo>
                      <a:pt x="108" y="352"/>
                    </a:lnTo>
                    <a:lnTo>
                      <a:pt x="112" y="359"/>
                    </a:lnTo>
                    <a:lnTo>
                      <a:pt x="108" y="361"/>
                    </a:lnTo>
                    <a:lnTo>
                      <a:pt x="108" y="367"/>
                    </a:lnTo>
                    <a:lnTo>
                      <a:pt x="96" y="367"/>
                    </a:lnTo>
                    <a:lnTo>
                      <a:pt x="89" y="378"/>
                    </a:lnTo>
                    <a:lnTo>
                      <a:pt x="89" y="382"/>
                    </a:lnTo>
                    <a:lnTo>
                      <a:pt x="79" y="384"/>
                    </a:lnTo>
                    <a:lnTo>
                      <a:pt x="69" y="382"/>
                    </a:lnTo>
                    <a:lnTo>
                      <a:pt x="62" y="382"/>
                    </a:lnTo>
                    <a:lnTo>
                      <a:pt x="62" y="390"/>
                    </a:lnTo>
                    <a:lnTo>
                      <a:pt x="68" y="390"/>
                    </a:lnTo>
                    <a:lnTo>
                      <a:pt x="68" y="394"/>
                    </a:lnTo>
                    <a:lnTo>
                      <a:pt x="69" y="398"/>
                    </a:lnTo>
                    <a:lnTo>
                      <a:pt x="64" y="401"/>
                    </a:lnTo>
                    <a:lnTo>
                      <a:pt x="58" y="403"/>
                    </a:lnTo>
                    <a:lnTo>
                      <a:pt x="58" y="401"/>
                    </a:lnTo>
                    <a:lnTo>
                      <a:pt x="43" y="401"/>
                    </a:lnTo>
                    <a:lnTo>
                      <a:pt x="43" y="413"/>
                    </a:lnTo>
                    <a:lnTo>
                      <a:pt x="54" y="413"/>
                    </a:lnTo>
                    <a:lnTo>
                      <a:pt x="46" y="419"/>
                    </a:lnTo>
                    <a:lnTo>
                      <a:pt x="39" y="421"/>
                    </a:lnTo>
                    <a:lnTo>
                      <a:pt x="27" y="423"/>
                    </a:lnTo>
                    <a:lnTo>
                      <a:pt x="12" y="425"/>
                    </a:lnTo>
                    <a:lnTo>
                      <a:pt x="12" y="432"/>
                    </a:lnTo>
                    <a:lnTo>
                      <a:pt x="27" y="436"/>
                    </a:lnTo>
                    <a:lnTo>
                      <a:pt x="37" y="440"/>
                    </a:lnTo>
                    <a:lnTo>
                      <a:pt x="21" y="438"/>
                    </a:lnTo>
                    <a:lnTo>
                      <a:pt x="8" y="436"/>
                    </a:lnTo>
                    <a:lnTo>
                      <a:pt x="0" y="444"/>
                    </a:lnTo>
                    <a:lnTo>
                      <a:pt x="4" y="457"/>
                    </a:lnTo>
                    <a:lnTo>
                      <a:pt x="10" y="461"/>
                    </a:lnTo>
                    <a:lnTo>
                      <a:pt x="23" y="459"/>
                    </a:lnTo>
                    <a:lnTo>
                      <a:pt x="18" y="463"/>
                    </a:lnTo>
                    <a:lnTo>
                      <a:pt x="12" y="465"/>
                    </a:lnTo>
                    <a:lnTo>
                      <a:pt x="4" y="467"/>
                    </a:lnTo>
                    <a:lnTo>
                      <a:pt x="6" y="469"/>
                    </a:lnTo>
                    <a:lnTo>
                      <a:pt x="6" y="473"/>
                    </a:lnTo>
                    <a:lnTo>
                      <a:pt x="8" y="474"/>
                    </a:lnTo>
                    <a:lnTo>
                      <a:pt x="16" y="474"/>
                    </a:lnTo>
                    <a:lnTo>
                      <a:pt x="16" y="482"/>
                    </a:lnTo>
                    <a:lnTo>
                      <a:pt x="12" y="484"/>
                    </a:lnTo>
                    <a:lnTo>
                      <a:pt x="4" y="486"/>
                    </a:lnTo>
                    <a:lnTo>
                      <a:pt x="16" y="490"/>
                    </a:lnTo>
                    <a:lnTo>
                      <a:pt x="20" y="490"/>
                    </a:lnTo>
                    <a:lnTo>
                      <a:pt x="20" y="494"/>
                    </a:lnTo>
                    <a:lnTo>
                      <a:pt x="18" y="499"/>
                    </a:lnTo>
                    <a:lnTo>
                      <a:pt x="16" y="501"/>
                    </a:lnTo>
                    <a:lnTo>
                      <a:pt x="21" y="503"/>
                    </a:lnTo>
                    <a:lnTo>
                      <a:pt x="23" y="505"/>
                    </a:lnTo>
                    <a:lnTo>
                      <a:pt x="25" y="505"/>
                    </a:lnTo>
                    <a:lnTo>
                      <a:pt x="23" y="503"/>
                    </a:lnTo>
                    <a:lnTo>
                      <a:pt x="21" y="505"/>
                    </a:lnTo>
                    <a:lnTo>
                      <a:pt x="27" y="509"/>
                    </a:lnTo>
                    <a:lnTo>
                      <a:pt x="35" y="501"/>
                    </a:lnTo>
                    <a:lnTo>
                      <a:pt x="39" y="494"/>
                    </a:lnTo>
                    <a:lnTo>
                      <a:pt x="50" y="496"/>
                    </a:lnTo>
                    <a:lnTo>
                      <a:pt x="50" y="498"/>
                    </a:lnTo>
                    <a:lnTo>
                      <a:pt x="43" y="498"/>
                    </a:lnTo>
                    <a:lnTo>
                      <a:pt x="37" y="509"/>
                    </a:lnTo>
                    <a:lnTo>
                      <a:pt x="33" y="519"/>
                    </a:lnTo>
                    <a:lnTo>
                      <a:pt x="27" y="528"/>
                    </a:lnTo>
                    <a:lnTo>
                      <a:pt x="12" y="528"/>
                    </a:lnTo>
                    <a:lnTo>
                      <a:pt x="12" y="540"/>
                    </a:lnTo>
                    <a:lnTo>
                      <a:pt x="14" y="542"/>
                    </a:lnTo>
                    <a:lnTo>
                      <a:pt x="20" y="546"/>
                    </a:lnTo>
                    <a:lnTo>
                      <a:pt x="23" y="548"/>
                    </a:lnTo>
                    <a:lnTo>
                      <a:pt x="25" y="540"/>
                    </a:lnTo>
                    <a:lnTo>
                      <a:pt x="35" y="540"/>
                    </a:lnTo>
                    <a:lnTo>
                      <a:pt x="37" y="546"/>
                    </a:lnTo>
                    <a:lnTo>
                      <a:pt x="37" y="551"/>
                    </a:lnTo>
                    <a:lnTo>
                      <a:pt x="35" y="551"/>
                    </a:lnTo>
                    <a:lnTo>
                      <a:pt x="23" y="563"/>
                    </a:lnTo>
                    <a:lnTo>
                      <a:pt x="23" y="578"/>
                    </a:lnTo>
                    <a:lnTo>
                      <a:pt x="31" y="578"/>
                    </a:lnTo>
                    <a:lnTo>
                      <a:pt x="35" y="590"/>
                    </a:lnTo>
                    <a:lnTo>
                      <a:pt x="46" y="590"/>
                    </a:lnTo>
                    <a:lnTo>
                      <a:pt x="52" y="586"/>
                    </a:lnTo>
                    <a:lnTo>
                      <a:pt x="54" y="586"/>
                    </a:lnTo>
                    <a:lnTo>
                      <a:pt x="54" y="597"/>
                    </a:lnTo>
                    <a:lnTo>
                      <a:pt x="71" y="596"/>
                    </a:lnTo>
                    <a:lnTo>
                      <a:pt x="91" y="588"/>
                    </a:lnTo>
                    <a:lnTo>
                      <a:pt x="108" y="578"/>
                    </a:lnTo>
                    <a:lnTo>
                      <a:pt x="112" y="571"/>
                    </a:lnTo>
                    <a:lnTo>
                      <a:pt x="115" y="567"/>
                    </a:lnTo>
                    <a:lnTo>
                      <a:pt x="131" y="567"/>
                    </a:lnTo>
                    <a:lnTo>
                      <a:pt x="140" y="563"/>
                    </a:lnTo>
                    <a:lnTo>
                      <a:pt x="150" y="555"/>
                    </a:lnTo>
                    <a:lnTo>
                      <a:pt x="162" y="548"/>
                    </a:lnTo>
                    <a:lnTo>
                      <a:pt x="162" y="551"/>
                    </a:lnTo>
                    <a:lnTo>
                      <a:pt x="165" y="55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29" name="Freeform 117"/>
              <p:cNvSpPr>
                <a:spLocks/>
              </p:cNvSpPr>
              <p:nvPr/>
            </p:nvSpPr>
            <p:spPr bwMode="gray">
              <a:xfrm>
                <a:off x="4581" y="2079"/>
                <a:ext cx="75" cy="101"/>
              </a:xfrm>
              <a:custGeom>
                <a:avLst/>
                <a:gdLst>
                  <a:gd name="T0" fmla="*/ 129 w 152"/>
                  <a:gd name="T1" fmla="*/ 44 h 202"/>
                  <a:gd name="T2" fmla="*/ 117 w 152"/>
                  <a:gd name="T3" fmla="*/ 60 h 202"/>
                  <a:gd name="T4" fmla="*/ 117 w 152"/>
                  <a:gd name="T5" fmla="*/ 67 h 202"/>
                  <a:gd name="T6" fmla="*/ 123 w 152"/>
                  <a:gd name="T7" fmla="*/ 69 h 202"/>
                  <a:gd name="T8" fmla="*/ 127 w 152"/>
                  <a:gd name="T9" fmla="*/ 83 h 202"/>
                  <a:gd name="T10" fmla="*/ 119 w 152"/>
                  <a:gd name="T11" fmla="*/ 102 h 202"/>
                  <a:gd name="T12" fmla="*/ 106 w 152"/>
                  <a:gd name="T13" fmla="*/ 104 h 202"/>
                  <a:gd name="T14" fmla="*/ 98 w 152"/>
                  <a:gd name="T15" fmla="*/ 110 h 202"/>
                  <a:gd name="T16" fmla="*/ 92 w 152"/>
                  <a:gd name="T17" fmla="*/ 121 h 202"/>
                  <a:gd name="T18" fmla="*/ 79 w 152"/>
                  <a:gd name="T19" fmla="*/ 125 h 202"/>
                  <a:gd name="T20" fmla="*/ 71 w 152"/>
                  <a:gd name="T21" fmla="*/ 135 h 202"/>
                  <a:gd name="T22" fmla="*/ 65 w 152"/>
                  <a:gd name="T23" fmla="*/ 154 h 202"/>
                  <a:gd name="T24" fmla="*/ 87 w 152"/>
                  <a:gd name="T25" fmla="*/ 161 h 202"/>
                  <a:gd name="T26" fmla="*/ 92 w 152"/>
                  <a:gd name="T27" fmla="*/ 169 h 202"/>
                  <a:gd name="T28" fmla="*/ 90 w 152"/>
                  <a:gd name="T29" fmla="*/ 181 h 202"/>
                  <a:gd name="T30" fmla="*/ 89 w 152"/>
                  <a:gd name="T31" fmla="*/ 188 h 202"/>
                  <a:gd name="T32" fmla="*/ 77 w 152"/>
                  <a:gd name="T33" fmla="*/ 188 h 202"/>
                  <a:gd name="T34" fmla="*/ 69 w 152"/>
                  <a:gd name="T35" fmla="*/ 183 h 202"/>
                  <a:gd name="T36" fmla="*/ 46 w 152"/>
                  <a:gd name="T37" fmla="*/ 202 h 202"/>
                  <a:gd name="T38" fmla="*/ 14 w 152"/>
                  <a:gd name="T39" fmla="*/ 196 h 202"/>
                  <a:gd name="T40" fmla="*/ 12 w 152"/>
                  <a:gd name="T41" fmla="*/ 188 h 202"/>
                  <a:gd name="T42" fmla="*/ 0 w 152"/>
                  <a:gd name="T43" fmla="*/ 186 h 202"/>
                  <a:gd name="T44" fmla="*/ 2 w 152"/>
                  <a:gd name="T45" fmla="*/ 177 h 202"/>
                  <a:gd name="T46" fmla="*/ 4 w 152"/>
                  <a:gd name="T47" fmla="*/ 175 h 202"/>
                  <a:gd name="T48" fmla="*/ 8 w 152"/>
                  <a:gd name="T49" fmla="*/ 169 h 202"/>
                  <a:gd name="T50" fmla="*/ 19 w 152"/>
                  <a:gd name="T51" fmla="*/ 167 h 202"/>
                  <a:gd name="T52" fmla="*/ 12 w 152"/>
                  <a:gd name="T53" fmla="*/ 154 h 202"/>
                  <a:gd name="T54" fmla="*/ 17 w 152"/>
                  <a:gd name="T55" fmla="*/ 146 h 202"/>
                  <a:gd name="T56" fmla="*/ 12 w 152"/>
                  <a:gd name="T57" fmla="*/ 135 h 202"/>
                  <a:gd name="T58" fmla="*/ 4 w 152"/>
                  <a:gd name="T59" fmla="*/ 131 h 202"/>
                  <a:gd name="T60" fmla="*/ 23 w 152"/>
                  <a:gd name="T61" fmla="*/ 102 h 202"/>
                  <a:gd name="T62" fmla="*/ 41 w 152"/>
                  <a:gd name="T63" fmla="*/ 73 h 202"/>
                  <a:gd name="T64" fmla="*/ 54 w 152"/>
                  <a:gd name="T65" fmla="*/ 44 h 202"/>
                  <a:gd name="T66" fmla="*/ 71 w 152"/>
                  <a:gd name="T67" fmla="*/ 52 h 202"/>
                  <a:gd name="T68" fmla="*/ 96 w 152"/>
                  <a:gd name="T69" fmla="*/ 58 h 202"/>
                  <a:gd name="T70" fmla="*/ 94 w 152"/>
                  <a:gd name="T71" fmla="*/ 38 h 202"/>
                  <a:gd name="T72" fmla="*/ 115 w 152"/>
                  <a:gd name="T73" fmla="*/ 33 h 202"/>
                  <a:gd name="T74" fmla="*/ 121 w 152"/>
                  <a:gd name="T75" fmla="*/ 21 h 202"/>
                  <a:gd name="T76" fmla="*/ 135 w 152"/>
                  <a:gd name="T77" fmla="*/ 0 h 20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52"/>
                  <a:gd name="T118" fmla="*/ 0 h 202"/>
                  <a:gd name="T119" fmla="*/ 152 w 152"/>
                  <a:gd name="T120" fmla="*/ 202 h 20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52" h="202">
                    <a:moveTo>
                      <a:pt x="152" y="25"/>
                    </a:moveTo>
                    <a:lnTo>
                      <a:pt x="129" y="44"/>
                    </a:lnTo>
                    <a:lnTo>
                      <a:pt x="117" y="56"/>
                    </a:lnTo>
                    <a:lnTo>
                      <a:pt x="117" y="60"/>
                    </a:lnTo>
                    <a:lnTo>
                      <a:pt x="115" y="63"/>
                    </a:lnTo>
                    <a:lnTo>
                      <a:pt x="117" y="67"/>
                    </a:lnTo>
                    <a:lnTo>
                      <a:pt x="119" y="69"/>
                    </a:lnTo>
                    <a:lnTo>
                      <a:pt x="123" y="69"/>
                    </a:lnTo>
                    <a:lnTo>
                      <a:pt x="127" y="71"/>
                    </a:lnTo>
                    <a:lnTo>
                      <a:pt x="127" y="83"/>
                    </a:lnTo>
                    <a:lnTo>
                      <a:pt x="125" y="92"/>
                    </a:lnTo>
                    <a:lnTo>
                      <a:pt x="119" y="102"/>
                    </a:lnTo>
                    <a:lnTo>
                      <a:pt x="115" y="102"/>
                    </a:lnTo>
                    <a:lnTo>
                      <a:pt x="106" y="104"/>
                    </a:lnTo>
                    <a:lnTo>
                      <a:pt x="100" y="106"/>
                    </a:lnTo>
                    <a:lnTo>
                      <a:pt x="98" y="110"/>
                    </a:lnTo>
                    <a:lnTo>
                      <a:pt x="96" y="115"/>
                    </a:lnTo>
                    <a:lnTo>
                      <a:pt x="92" y="121"/>
                    </a:lnTo>
                    <a:lnTo>
                      <a:pt x="87" y="123"/>
                    </a:lnTo>
                    <a:lnTo>
                      <a:pt x="79" y="125"/>
                    </a:lnTo>
                    <a:lnTo>
                      <a:pt x="73" y="127"/>
                    </a:lnTo>
                    <a:lnTo>
                      <a:pt x="71" y="135"/>
                    </a:lnTo>
                    <a:lnTo>
                      <a:pt x="69" y="148"/>
                    </a:lnTo>
                    <a:lnTo>
                      <a:pt x="65" y="154"/>
                    </a:lnTo>
                    <a:lnTo>
                      <a:pt x="77" y="158"/>
                    </a:lnTo>
                    <a:lnTo>
                      <a:pt x="87" y="161"/>
                    </a:lnTo>
                    <a:lnTo>
                      <a:pt x="92" y="167"/>
                    </a:lnTo>
                    <a:lnTo>
                      <a:pt x="92" y="169"/>
                    </a:lnTo>
                    <a:lnTo>
                      <a:pt x="90" y="173"/>
                    </a:lnTo>
                    <a:lnTo>
                      <a:pt x="90" y="181"/>
                    </a:lnTo>
                    <a:lnTo>
                      <a:pt x="94" y="183"/>
                    </a:lnTo>
                    <a:lnTo>
                      <a:pt x="89" y="188"/>
                    </a:lnTo>
                    <a:lnTo>
                      <a:pt x="83" y="190"/>
                    </a:lnTo>
                    <a:lnTo>
                      <a:pt x="77" y="188"/>
                    </a:lnTo>
                    <a:lnTo>
                      <a:pt x="71" y="185"/>
                    </a:lnTo>
                    <a:lnTo>
                      <a:pt x="69" y="183"/>
                    </a:lnTo>
                    <a:lnTo>
                      <a:pt x="62" y="186"/>
                    </a:lnTo>
                    <a:lnTo>
                      <a:pt x="46" y="202"/>
                    </a:lnTo>
                    <a:lnTo>
                      <a:pt x="12" y="202"/>
                    </a:lnTo>
                    <a:lnTo>
                      <a:pt x="14" y="196"/>
                    </a:lnTo>
                    <a:lnTo>
                      <a:pt x="17" y="188"/>
                    </a:lnTo>
                    <a:lnTo>
                      <a:pt x="12" y="188"/>
                    </a:lnTo>
                    <a:lnTo>
                      <a:pt x="6" y="186"/>
                    </a:lnTo>
                    <a:lnTo>
                      <a:pt x="0" y="186"/>
                    </a:lnTo>
                    <a:lnTo>
                      <a:pt x="2" y="183"/>
                    </a:lnTo>
                    <a:lnTo>
                      <a:pt x="2" y="177"/>
                    </a:lnTo>
                    <a:lnTo>
                      <a:pt x="0" y="175"/>
                    </a:lnTo>
                    <a:lnTo>
                      <a:pt x="4" y="175"/>
                    </a:lnTo>
                    <a:lnTo>
                      <a:pt x="6" y="173"/>
                    </a:lnTo>
                    <a:lnTo>
                      <a:pt x="8" y="169"/>
                    </a:lnTo>
                    <a:lnTo>
                      <a:pt x="10" y="167"/>
                    </a:lnTo>
                    <a:lnTo>
                      <a:pt x="19" y="167"/>
                    </a:lnTo>
                    <a:lnTo>
                      <a:pt x="19" y="161"/>
                    </a:lnTo>
                    <a:lnTo>
                      <a:pt x="12" y="154"/>
                    </a:lnTo>
                    <a:lnTo>
                      <a:pt x="14" y="150"/>
                    </a:lnTo>
                    <a:lnTo>
                      <a:pt x="17" y="146"/>
                    </a:lnTo>
                    <a:lnTo>
                      <a:pt x="17" y="140"/>
                    </a:lnTo>
                    <a:lnTo>
                      <a:pt x="12" y="135"/>
                    </a:lnTo>
                    <a:lnTo>
                      <a:pt x="6" y="133"/>
                    </a:lnTo>
                    <a:lnTo>
                      <a:pt x="4" y="131"/>
                    </a:lnTo>
                    <a:lnTo>
                      <a:pt x="12" y="110"/>
                    </a:lnTo>
                    <a:lnTo>
                      <a:pt x="23" y="102"/>
                    </a:lnTo>
                    <a:lnTo>
                      <a:pt x="33" y="85"/>
                    </a:lnTo>
                    <a:lnTo>
                      <a:pt x="41" y="73"/>
                    </a:lnTo>
                    <a:lnTo>
                      <a:pt x="56" y="60"/>
                    </a:lnTo>
                    <a:lnTo>
                      <a:pt x="54" y="44"/>
                    </a:lnTo>
                    <a:lnTo>
                      <a:pt x="65" y="40"/>
                    </a:lnTo>
                    <a:lnTo>
                      <a:pt x="71" y="52"/>
                    </a:lnTo>
                    <a:lnTo>
                      <a:pt x="81" y="54"/>
                    </a:lnTo>
                    <a:lnTo>
                      <a:pt x="96" y="58"/>
                    </a:lnTo>
                    <a:lnTo>
                      <a:pt x="96" y="46"/>
                    </a:lnTo>
                    <a:lnTo>
                      <a:pt x="94" y="38"/>
                    </a:lnTo>
                    <a:lnTo>
                      <a:pt x="104" y="33"/>
                    </a:lnTo>
                    <a:lnTo>
                      <a:pt x="115" y="33"/>
                    </a:lnTo>
                    <a:lnTo>
                      <a:pt x="121" y="29"/>
                    </a:lnTo>
                    <a:lnTo>
                      <a:pt x="121" y="21"/>
                    </a:lnTo>
                    <a:lnTo>
                      <a:pt x="133" y="17"/>
                    </a:lnTo>
                    <a:lnTo>
                      <a:pt x="135" y="0"/>
                    </a:lnTo>
                    <a:lnTo>
                      <a:pt x="152" y="2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0" name="Freeform 118"/>
              <p:cNvSpPr>
                <a:spLocks/>
              </p:cNvSpPr>
              <p:nvPr/>
            </p:nvSpPr>
            <p:spPr bwMode="gray">
              <a:xfrm>
                <a:off x="3062" y="2558"/>
                <a:ext cx="150" cy="158"/>
              </a:xfrm>
              <a:custGeom>
                <a:avLst/>
                <a:gdLst>
                  <a:gd name="T0" fmla="*/ 293 w 299"/>
                  <a:gd name="T1" fmla="*/ 48 h 315"/>
                  <a:gd name="T2" fmla="*/ 297 w 299"/>
                  <a:gd name="T3" fmla="*/ 61 h 315"/>
                  <a:gd name="T4" fmla="*/ 286 w 299"/>
                  <a:gd name="T5" fmla="*/ 79 h 315"/>
                  <a:gd name="T6" fmla="*/ 276 w 299"/>
                  <a:gd name="T7" fmla="*/ 94 h 315"/>
                  <a:gd name="T8" fmla="*/ 272 w 299"/>
                  <a:gd name="T9" fmla="*/ 106 h 315"/>
                  <a:gd name="T10" fmla="*/ 261 w 299"/>
                  <a:gd name="T11" fmla="*/ 127 h 315"/>
                  <a:gd name="T12" fmla="*/ 261 w 299"/>
                  <a:gd name="T13" fmla="*/ 146 h 315"/>
                  <a:gd name="T14" fmla="*/ 242 w 299"/>
                  <a:gd name="T15" fmla="*/ 154 h 315"/>
                  <a:gd name="T16" fmla="*/ 234 w 299"/>
                  <a:gd name="T17" fmla="*/ 165 h 315"/>
                  <a:gd name="T18" fmla="*/ 226 w 299"/>
                  <a:gd name="T19" fmla="*/ 188 h 315"/>
                  <a:gd name="T20" fmla="*/ 217 w 299"/>
                  <a:gd name="T21" fmla="*/ 202 h 315"/>
                  <a:gd name="T22" fmla="*/ 207 w 299"/>
                  <a:gd name="T23" fmla="*/ 219 h 315"/>
                  <a:gd name="T24" fmla="*/ 209 w 299"/>
                  <a:gd name="T25" fmla="*/ 232 h 315"/>
                  <a:gd name="T26" fmla="*/ 198 w 299"/>
                  <a:gd name="T27" fmla="*/ 250 h 315"/>
                  <a:gd name="T28" fmla="*/ 188 w 299"/>
                  <a:gd name="T29" fmla="*/ 234 h 315"/>
                  <a:gd name="T30" fmla="*/ 176 w 299"/>
                  <a:gd name="T31" fmla="*/ 231 h 315"/>
                  <a:gd name="T32" fmla="*/ 163 w 299"/>
                  <a:gd name="T33" fmla="*/ 238 h 315"/>
                  <a:gd name="T34" fmla="*/ 150 w 299"/>
                  <a:gd name="T35" fmla="*/ 252 h 315"/>
                  <a:gd name="T36" fmla="*/ 142 w 299"/>
                  <a:gd name="T37" fmla="*/ 263 h 315"/>
                  <a:gd name="T38" fmla="*/ 146 w 299"/>
                  <a:gd name="T39" fmla="*/ 277 h 315"/>
                  <a:gd name="T40" fmla="*/ 144 w 299"/>
                  <a:gd name="T41" fmla="*/ 307 h 315"/>
                  <a:gd name="T42" fmla="*/ 140 w 299"/>
                  <a:gd name="T43" fmla="*/ 302 h 315"/>
                  <a:gd name="T44" fmla="*/ 130 w 299"/>
                  <a:gd name="T45" fmla="*/ 306 h 315"/>
                  <a:gd name="T46" fmla="*/ 121 w 299"/>
                  <a:gd name="T47" fmla="*/ 307 h 315"/>
                  <a:gd name="T48" fmla="*/ 82 w 299"/>
                  <a:gd name="T49" fmla="*/ 315 h 315"/>
                  <a:gd name="T50" fmla="*/ 67 w 299"/>
                  <a:gd name="T51" fmla="*/ 288 h 315"/>
                  <a:gd name="T52" fmla="*/ 63 w 299"/>
                  <a:gd name="T53" fmla="*/ 265 h 315"/>
                  <a:gd name="T54" fmla="*/ 29 w 299"/>
                  <a:gd name="T55" fmla="*/ 246 h 315"/>
                  <a:gd name="T56" fmla="*/ 4 w 299"/>
                  <a:gd name="T57" fmla="*/ 232 h 315"/>
                  <a:gd name="T58" fmla="*/ 0 w 299"/>
                  <a:gd name="T59" fmla="*/ 196 h 315"/>
                  <a:gd name="T60" fmla="*/ 2 w 299"/>
                  <a:gd name="T61" fmla="*/ 165 h 315"/>
                  <a:gd name="T62" fmla="*/ 9 w 299"/>
                  <a:gd name="T63" fmla="*/ 163 h 315"/>
                  <a:gd name="T64" fmla="*/ 9 w 299"/>
                  <a:gd name="T65" fmla="*/ 146 h 315"/>
                  <a:gd name="T66" fmla="*/ 15 w 299"/>
                  <a:gd name="T67" fmla="*/ 121 h 315"/>
                  <a:gd name="T68" fmla="*/ 23 w 299"/>
                  <a:gd name="T69" fmla="*/ 115 h 315"/>
                  <a:gd name="T70" fmla="*/ 23 w 299"/>
                  <a:gd name="T71" fmla="*/ 96 h 315"/>
                  <a:gd name="T72" fmla="*/ 13 w 299"/>
                  <a:gd name="T73" fmla="*/ 83 h 315"/>
                  <a:gd name="T74" fmla="*/ 17 w 299"/>
                  <a:gd name="T75" fmla="*/ 63 h 315"/>
                  <a:gd name="T76" fmla="*/ 32 w 299"/>
                  <a:gd name="T77" fmla="*/ 35 h 315"/>
                  <a:gd name="T78" fmla="*/ 38 w 299"/>
                  <a:gd name="T79" fmla="*/ 15 h 315"/>
                  <a:gd name="T80" fmla="*/ 69 w 299"/>
                  <a:gd name="T81" fmla="*/ 0 h 315"/>
                  <a:gd name="T82" fmla="*/ 90 w 299"/>
                  <a:gd name="T83" fmla="*/ 4 h 315"/>
                  <a:gd name="T84" fmla="*/ 105 w 299"/>
                  <a:gd name="T85" fmla="*/ 17 h 315"/>
                  <a:gd name="T86" fmla="*/ 123 w 299"/>
                  <a:gd name="T87" fmla="*/ 19 h 315"/>
                  <a:gd name="T88" fmla="*/ 142 w 299"/>
                  <a:gd name="T89" fmla="*/ 17 h 315"/>
                  <a:gd name="T90" fmla="*/ 155 w 299"/>
                  <a:gd name="T91" fmla="*/ 23 h 315"/>
                  <a:gd name="T92" fmla="*/ 178 w 299"/>
                  <a:gd name="T93" fmla="*/ 23 h 315"/>
                  <a:gd name="T94" fmla="*/ 196 w 299"/>
                  <a:gd name="T95" fmla="*/ 15 h 315"/>
                  <a:gd name="T96" fmla="*/ 221 w 299"/>
                  <a:gd name="T97" fmla="*/ 15 h 315"/>
                  <a:gd name="T98" fmla="*/ 251 w 299"/>
                  <a:gd name="T99" fmla="*/ 15 h 315"/>
                  <a:gd name="T100" fmla="*/ 263 w 299"/>
                  <a:gd name="T101" fmla="*/ 6 h 315"/>
                  <a:gd name="T102" fmla="*/ 292 w 299"/>
                  <a:gd name="T103" fmla="*/ 21 h 31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99"/>
                  <a:gd name="T157" fmla="*/ 0 h 315"/>
                  <a:gd name="T158" fmla="*/ 299 w 299"/>
                  <a:gd name="T159" fmla="*/ 315 h 31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99" h="315">
                    <a:moveTo>
                      <a:pt x="295" y="25"/>
                    </a:moveTo>
                    <a:lnTo>
                      <a:pt x="292" y="48"/>
                    </a:lnTo>
                    <a:lnTo>
                      <a:pt x="293" y="48"/>
                    </a:lnTo>
                    <a:lnTo>
                      <a:pt x="297" y="52"/>
                    </a:lnTo>
                    <a:lnTo>
                      <a:pt x="299" y="56"/>
                    </a:lnTo>
                    <a:lnTo>
                      <a:pt x="297" y="61"/>
                    </a:lnTo>
                    <a:lnTo>
                      <a:pt x="295" y="73"/>
                    </a:lnTo>
                    <a:lnTo>
                      <a:pt x="290" y="77"/>
                    </a:lnTo>
                    <a:lnTo>
                      <a:pt x="286" y="79"/>
                    </a:lnTo>
                    <a:lnTo>
                      <a:pt x="282" y="83"/>
                    </a:lnTo>
                    <a:lnTo>
                      <a:pt x="280" y="88"/>
                    </a:lnTo>
                    <a:lnTo>
                      <a:pt x="276" y="94"/>
                    </a:lnTo>
                    <a:lnTo>
                      <a:pt x="272" y="98"/>
                    </a:lnTo>
                    <a:lnTo>
                      <a:pt x="270" y="102"/>
                    </a:lnTo>
                    <a:lnTo>
                      <a:pt x="272" y="106"/>
                    </a:lnTo>
                    <a:lnTo>
                      <a:pt x="269" y="117"/>
                    </a:lnTo>
                    <a:lnTo>
                      <a:pt x="267" y="121"/>
                    </a:lnTo>
                    <a:lnTo>
                      <a:pt x="261" y="127"/>
                    </a:lnTo>
                    <a:lnTo>
                      <a:pt x="261" y="136"/>
                    </a:lnTo>
                    <a:lnTo>
                      <a:pt x="263" y="142"/>
                    </a:lnTo>
                    <a:lnTo>
                      <a:pt x="261" y="146"/>
                    </a:lnTo>
                    <a:lnTo>
                      <a:pt x="255" y="148"/>
                    </a:lnTo>
                    <a:lnTo>
                      <a:pt x="249" y="152"/>
                    </a:lnTo>
                    <a:lnTo>
                      <a:pt x="242" y="154"/>
                    </a:lnTo>
                    <a:lnTo>
                      <a:pt x="238" y="156"/>
                    </a:lnTo>
                    <a:lnTo>
                      <a:pt x="236" y="159"/>
                    </a:lnTo>
                    <a:lnTo>
                      <a:pt x="234" y="165"/>
                    </a:lnTo>
                    <a:lnTo>
                      <a:pt x="234" y="177"/>
                    </a:lnTo>
                    <a:lnTo>
                      <a:pt x="226" y="184"/>
                    </a:lnTo>
                    <a:lnTo>
                      <a:pt x="226" y="188"/>
                    </a:lnTo>
                    <a:lnTo>
                      <a:pt x="224" y="194"/>
                    </a:lnTo>
                    <a:lnTo>
                      <a:pt x="221" y="200"/>
                    </a:lnTo>
                    <a:lnTo>
                      <a:pt x="217" y="202"/>
                    </a:lnTo>
                    <a:lnTo>
                      <a:pt x="213" y="206"/>
                    </a:lnTo>
                    <a:lnTo>
                      <a:pt x="209" y="213"/>
                    </a:lnTo>
                    <a:lnTo>
                      <a:pt x="207" y="219"/>
                    </a:lnTo>
                    <a:lnTo>
                      <a:pt x="207" y="223"/>
                    </a:lnTo>
                    <a:lnTo>
                      <a:pt x="209" y="229"/>
                    </a:lnTo>
                    <a:lnTo>
                      <a:pt x="209" y="232"/>
                    </a:lnTo>
                    <a:lnTo>
                      <a:pt x="207" y="236"/>
                    </a:lnTo>
                    <a:lnTo>
                      <a:pt x="203" y="242"/>
                    </a:lnTo>
                    <a:lnTo>
                      <a:pt x="198" y="250"/>
                    </a:lnTo>
                    <a:lnTo>
                      <a:pt x="190" y="252"/>
                    </a:lnTo>
                    <a:lnTo>
                      <a:pt x="190" y="238"/>
                    </a:lnTo>
                    <a:lnTo>
                      <a:pt x="188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6" y="231"/>
                    </a:lnTo>
                    <a:lnTo>
                      <a:pt x="174" y="232"/>
                    </a:lnTo>
                    <a:lnTo>
                      <a:pt x="169" y="234"/>
                    </a:lnTo>
                    <a:lnTo>
                      <a:pt x="163" y="238"/>
                    </a:lnTo>
                    <a:lnTo>
                      <a:pt x="155" y="240"/>
                    </a:lnTo>
                    <a:lnTo>
                      <a:pt x="151" y="244"/>
                    </a:lnTo>
                    <a:lnTo>
                      <a:pt x="150" y="252"/>
                    </a:lnTo>
                    <a:lnTo>
                      <a:pt x="148" y="257"/>
                    </a:lnTo>
                    <a:lnTo>
                      <a:pt x="146" y="261"/>
                    </a:lnTo>
                    <a:lnTo>
                      <a:pt x="142" y="263"/>
                    </a:lnTo>
                    <a:lnTo>
                      <a:pt x="142" y="269"/>
                    </a:lnTo>
                    <a:lnTo>
                      <a:pt x="144" y="275"/>
                    </a:lnTo>
                    <a:lnTo>
                      <a:pt x="146" y="277"/>
                    </a:lnTo>
                    <a:lnTo>
                      <a:pt x="148" y="277"/>
                    </a:lnTo>
                    <a:lnTo>
                      <a:pt x="142" y="288"/>
                    </a:lnTo>
                    <a:lnTo>
                      <a:pt x="144" y="307"/>
                    </a:lnTo>
                    <a:lnTo>
                      <a:pt x="142" y="306"/>
                    </a:lnTo>
                    <a:lnTo>
                      <a:pt x="142" y="304"/>
                    </a:lnTo>
                    <a:lnTo>
                      <a:pt x="140" y="302"/>
                    </a:lnTo>
                    <a:lnTo>
                      <a:pt x="134" y="307"/>
                    </a:lnTo>
                    <a:lnTo>
                      <a:pt x="132" y="307"/>
                    </a:lnTo>
                    <a:lnTo>
                      <a:pt x="130" y="306"/>
                    </a:lnTo>
                    <a:lnTo>
                      <a:pt x="128" y="302"/>
                    </a:lnTo>
                    <a:lnTo>
                      <a:pt x="121" y="302"/>
                    </a:lnTo>
                    <a:lnTo>
                      <a:pt x="121" y="307"/>
                    </a:lnTo>
                    <a:lnTo>
                      <a:pt x="107" y="311"/>
                    </a:lnTo>
                    <a:lnTo>
                      <a:pt x="96" y="313"/>
                    </a:lnTo>
                    <a:lnTo>
                      <a:pt x="82" y="315"/>
                    </a:lnTo>
                    <a:lnTo>
                      <a:pt x="71" y="304"/>
                    </a:lnTo>
                    <a:lnTo>
                      <a:pt x="67" y="298"/>
                    </a:lnTo>
                    <a:lnTo>
                      <a:pt x="67" y="288"/>
                    </a:lnTo>
                    <a:lnTo>
                      <a:pt x="71" y="282"/>
                    </a:lnTo>
                    <a:lnTo>
                      <a:pt x="71" y="275"/>
                    </a:lnTo>
                    <a:lnTo>
                      <a:pt x="63" y="265"/>
                    </a:lnTo>
                    <a:lnTo>
                      <a:pt x="50" y="254"/>
                    </a:lnTo>
                    <a:lnTo>
                      <a:pt x="40" y="248"/>
                    </a:lnTo>
                    <a:lnTo>
                      <a:pt x="29" y="246"/>
                    </a:lnTo>
                    <a:lnTo>
                      <a:pt x="15" y="244"/>
                    </a:lnTo>
                    <a:lnTo>
                      <a:pt x="2" y="246"/>
                    </a:lnTo>
                    <a:lnTo>
                      <a:pt x="4" y="232"/>
                    </a:lnTo>
                    <a:lnTo>
                      <a:pt x="4" y="211"/>
                    </a:lnTo>
                    <a:lnTo>
                      <a:pt x="2" y="206"/>
                    </a:lnTo>
                    <a:lnTo>
                      <a:pt x="0" y="196"/>
                    </a:lnTo>
                    <a:lnTo>
                      <a:pt x="4" y="183"/>
                    </a:lnTo>
                    <a:lnTo>
                      <a:pt x="4" y="171"/>
                    </a:lnTo>
                    <a:lnTo>
                      <a:pt x="2" y="165"/>
                    </a:lnTo>
                    <a:lnTo>
                      <a:pt x="2" y="161"/>
                    </a:lnTo>
                    <a:lnTo>
                      <a:pt x="6" y="163"/>
                    </a:lnTo>
                    <a:lnTo>
                      <a:pt x="9" y="163"/>
                    </a:lnTo>
                    <a:lnTo>
                      <a:pt x="11" y="158"/>
                    </a:lnTo>
                    <a:lnTo>
                      <a:pt x="8" y="150"/>
                    </a:lnTo>
                    <a:lnTo>
                      <a:pt x="9" y="146"/>
                    </a:lnTo>
                    <a:lnTo>
                      <a:pt x="13" y="142"/>
                    </a:lnTo>
                    <a:lnTo>
                      <a:pt x="15" y="138"/>
                    </a:lnTo>
                    <a:lnTo>
                      <a:pt x="15" y="121"/>
                    </a:lnTo>
                    <a:lnTo>
                      <a:pt x="17" y="119"/>
                    </a:lnTo>
                    <a:lnTo>
                      <a:pt x="21" y="117"/>
                    </a:lnTo>
                    <a:lnTo>
                      <a:pt x="23" y="115"/>
                    </a:lnTo>
                    <a:lnTo>
                      <a:pt x="21" y="109"/>
                    </a:lnTo>
                    <a:lnTo>
                      <a:pt x="21" y="104"/>
                    </a:lnTo>
                    <a:lnTo>
                      <a:pt x="23" y="96"/>
                    </a:lnTo>
                    <a:lnTo>
                      <a:pt x="23" y="90"/>
                    </a:lnTo>
                    <a:lnTo>
                      <a:pt x="19" y="88"/>
                    </a:lnTo>
                    <a:lnTo>
                      <a:pt x="13" y="83"/>
                    </a:lnTo>
                    <a:lnTo>
                      <a:pt x="15" y="79"/>
                    </a:lnTo>
                    <a:lnTo>
                      <a:pt x="17" y="73"/>
                    </a:lnTo>
                    <a:lnTo>
                      <a:pt x="17" y="63"/>
                    </a:lnTo>
                    <a:lnTo>
                      <a:pt x="25" y="44"/>
                    </a:lnTo>
                    <a:lnTo>
                      <a:pt x="29" y="40"/>
                    </a:lnTo>
                    <a:lnTo>
                      <a:pt x="32" y="35"/>
                    </a:lnTo>
                    <a:lnTo>
                      <a:pt x="36" y="23"/>
                    </a:lnTo>
                    <a:lnTo>
                      <a:pt x="36" y="17"/>
                    </a:lnTo>
                    <a:lnTo>
                      <a:pt x="38" y="15"/>
                    </a:lnTo>
                    <a:lnTo>
                      <a:pt x="42" y="13"/>
                    </a:lnTo>
                    <a:lnTo>
                      <a:pt x="61" y="2"/>
                    </a:lnTo>
                    <a:lnTo>
                      <a:pt x="69" y="0"/>
                    </a:lnTo>
                    <a:lnTo>
                      <a:pt x="82" y="0"/>
                    </a:lnTo>
                    <a:lnTo>
                      <a:pt x="88" y="2"/>
                    </a:lnTo>
                    <a:lnTo>
                      <a:pt x="90" y="4"/>
                    </a:lnTo>
                    <a:lnTo>
                      <a:pt x="94" y="6"/>
                    </a:lnTo>
                    <a:lnTo>
                      <a:pt x="100" y="10"/>
                    </a:lnTo>
                    <a:lnTo>
                      <a:pt x="105" y="17"/>
                    </a:lnTo>
                    <a:lnTo>
                      <a:pt x="107" y="21"/>
                    </a:lnTo>
                    <a:lnTo>
                      <a:pt x="115" y="21"/>
                    </a:lnTo>
                    <a:lnTo>
                      <a:pt x="123" y="19"/>
                    </a:lnTo>
                    <a:lnTo>
                      <a:pt x="130" y="15"/>
                    </a:lnTo>
                    <a:lnTo>
                      <a:pt x="136" y="15"/>
                    </a:lnTo>
                    <a:lnTo>
                      <a:pt x="142" y="17"/>
                    </a:lnTo>
                    <a:lnTo>
                      <a:pt x="144" y="21"/>
                    </a:lnTo>
                    <a:lnTo>
                      <a:pt x="146" y="23"/>
                    </a:lnTo>
                    <a:lnTo>
                      <a:pt x="155" y="23"/>
                    </a:lnTo>
                    <a:lnTo>
                      <a:pt x="167" y="25"/>
                    </a:lnTo>
                    <a:lnTo>
                      <a:pt x="174" y="25"/>
                    </a:lnTo>
                    <a:lnTo>
                      <a:pt x="178" y="23"/>
                    </a:lnTo>
                    <a:lnTo>
                      <a:pt x="182" y="19"/>
                    </a:lnTo>
                    <a:lnTo>
                      <a:pt x="188" y="15"/>
                    </a:lnTo>
                    <a:lnTo>
                      <a:pt x="196" y="15"/>
                    </a:lnTo>
                    <a:lnTo>
                      <a:pt x="203" y="13"/>
                    </a:lnTo>
                    <a:lnTo>
                      <a:pt x="211" y="13"/>
                    </a:lnTo>
                    <a:lnTo>
                      <a:pt x="221" y="15"/>
                    </a:lnTo>
                    <a:lnTo>
                      <a:pt x="232" y="17"/>
                    </a:lnTo>
                    <a:lnTo>
                      <a:pt x="242" y="17"/>
                    </a:lnTo>
                    <a:lnTo>
                      <a:pt x="251" y="15"/>
                    </a:lnTo>
                    <a:lnTo>
                      <a:pt x="257" y="13"/>
                    </a:lnTo>
                    <a:lnTo>
                      <a:pt x="263" y="8"/>
                    </a:lnTo>
                    <a:lnTo>
                      <a:pt x="263" y="6"/>
                    </a:lnTo>
                    <a:lnTo>
                      <a:pt x="278" y="0"/>
                    </a:lnTo>
                    <a:lnTo>
                      <a:pt x="290" y="21"/>
                    </a:lnTo>
                    <a:lnTo>
                      <a:pt x="292" y="21"/>
                    </a:lnTo>
                    <a:lnTo>
                      <a:pt x="295" y="2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1" name="Freeform 119"/>
              <p:cNvSpPr>
                <a:spLocks/>
              </p:cNvSpPr>
              <p:nvPr/>
            </p:nvSpPr>
            <p:spPr bwMode="gray">
              <a:xfrm>
                <a:off x="3026" y="2410"/>
                <a:ext cx="200" cy="180"/>
              </a:xfrm>
              <a:custGeom>
                <a:avLst/>
                <a:gdLst>
                  <a:gd name="T0" fmla="*/ 336 w 399"/>
                  <a:gd name="T1" fmla="*/ 304 h 361"/>
                  <a:gd name="T2" fmla="*/ 330 w 399"/>
                  <a:gd name="T3" fmla="*/ 311 h 361"/>
                  <a:gd name="T4" fmla="*/ 315 w 399"/>
                  <a:gd name="T5" fmla="*/ 315 h 361"/>
                  <a:gd name="T6" fmla="*/ 294 w 399"/>
                  <a:gd name="T7" fmla="*/ 313 h 361"/>
                  <a:gd name="T8" fmla="*/ 276 w 399"/>
                  <a:gd name="T9" fmla="*/ 311 h 361"/>
                  <a:gd name="T10" fmla="*/ 261 w 399"/>
                  <a:gd name="T11" fmla="*/ 313 h 361"/>
                  <a:gd name="T12" fmla="*/ 251 w 399"/>
                  <a:gd name="T13" fmla="*/ 321 h 361"/>
                  <a:gd name="T14" fmla="*/ 240 w 399"/>
                  <a:gd name="T15" fmla="*/ 323 h 361"/>
                  <a:gd name="T16" fmla="*/ 219 w 399"/>
                  <a:gd name="T17" fmla="*/ 321 h 361"/>
                  <a:gd name="T18" fmla="*/ 215 w 399"/>
                  <a:gd name="T19" fmla="*/ 315 h 361"/>
                  <a:gd name="T20" fmla="*/ 203 w 399"/>
                  <a:gd name="T21" fmla="*/ 313 h 361"/>
                  <a:gd name="T22" fmla="*/ 188 w 399"/>
                  <a:gd name="T23" fmla="*/ 319 h 361"/>
                  <a:gd name="T24" fmla="*/ 178 w 399"/>
                  <a:gd name="T25" fmla="*/ 315 h 361"/>
                  <a:gd name="T26" fmla="*/ 167 w 399"/>
                  <a:gd name="T27" fmla="*/ 304 h 361"/>
                  <a:gd name="T28" fmla="*/ 161 w 399"/>
                  <a:gd name="T29" fmla="*/ 300 h 361"/>
                  <a:gd name="T30" fmla="*/ 142 w 399"/>
                  <a:gd name="T31" fmla="*/ 298 h 361"/>
                  <a:gd name="T32" fmla="*/ 115 w 399"/>
                  <a:gd name="T33" fmla="*/ 311 h 361"/>
                  <a:gd name="T34" fmla="*/ 109 w 399"/>
                  <a:gd name="T35" fmla="*/ 315 h 361"/>
                  <a:gd name="T36" fmla="*/ 105 w 399"/>
                  <a:gd name="T37" fmla="*/ 333 h 361"/>
                  <a:gd name="T38" fmla="*/ 98 w 399"/>
                  <a:gd name="T39" fmla="*/ 342 h 361"/>
                  <a:gd name="T40" fmla="*/ 75 w 399"/>
                  <a:gd name="T41" fmla="*/ 356 h 361"/>
                  <a:gd name="T42" fmla="*/ 71 w 399"/>
                  <a:gd name="T43" fmla="*/ 346 h 361"/>
                  <a:gd name="T44" fmla="*/ 59 w 399"/>
                  <a:gd name="T45" fmla="*/ 344 h 361"/>
                  <a:gd name="T46" fmla="*/ 44 w 399"/>
                  <a:gd name="T47" fmla="*/ 333 h 361"/>
                  <a:gd name="T48" fmla="*/ 46 w 399"/>
                  <a:gd name="T49" fmla="*/ 323 h 361"/>
                  <a:gd name="T50" fmla="*/ 38 w 399"/>
                  <a:gd name="T51" fmla="*/ 321 h 361"/>
                  <a:gd name="T52" fmla="*/ 25 w 399"/>
                  <a:gd name="T53" fmla="*/ 298 h 361"/>
                  <a:gd name="T54" fmla="*/ 9 w 399"/>
                  <a:gd name="T55" fmla="*/ 279 h 361"/>
                  <a:gd name="T56" fmla="*/ 4 w 399"/>
                  <a:gd name="T57" fmla="*/ 258 h 361"/>
                  <a:gd name="T58" fmla="*/ 11 w 399"/>
                  <a:gd name="T59" fmla="*/ 252 h 361"/>
                  <a:gd name="T60" fmla="*/ 29 w 399"/>
                  <a:gd name="T61" fmla="*/ 250 h 361"/>
                  <a:gd name="T62" fmla="*/ 44 w 399"/>
                  <a:gd name="T63" fmla="*/ 246 h 361"/>
                  <a:gd name="T64" fmla="*/ 65 w 399"/>
                  <a:gd name="T65" fmla="*/ 240 h 361"/>
                  <a:gd name="T66" fmla="*/ 86 w 399"/>
                  <a:gd name="T67" fmla="*/ 233 h 361"/>
                  <a:gd name="T68" fmla="*/ 104 w 399"/>
                  <a:gd name="T69" fmla="*/ 231 h 361"/>
                  <a:gd name="T70" fmla="*/ 105 w 399"/>
                  <a:gd name="T71" fmla="*/ 219 h 361"/>
                  <a:gd name="T72" fmla="*/ 113 w 399"/>
                  <a:gd name="T73" fmla="*/ 208 h 361"/>
                  <a:gd name="T74" fmla="*/ 146 w 399"/>
                  <a:gd name="T75" fmla="*/ 129 h 361"/>
                  <a:gd name="T76" fmla="*/ 294 w 399"/>
                  <a:gd name="T77" fmla="*/ 0 h 361"/>
                  <a:gd name="T78" fmla="*/ 357 w 399"/>
                  <a:gd name="T79" fmla="*/ 31 h 361"/>
                  <a:gd name="T80" fmla="*/ 388 w 399"/>
                  <a:gd name="T81" fmla="*/ 79 h 361"/>
                  <a:gd name="T82" fmla="*/ 399 w 399"/>
                  <a:gd name="T83" fmla="*/ 108 h 361"/>
                  <a:gd name="T84" fmla="*/ 390 w 399"/>
                  <a:gd name="T85" fmla="*/ 133 h 361"/>
                  <a:gd name="T86" fmla="*/ 353 w 399"/>
                  <a:gd name="T87" fmla="*/ 267 h 361"/>
                  <a:gd name="T88" fmla="*/ 351 w 399"/>
                  <a:gd name="T89" fmla="*/ 290 h 36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99"/>
                  <a:gd name="T136" fmla="*/ 0 h 361"/>
                  <a:gd name="T137" fmla="*/ 399 w 399"/>
                  <a:gd name="T138" fmla="*/ 361 h 36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99" h="361">
                    <a:moveTo>
                      <a:pt x="351" y="298"/>
                    </a:moveTo>
                    <a:lnTo>
                      <a:pt x="336" y="304"/>
                    </a:lnTo>
                    <a:lnTo>
                      <a:pt x="336" y="306"/>
                    </a:lnTo>
                    <a:lnTo>
                      <a:pt x="330" y="311"/>
                    </a:lnTo>
                    <a:lnTo>
                      <a:pt x="324" y="313"/>
                    </a:lnTo>
                    <a:lnTo>
                      <a:pt x="315" y="315"/>
                    </a:lnTo>
                    <a:lnTo>
                      <a:pt x="305" y="315"/>
                    </a:lnTo>
                    <a:lnTo>
                      <a:pt x="294" y="313"/>
                    </a:lnTo>
                    <a:lnTo>
                      <a:pt x="284" y="311"/>
                    </a:lnTo>
                    <a:lnTo>
                      <a:pt x="276" y="311"/>
                    </a:lnTo>
                    <a:lnTo>
                      <a:pt x="269" y="313"/>
                    </a:lnTo>
                    <a:lnTo>
                      <a:pt x="261" y="313"/>
                    </a:lnTo>
                    <a:lnTo>
                      <a:pt x="255" y="317"/>
                    </a:lnTo>
                    <a:lnTo>
                      <a:pt x="251" y="321"/>
                    </a:lnTo>
                    <a:lnTo>
                      <a:pt x="247" y="323"/>
                    </a:lnTo>
                    <a:lnTo>
                      <a:pt x="240" y="323"/>
                    </a:lnTo>
                    <a:lnTo>
                      <a:pt x="228" y="321"/>
                    </a:lnTo>
                    <a:lnTo>
                      <a:pt x="219" y="321"/>
                    </a:lnTo>
                    <a:lnTo>
                      <a:pt x="217" y="319"/>
                    </a:lnTo>
                    <a:lnTo>
                      <a:pt x="215" y="315"/>
                    </a:lnTo>
                    <a:lnTo>
                      <a:pt x="209" y="313"/>
                    </a:lnTo>
                    <a:lnTo>
                      <a:pt x="203" y="313"/>
                    </a:lnTo>
                    <a:lnTo>
                      <a:pt x="196" y="317"/>
                    </a:lnTo>
                    <a:lnTo>
                      <a:pt x="188" y="319"/>
                    </a:lnTo>
                    <a:lnTo>
                      <a:pt x="180" y="319"/>
                    </a:lnTo>
                    <a:lnTo>
                      <a:pt x="178" y="315"/>
                    </a:lnTo>
                    <a:lnTo>
                      <a:pt x="173" y="308"/>
                    </a:lnTo>
                    <a:lnTo>
                      <a:pt x="167" y="304"/>
                    </a:lnTo>
                    <a:lnTo>
                      <a:pt x="163" y="302"/>
                    </a:lnTo>
                    <a:lnTo>
                      <a:pt x="161" y="300"/>
                    </a:lnTo>
                    <a:lnTo>
                      <a:pt x="155" y="298"/>
                    </a:lnTo>
                    <a:lnTo>
                      <a:pt x="142" y="298"/>
                    </a:lnTo>
                    <a:lnTo>
                      <a:pt x="134" y="300"/>
                    </a:lnTo>
                    <a:lnTo>
                      <a:pt x="115" y="311"/>
                    </a:lnTo>
                    <a:lnTo>
                      <a:pt x="111" y="313"/>
                    </a:lnTo>
                    <a:lnTo>
                      <a:pt x="109" y="315"/>
                    </a:lnTo>
                    <a:lnTo>
                      <a:pt x="109" y="321"/>
                    </a:lnTo>
                    <a:lnTo>
                      <a:pt x="105" y="333"/>
                    </a:lnTo>
                    <a:lnTo>
                      <a:pt x="102" y="338"/>
                    </a:lnTo>
                    <a:lnTo>
                      <a:pt x="98" y="342"/>
                    </a:lnTo>
                    <a:lnTo>
                      <a:pt x="90" y="361"/>
                    </a:lnTo>
                    <a:lnTo>
                      <a:pt x="75" y="356"/>
                    </a:lnTo>
                    <a:lnTo>
                      <a:pt x="75" y="350"/>
                    </a:lnTo>
                    <a:lnTo>
                      <a:pt x="71" y="346"/>
                    </a:lnTo>
                    <a:lnTo>
                      <a:pt x="65" y="344"/>
                    </a:lnTo>
                    <a:lnTo>
                      <a:pt x="59" y="344"/>
                    </a:lnTo>
                    <a:lnTo>
                      <a:pt x="50" y="358"/>
                    </a:lnTo>
                    <a:lnTo>
                      <a:pt x="44" y="333"/>
                    </a:lnTo>
                    <a:lnTo>
                      <a:pt x="46" y="327"/>
                    </a:lnTo>
                    <a:lnTo>
                      <a:pt x="46" y="323"/>
                    </a:lnTo>
                    <a:lnTo>
                      <a:pt x="44" y="319"/>
                    </a:lnTo>
                    <a:lnTo>
                      <a:pt x="38" y="321"/>
                    </a:lnTo>
                    <a:lnTo>
                      <a:pt x="36" y="321"/>
                    </a:lnTo>
                    <a:lnTo>
                      <a:pt x="25" y="298"/>
                    </a:lnTo>
                    <a:lnTo>
                      <a:pt x="27" y="288"/>
                    </a:lnTo>
                    <a:lnTo>
                      <a:pt x="9" y="279"/>
                    </a:lnTo>
                    <a:lnTo>
                      <a:pt x="0" y="265"/>
                    </a:lnTo>
                    <a:lnTo>
                      <a:pt x="4" y="258"/>
                    </a:lnTo>
                    <a:lnTo>
                      <a:pt x="9" y="258"/>
                    </a:lnTo>
                    <a:lnTo>
                      <a:pt x="11" y="252"/>
                    </a:lnTo>
                    <a:lnTo>
                      <a:pt x="23" y="252"/>
                    </a:lnTo>
                    <a:lnTo>
                      <a:pt x="29" y="250"/>
                    </a:lnTo>
                    <a:lnTo>
                      <a:pt x="34" y="246"/>
                    </a:lnTo>
                    <a:lnTo>
                      <a:pt x="44" y="246"/>
                    </a:lnTo>
                    <a:lnTo>
                      <a:pt x="54" y="244"/>
                    </a:lnTo>
                    <a:lnTo>
                      <a:pt x="65" y="240"/>
                    </a:lnTo>
                    <a:lnTo>
                      <a:pt x="79" y="236"/>
                    </a:lnTo>
                    <a:lnTo>
                      <a:pt x="86" y="233"/>
                    </a:lnTo>
                    <a:lnTo>
                      <a:pt x="102" y="233"/>
                    </a:lnTo>
                    <a:lnTo>
                      <a:pt x="104" y="231"/>
                    </a:lnTo>
                    <a:lnTo>
                      <a:pt x="104" y="225"/>
                    </a:lnTo>
                    <a:lnTo>
                      <a:pt x="105" y="219"/>
                    </a:lnTo>
                    <a:lnTo>
                      <a:pt x="105" y="213"/>
                    </a:lnTo>
                    <a:lnTo>
                      <a:pt x="113" y="208"/>
                    </a:lnTo>
                    <a:lnTo>
                      <a:pt x="111" y="135"/>
                    </a:lnTo>
                    <a:lnTo>
                      <a:pt x="146" y="129"/>
                    </a:lnTo>
                    <a:lnTo>
                      <a:pt x="159" y="104"/>
                    </a:lnTo>
                    <a:lnTo>
                      <a:pt x="294" y="0"/>
                    </a:lnTo>
                    <a:lnTo>
                      <a:pt x="353" y="37"/>
                    </a:lnTo>
                    <a:lnTo>
                      <a:pt x="357" y="31"/>
                    </a:lnTo>
                    <a:lnTo>
                      <a:pt x="374" y="17"/>
                    </a:lnTo>
                    <a:lnTo>
                      <a:pt x="388" y="79"/>
                    </a:lnTo>
                    <a:lnTo>
                      <a:pt x="399" y="96"/>
                    </a:lnTo>
                    <a:lnTo>
                      <a:pt x="399" y="108"/>
                    </a:lnTo>
                    <a:lnTo>
                      <a:pt x="393" y="113"/>
                    </a:lnTo>
                    <a:lnTo>
                      <a:pt x="390" y="133"/>
                    </a:lnTo>
                    <a:lnTo>
                      <a:pt x="390" y="236"/>
                    </a:lnTo>
                    <a:lnTo>
                      <a:pt x="353" y="267"/>
                    </a:lnTo>
                    <a:lnTo>
                      <a:pt x="353" y="290"/>
                    </a:lnTo>
                    <a:lnTo>
                      <a:pt x="351" y="290"/>
                    </a:lnTo>
                    <a:lnTo>
                      <a:pt x="351" y="29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2" name="Freeform 120"/>
              <p:cNvSpPr>
                <a:spLocks noEditPoints="1"/>
              </p:cNvSpPr>
              <p:nvPr/>
            </p:nvSpPr>
            <p:spPr bwMode="gray">
              <a:xfrm>
                <a:off x="1942" y="2549"/>
                <a:ext cx="52" cy="59"/>
              </a:xfrm>
              <a:custGeom>
                <a:avLst/>
                <a:gdLst>
                  <a:gd name="T0" fmla="*/ 42 w 104"/>
                  <a:gd name="T1" fmla="*/ 105 h 119"/>
                  <a:gd name="T2" fmla="*/ 36 w 104"/>
                  <a:gd name="T3" fmla="*/ 96 h 119"/>
                  <a:gd name="T4" fmla="*/ 35 w 104"/>
                  <a:gd name="T5" fmla="*/ 88 h 119"/>
                  <a:gd name="T6" fmla="*/ 42 w 104"/>
                  <a:gd name="T7" fmla="*/ 86 h 119"/>
                  <a:gd name="T8" fmla="*/ 52 w 104"/>
                  <a:gd name="T9" fmla="*/ 92 h 119"/>
                  <a:gd name="T10" fmla="*/ 58 w 104"/>
                  <a:gd name="T11" fmla="*/ 102 h 119"/>
                  <a:gd name="T12" fmla="*/ 63 w 104"/>
                  <a:gd name="T13" fmla="*/ 113 h 119"/>
                  <a:gd name="T14" fmla="*/ 67 w 104"/>
                  <a:gd name="T15" fmla="*/ 111 h 119"/>
                  <a:gd name="T16" fmla="*/ 73 w 104"/>
                  <a:gd name="T17" fmla="*/ 111 h 119"/>
                  <a:gd name="T18" fmla="*/ 73 w 104"/>
                  <a:gd name="T19" fmla="*/ 113 h 119"/>
                  <a:gd name="T20" fmla="*/ 75 w 104"/>
                  <a:gd name="T21" fmla="*/ 113 h 119"/>
                  <a:gd name="T22" fmla="*/ 77 w 104"/>
                  <a:gd name="T23" fmla="*/ 117 h 119"/>
                  <a:gd name="T24" fmla="*/ 83 w 104"/>
                  <a:gd name="T25" fmla="*/ 119 h 119"/>
                  <a:gd name="T26" fmla="*/ 88 w 104"/>
                  <a:gd name="T27" fmla="*/ 119 h 119"/>
                  <a:gd name="T28" fmla="*/ 86 w 104"/>
                  <a:gd name="T29" fmla="*/ 117 h 119"/>
                  <a:gd name="T30" fmla="*/ 84 w 104"/>
                  <a:gd name="T31" fmla="*/ 113 h 119"/>
                  <a:gd name="T32" fmla="*/ 104 w 104"/>
                  <a:gd name="T33" fmla="*/ 0 h 119"/>
                  <a:gd name="T34" fmla="*/ 84 w 104"/>
                  <a:gd name="T35" fmla="*/ 2 h 119"/>
                  <a:gd name="T36" fmla="*/ 81 w 104"/>
                  <a:gd name="T37" fmla="*/ 4 h 119"/>
                  <a:gd name="T38" fmla="*/ 77 w 104"/>
                  <a:gd name="T39" fmla="*/ 7 h 119"/>
                  <a:gd name="T40" fmla="*/ 73 w 104"/>
                  <a:gd name="T41" fmla="*/ 13 h 119"/>
                  <a:gd name="T42" fmla="*/ 71 w 104"/>
                  <a:gd name="T43" fmla="*/ 15 h 119"/>
                  <a:gd name="T44" fmla="*/ 63 w 104"/>
                  <a:gd name="T45" fmla="*/ 19 h 119"/>
                  <a:gd name="T46" fmla="*/ 58 w 104"/>
                  <a:gd name="T47" fmla="*/ 19 h 119"/>
                  <a:gd name="T48" fmla="*/ 46 w 104"/>
                  <a:gd name="T49" fmla="*/ 23 h 119"/>
                  <a:gd name="T50" fmla="*/ 40 w 104"/>
                  <a:gd name="T51" fmla="*/ 17 h 119"/>
                  <a:gd name="T52" fmla="*/ 29 w 104"/>
                  <a:gd name="T53" fmla="*/ 17 h 119"/>
                  <a:gd name="T54" fmla="*/ 13 w 104"/>
                  <a:gd name="T55" fmla="*/ 25 h 119"/>
                  <a:gd name="T56" fmla="*/ 11 w 104"/>
                  <a:gd name="T57" fmla="*/ 27 h 119"/>
                  <a:gd name="T58" fmla="*/ 11 w 104"/>
                  <a:gd name="T59" fmla="*/ 48 h 119"/>
                  <a:gd name="T60" fmla="*/ 6 w 104"/>
                  <a:gd name="T61" fmla="*/ 54 h 119"/>
                  <a:gd name="T62" fmla="*/ 2 w 104"/>
                  <a:gd name="T63" fmla="*/ 54 h 119"/>
                  <a:gd name="T64" fmla="*/ 2 w 104"/>
                  <a:gd name="T65" fmla="*/ 55 h 119"/>
                  <a:gd name="T66" fmla="*/ 0 w 104"/>
                  <a:gd name="T67" fmla="*/ 59 h 119"/>
                  <a:gd name="T68" fmla="*/ 0 w 104"/>
                  <a:gd name="T69" fmla="*/ 63 h 119"/>
                  <a:gd name="T70" fmla="*/ 4 w 104"/>
                  <a:gd name="T71" fmla="*/ 67 h 119"/>
                  <a:gd name="T72" fmla="*/ 11 w 104"/>
                  <a:gd name="T73" fmla="*/ 71 h 119"/>
                  <a:gd name="T74" fmla="*/ 15 w 104"/>
                  <a:gd name="T75" fmla="*/ 75 h 119"/>
                  <a:gd name="T76" fmla="*/ 19 w 104"/>
                  <a:gd name="T77" fmla="*/ 82 h 119"/>
                  <a:gd name="T78" fmla="*/ 19 w 104"/>
                  <a:gd name="T79" fmla="*/ 90 h 119"/>
                  <a:gd name="T80" fmla="*/ 23 w 104"/>
                  <a:gd name="T81" fmla="*/ 98 h 119"/>
                  <a:gd name="T82" fmla="*/ 35 w 104"/>
                  <a:gd name="T83" fmla="*/ 104 h 119"/>
                  <a:gd name="T84" fmla="*/ 38 w 104"/>
                  <a:gd name="T85" fmla="*/ 104 h 119"/>
                  <a:gd name="T86" fmla="*/ 42 w 104"/>
                  <a:gd name="T87" fmla="*/ 105 h 119"/>
                  <a:gd name="T88" fmla="*/ 23 w 104"/>
                  <a:gd name="T89" fmla="*/ 71 h 119"/>
                  <a:gd name="T90" fmla="*/ 31 w 104"/>
                  <a:gd name="T91" fmla="*/ 73 h 119"/>
                  <a:gd name="T92" fmla="*/ 31 w 104"/>
                  <a:gd name="T93" fmla="*/ 77 h 119"/>
                  <a:gd name="T94" fmla="*/ 23 w 104"/>
                  <a:gd name="T95" fmla="*/ 79 h 119"/>
                  <a:gd name="T96" fmla="*/ 21 w 104"/>
                  <a:gd name="T97" fmla="*/ 77 h 119"/>
                  <a:gd name="T98" fmla="*/ 19 w 104"/>
                  <a:gd name="T99" fmla="*/ 73 h 119"/>
                  <a:gd name="T100" fmla="*/ 23 w 104"/>
                  <a:gd name="T101" fmla="*/ 71 h 11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04"/>
                  <a:gd name="T154" fmla="*/ 0 h 119"/>
                  <a:gd name="T155" fmla="*/ 104 w 104"/>
                  <a:gd name="T156" fmla="*/ 119 h 11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04" h="119">
                    <a:moveTo>
                      <a:pt x="42" y="105"/>
                    </a:moveTo>
                    <a:lnTo>
                      <a:pt x="36" y="96"/>
                    </a:lnTo>
                    <a:lnTo>
                      <a:pt x="35" y="88"/>
                    </a:lnTo>
                    <a:lnTo>
                      <a:pt x="42" y="86"/>
                    </a:lnTo>
                    <a:lnTo>
                      <a:pt x="52" y="92"/>
                    </a:lnTo>
                    <a:lnTo>
                      <a:pt x="58" y="102"/>
                    </a:lnTo>
                    <a:lnTo>
                      <a:pt x="63" y="113"/>
                    </a:lnTo>
                    <a:lnTo>
                      <a:pt x="67" y="111"/>
                    </a:lnTo>
                    <a:lnTo>
                      <a:pt x="73" y="111"/>
                    </a:lnTo>
                    <a:lnTo>
                      <a:pt x="73" y="113"/>
                    </a:lnTo>
                    <a:lnTo>
                      <a:pt x="75" y="113"/>
                    </a:lnTo>
                    <a:lnTo>
                      <a:pt x="77" y="117"/>
                    </a:lnTo>
                    <a:lnTo>
                      <a:pt x="83" y="119"/>
                    </a:lnTo>
                    <a:lnTo>
                      <a:pt x="88" y="119"/>
                    </a:lnTo>
                    <a:lnTo>
                      <a:pt x="86" y="117"/>
                    </a:lnTo>
                    <a:lnTo>
                      <a:pt x="84" y="113"/>
                    </a:lnTo>
                    <a:lnTo>
                      <a:pt x="104" y="0"/>
                    </a:lnTo>
                    <a:lnTo>
                      <a:pt x="84" y="2"/>
                    </a:lnTo>
                    <a:lnTo>
                      <a:pt x="81" y="4"/>
                    </a:lnTo>
                    <a:lnTo>
                      <a:pt x="77" y="7"/>
                    </a:lnTo>
                    <a:lnTo>
                      <a:pt x="73" y="13"/>
                    </a:lnTo>
                    <a:lnTo>
                      <a:pt x="71" y="15"/>
                    </a:lnTo>
                    <a:lnTo>
                      <a:pt x="63" y="19"/>
                    </a:lnTo>
                    <a:lnTo>
                      <a:pt x="58" y="19"/>
                    </a:lnTo>
                    <a:lnTo>
                      <a:pt x="46" y="23"/>
                    </a:lnTo>
                    <a:lnTo>
                      <a:pt x="40" y="17"/>
                    </a:lnTo>
                    <a:lnTo>
                      <a:pt x="29" y="17"/>
                    </a:lnTo>
                    <a:lnTo>
                      <a:pt x="13" y="25"/>
                    </a:lnTo>
                    <a:lnTo>
                      <a:pt x="11" y="27"/>
                    </a:lnTo>
                    <a:lnTo>
                      <a:pt x="11" y="48"/>
                    </a:lnTo>
                    <a:lnTo>
                      <a:pt x="6" y="54"/>
                    </a:lnTo>
                    <a:lnTo>
                      <a:pt x="2" y="54"/>
                    </a:lnTo>
                    <a:lnTo>
                      <a:pt x="2" y="55"/>
                    </a:lnTo>
                    <a:lnTo>
                      <a:pt x="0" y="59"/>
                    </a:lnTo>
                    <a:lnTo>
                      <a:pt x="0" y="63"/>
                    </a:lnTo>
                    <a:lnTo>
                      <a:pt x="4" y="67"/>
                    </a:lnTo>
                    <a:lnTo>
                      <a:pt x="11" y="71"/>
                    </a:lnTo>
                    <a:lnTo>
                      <a:pt x="15" y="75"/>
                    </a:lnTo>
                    <a:lnTo>
                      <a:pt x="19" y="82"/>
                    </a:lnTo>
                    <a:lnTo>
                      <a:pt x="19" y="90"/>
                    </a:lnTo>
                    <a:lnTo>
                      <a:pt x="23" y="98"/>
                    </a:lnTo>
                    <a:lnTo>
                      <a:pt x="35" y="104"/>
                    </a:lnTo>
                    <a:lnTo>
                      <a:pt x="38" y="104"/>
                    </a:lnTo>
                    <a:lnTo>
                      <a:pt x="42" y="105"/>
                    </a:lnTo>
                    <a:close/>
                    <a:moveTo>
                      <a:pt x="23" y="71"/>
                    </a:moveTo>
                    <a:lnTo>
                      <a:pt x="31" y="73"/>
                    </a:lnTo>
                    <a:lnTo>
                      <a:pt x="31" y="77"/>
                    </a:lnTo>
                    <a:lnTo>
                      <a:pt x="23" y="79"/>
                    </a:lnTo>
                    <a:lnTo>
                      <a:pt x="21" y="77"/>
                    </a:lnTo>
                    <a:lnTo>
                      <a:pt x="19" y="73"/>
                    </a:lnTo>
                    <a:lnTo>
                      <a:pt x="23" y="7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3" name="Freeform 121"/>
              <p:cNvSpPr>
                <a:spLocks/>
              </p:cNvSpPr>
              <p:nvPr/>
            </p:nvSpPr>
            <p:spPr bwMode="gray">
              <a:xfrm>
                <a:off x="5168" y="3339"/>
                <a:ext cx="75" cy="122"/>
              </a:xfrm>
              <a:custGeom>
                <a:avLst/>
                <a:gdLst>
                  <a:gd name="T0" fmla="*/ 4 w 150"/>
                  <a:gd name="T1" fmla="*/ 2 h 244"/>
                  <a:gd name="T2" fmla="*/ 0 w 150"/>
                  <a:gd name="T3" fmla="*/ 8 h 244"/>
                  <a:gd name="T4" fmla="*/ 17 w 150"/>
                  <a:gd name="T5" fmla="*/ 31 h 244"/>
                  <a:gd name="T6" fmla="*/ 29 w 150"/>
                  <a:gd name="T7" fmla="*/ 50 h 244"/>
                  <a:gd name="T8" fmla="*/ 38 w 150"/>
                  <a:gd name="T9" fmla="*/ 64 h 244"/>
                  <a:gd name="T10" fmla="*/ 46 w 150"/>
                  <a:gd name="T11" fmla="*/ 68 h 244"/>
                  <a:gd name="T12" fmla="*/ 44 w 150"/>
                  <a:gd name="T13" fmla="*/ 81 h 244"/>
                  <a:gd name="T14" fmla="*/ 46 w 150"/>
                  <a:gd name="T15" fmla="*/ 91 h 244"/>
                  <a:gd name="T16" fmla="*/ 54 w 150"/>
                  <a:gd name="T17" fmla="*/ 95 h 244"/>
                  <a:gd name="T18" fmla="*/ 52 w 150"/>
                  <a:gd name="T19" fmla="*/ 104 h 244"/>
                  <a:gd name="T20" fmla="*/ 56 w 150"/>
                  <a:gd name="T21" fmla="*/ 121 h 244"/>
                  <a:gd name="T22" fmla="*/ 46 w 150"/>
                  <a:gd name="T23" fmla="*/ 160 h 244"/>
                  <a:gd name="T24" fmla="*/ 44 w 150"/>
                  <a:gd name="T25" fmla="*/ 181 h 244"/>
                  <a:gd name="T26" fmla="*/ 65 w 150"/>
                  <a:gd name="T27" fmla="*/ 218 h 244"/>
                  <a:gd name="T28" fmla="*/ 59 w 150"/>
                  <a:gd name="T29" fmla="*/ 231 h 244"/>
                  <a:gd name="T30" fmla="*/ 57 w 150"/>
                  <a:gd name="T31" fmla="*/ 241 h 244"/>
                  <a:gd name="T32" fmla="*/ 92 w 150"/>
                  <a:gd name="T33" fmla="*/ 235 h 244"/>
                  <a:gd name="T34" fmla="*/ 105 w 150"/>
                  <a:gd name="T35" fmla="*/ 206 h 244"/>
                  <a:gd name="T36" fmla="*/ 117 w 150"/>
                  <a:gd name="T37" fmla="*/ 191 h 244"/>
                  <a:gd name="T38" fmla="*/ 113 w 150"/>
                  <a:gd name="T39" fmla="*/ 183 h 244"/>
                  <a:gd name="T40" fmla="*/ 115 w 150"/>
                  <a:gd name="T41" fmla="*/ 175 h 244"/>
                  <a:gd name="T42" fmla="*/ 140 w 150"/>
                  <a:gd name="T43" fmla="*/ 175 h 244"/>
                  <a:gd name="T44" fmla="*/ 136 w 150"/>
                  <a:gd name="T45" fmla="*/ 166 h 244"/>
                  <a:gd name="T46" fmla="*/ 140 w 150"/>
                  <a:gd name="T47" fmla="*/ 154 h 244"/>
                  <a:gd name="T48" fmla="*/ 150 w 150"/>
                  <a:gd name="T49" fmla="*/ 139 h 244"/>
                  <a:gd name="T50" fmla="*/ 144 w 150"/>
                  <a:gd name="T51" fmla="*/ 121 h 244"/>
                  <a:gd name="T52" fmla="*/ 140 w 150"/>
                  <a:gd name="T53" fmla="*/ 118 h 244"/>
                  <a:gd name="T54" fmla="*/ 113 w 150"/>
                  <a:gd name="T55" fmla="*/ 131 h 244"/>
                  <a:gd name="T56" fmla="*/ 90 w 150"/>
                  <a:gd name="T57" fmla="*/ 118 h 244"/>
                  <a:gd name="T58" fmla="*/ 82 w 150"/>
                  <a:gd name="T59" fmla="*/ 89 h 244"/>
                  <a:gd name="T60" fmla="*/ 80 w 150"/>
                  <a:gd name="T61" fmla="*/ 79 h 244"/>
                  <a:gd name="T62" fmla="*/ 73 w 150"/>
                  <a:gd name="T63" fmla="*/ 93 h 244"/>
                  <a:gd name="T64" fmla="*/ 59 w 150"/>
                  <a:gd name="T65" fmla="*/ 85 h 244"/>
                  <a:gd name="T66" fmla="*/ 54 w 150"/>
                  <a:gd name="T67" fmla="*/ 39 h 244"/>
                  <a:gd name="T68" fmla="*/ 46 w 150"/>
                  <a:gd name="T69" fmla="*/ 39 h 244"/>
                  <a:gd name="T70" fmla="*/ 44 w 150"/>
                  <a:gd name="T71" fmla="*/ 35 h 244"/>
                  <a:gd name="T72" fmla="*/ 46 w 150"/>
                  <a:gd name="T73" fmla="*/ 29 h 244"/>
                  <a:gd name="T74" fmla="*/ 34 w 150"/>
                  <a:gd name="T75" fmla="*/ 20 h 244"/>
                  <a:gd name="T76" fmla="*/ 27 w 150"/>
                  <a:gd name="T77" fmla="*/ 18 h 244"/>
                  <a:gd name="T78" fmla="*/ 19 w 150"/>
                  <a:gd name="T79" fmla="*/ 22 h 244"/>
                  <a:gd name="T80" fmla="*/ 8 w 150"/>
                  <a:gd name="T81" fmla="*/ 8 h 244"/>
                  <a:gd name="T82" fmla="*/ 11 w 150"/>
                  <a:gd name="T83" fmla="*/ 2 h 244"/>
                  <a:gd name="T84" fmla="*/ 4 w 150"/>
                  <a:gd name="T85" fmla="*/ 0 h 24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50"/>
                  <a:gd name="T130" fmla="*/ 0 h 244"/>
                  <a:gd name="T131" fmla="*/ 150 w 150"/>
                  <a:gd name="T132" fmla="*/ 244 h 24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50" h="244">
                    <a:moveTo>
                      <a:pt x="4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11" y="18"/>
                    </a:lnTo>
                    <a:lnTo>
                      <a:pt x="17" y="31"/>
                    </a:lnTo>
                    <a:lnTo>
                      <a:pt x="23" y="47"/>
                    </a:lnTo>
                    <a:lnTo>
                      <a:pt x="29" y="50"/>
                    </a:lnTo>
                    <a:lnTo>
                      <a:pt x="36" y="58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46" y="68"/>
                    </a:lnTo>
                    <a:lnTo>
                      <a:pt x="48" y="75"/>
                    </a:lnTo>
                    <a:lnTo>
                      <a:pt x="44" y="81"/>
                    </a:lnTo>
                    <a:lnTo>
                      <a:pt x="44" y="87"/>
                    </a:lnTo>
                    <a:lnTo>
                      <a:pt x="46" y="91"/>
                    </a:lnTo>
                    <a:lnTo>
                      <a:pt x="52" y="95"/>
                    </a:lnTo>
                    <a:lnTo>
                      <a:pt x="54" y="95"/>
                    </a:lnTo>
                    <a:lnTo>
                      <a:pt x="54" y="100"/>
                    </a:lnTo>
                    <a:lnTo>
                      <a:pt x="52" y="104"/>
                    </a:lnTo>
                    <a:lnTo>
                      <a:pt x="50" y="106"/>
                    </a:lnTo>
                    <a:lnTo>
                      <a:pt x="56" y="121"/>
                    </a:lnTo>
                    <a:lnTo>
                      <a:pt x="54" y="145"/>
                    </a:lnTo>
                    <a:lnTo>
                      <a:pt x="46" y="160"/>
                    </a:lnTo>
                    <a:lnTo>
                      <a:pt x="27" y="171"/>
                    </a:lnTo>
                    <a:lnTo>
                      <a:pt x="44" y="181"/>
                    </a:lnTo>
                    <a:lnTo>
                      <a:pt x="61" y="196"/>
                    </a:lnTo>
                    <a:lnTo>
                      <a:pt x="65" y="218"/>
                    </a:lnTo>
                    <a:lnTo>
                      <a:pt x="57" y="225"/>
                    </a:lnTo>
                    <a:lnTo>
                      <a:pt x="59" y="231"/>
                    </a:lnTo>
                    <a:lnTo>
                      <a:pt x="57" y="237"/>
                    </a:lnTo>
                    <a:lnTo>
                      <a:pt x="57" y="241"/>
                    </a:lnTo>
                    <a:lnTo>
                      <a:pt x="84" y="244"/>
                    </a:lnTo>
                    <a:lnTo>
                      <a:pt x="92" y="235"/>
                    </a:lnTo>
                    <a:lnTo>
                      <a:pt x="100" y="210"/>
                    </a:lnTo>
                    <a:lnTo>
                      <a:pt x="105" y="206"/>
                    </a:lnTo>
                    <a:lnTo>
                      <a:pt x="111" y="200"/>
                    </a:lnTo>
                    <a:lnTo>
                      <a:pt x="117" y="191"/>
                    </a:lnTo>
                    <a:lnTo>
                      <a:pt x="115" y="185"/>
                    </a:lnTo>
                    <a:lnTo>
                      <a:pt x="113" y="183"/>
                    </a:lnTo>
                    <a:lnTo>
                      <a:pt x="111" y="179"/>
                    </a:lnTo>
                    <a:lnTo>
                      <a:pt x="115" y="175"/>
                    </a:lnTo>
                    <a:lnTo>
                      <a:pt x="132" y="170"/>
                    </a:lnTo>
                    <a:lnTo>
                      <a:pt x="140" y="175"/>
                    </a:lnTo>
                    <a:lnTo>
                      <a:pt x="138" y="170"/>
                    </a:lnTo>
                    <a:lnTo>
                      <a:pt x="136" y="166"/>
                    </a:lnTo>
                    <a:lnTo>
                      <a:pt x="134" y="160"/>
                    </a:lnTo>
                    <a:lnTo>
                      <a:pt x="140" y="154"/>
                    </a:lnTo>
                    <a:lnTo>
                      <a:pt x="146" y="145"/>
                    </a:lnTo>
                    <a:lnTo>
                      <a:pt x="150" y="139"/>
                    </a:lnTo>
                    <a:lnTo>
                      <a:pt x="150" y="121"/>
                    </a:lnTo>
                    <a:lnTo>
                      <a:pt x="144" y="121"/>
                    </a:lnTo>
                    <a:lnTo>
                      <a:pt x="144" y="120"/>
                    </a:lnTo>
                    <a:lnTo>
                      <a:pt x="140" y="118"/>
                    </a:lnTo>
                    <a:lnTo>
                      <a:pt x="127" y="131"/>
                    </a:lnTo>
                    <a:lnTo>
                      <a:pt x="113" y="131"/>
                    </a:lnTo>
                    <a:lnTo>
                      <a:pt x="102" y="125"/>
                    </a:lnTo>
                    <a:lnTo>
                      <a:pt x="90" y="118"/>
                    </a:lnTo>
                    <a:lnTo>
                      <a:pt x="90" y="91"/>
                    </a:lnTo>
                    <a:lnTo>
                      <a:pt x="82" y="89"/>
                    </a:lnTo>
                    <a:lnTo>
                      <a:pt x="84" y="85"/>
                    </a:lnTo>
                    <a:lnTo>
                      <a:pt x="80" y="79"/>
                    </a:lnTo>
                    <a:lnTo>
                      <a:pt x="79" y="89"/>
                    </a:lnTo>
                    <a:lnTo>
                      <a:pt x="73" y="93"/>
                    </a:lnTo>
                    <a:lnTo>
                      <a:pt x="71" y="95"/>
                    </a:lnTo>
                    <a:lnTo>
                      <a:pt x="59" y="85"/>
                    </a:lnTo>
                    <a:lnTo>
                      <a:pt x="57" y="62"/>
                    </a:lnTo>
                    <a:lnTo>
                      <a:pt x="54" y="39"/>
                    </a:lnTo>
                    <a:lnTo>
                      <a:pt x="52" y="37"/>
                    </a:lnTo>
                    <a:lnTo>
                      <a:pt x="46" y="39"/>
                    </a:lnTo>
                    <a:lnTo>
                      <a:pt x="44" y="39"/>
                    </a:lnTo>
                    <a:lnTo>
                      <a:pt x="44" y="35"/>
                    </a:lnTo>
                    <a:lnTo>
                      <a:pt x="46" y="33"/>
                    </a:lnTo>
                    <a:lnTo>
                      <a:pt x="46" y="29"/>
                    </a:lnTo>
                    <a:lnTo>
                      <a:pt x="40" y="25"/>
                    </a:lnTo>
                    <a:lnTo>
                      <a:pt x="34" y="20"/>
                    </a:lnTo>
                    <a:lnTo>
                      <a:pt x="27" y="16"/>
                    </a:lnTo>
                    <a:lnTo>
                      <a:pt x="27" y="18"/>
                    </a:lnTo>
                    <a:lnTo>
                      <a:pt x="23" y="22"/>
                    </a:lnTo>
                    <a:lnTo>
                      <a:pt x="19" y="22"/>
                    </a:lnTo>
                    <a:lnTo>
                      <a:pt x="17" y="18"/>
                    </a:lnTo>
                    <a:lnTo>
                      <a:pt x="8" y="8"/>
                    </a:lnTo>
                    <a:lnTo>
                      <a:pt x="9" y="4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4" name="Freeform 122"/>
              <p:cNvSpPr>
                <a:spLocks/>
              </p:cNvSpPr>
              <p:nvPr/>
            </p:nvSpPr>
            <p:spPr bwMode="gray">
              <a:xfrm>
                <a:off x="5092" y="3443"/>
                <a:ext cx="98" cy="110"/>
              </a:xfrm>
              <a:custGeom>
                <a:avLst/>
                <a:gdLst>
                  <a:gd name="T0" fmla="*/ 146 w 196"/>
                  <a:gd name="T1" fmla="*/ 4 h 219"/>
                  <a:gd name="T2" fmla="*/ 136 w 196"/>
                  <a:gd name="T3" fmla="*/ 11 h 219"/>
                  <a:gd name="T4" fmla="*/ 138 w 196"/>
                  <a:gd name="T5" fmla="*/ 31 h 219"/>
                  <a:gd name="T6" fmla="*/ 135 w 196"/>
                  <a:gd name="T7" fmla="*/ 42 h 219"/>
                  <a:gd name="T8" fmla="*/ 125 w 196"/>
                  <a:gd name="T9" fmla="*/ 46 h 219"/>
                  <a:gd name="T10" fmla="*/ 127 w 196"/>
                  <a:gd name="T11" fmla="*/ 54 h 219"/>
                  <a:gd name="T12" fmla="*/ 121 w 196"/>
                  <a:gd name="T13" fmla="*/ 61 h 219"/>
                  <a:gd name="T14" fmla="*/ 110 w 196"/>
                  <a:gd name="T15" fmla="*/ 84 h 219"/>
                  <a:gd name="T16" fmla="*/ 83 w 196"/>
                  <a:gd name="T17" fmla="*/ 115 h 219"/>
                  <a:gd name="T18" fmla="*/ 60 w 196"/>
                  <a:gd name="T19" fmla="*/ 123 h 219"/>
                  <a:gd name="T20" fmla="*/ 46 w 196"/>
                  <a:gd name="T21" fmla="*/ 131 h 219"/>
                  <a:gd name="T22" fmla="*/ 39 w 196"/>
                  <a:gd name="T23" fmla="*/ 138 h 219"/>
                  <a:gd name="T24" fmla="*/ 25 w 196"/>
                  <a:gd name="T25" fmla="*/ 146 h 219"/>
                  <a:gd name="T26" fmla="*/ 17 w 196"/>
                  <a:gd name="T27" fmla="*/ 159 h 219"/>
                  <a:gd name="T28" fmla="*/ 6 w 196"/>
                  <a:gd name="T29" fmla="*/ 165 h 219"/>
                  <a:gd name="T30" fmla="*/ 4 w 196"/>
                  <a:gd name="T31" fmla="*/ 181 h 219"/>
                  <a:gd name="T32" fmla="*/ 0 w 196"/>
                  <a:gd name="T33" fmla="*/ 190 h 219"/>
                  <a:gd name="T34" fmla="*/ 4 w 196"/>
                  <a:gd name="T35" fmla="*/ 204 h 219"/>
                  <a:gd name="T36" fmla="*/ 21 w 196"/>
                  <a:gd name="T37" fmla="*/ 204 h 219"/>
                  <a:gd name="T38" fmla="*/ 33 w 196"/>
                  <a:gd name="T39" fmla="*/ 215 h 219"/>
                  <a:gd name="T40" fmla="*/ 58 w 196"/>
                  <a:gd name="T41" fmla="*/ 219 h 219"/>
                  <a:gd name="T42" fmla="*/ 87 w 196"/>
                  <a:gd name="T43" fmla="*/ 205 h 219"/>
                  <a:gd name="T44" fmla="*/ 113 w 196"/>
                  <a:gd name="T45" fmla="*/ 157 h 219"/>
                  <a:gd name="T46" fmla="*/ 125 w 196"/>
                  <a:gd name="T47" fmla="*/ 132 h 219"/>
                  <a:gd name="T48" fmla="*/ 156 w 196"/>
                  <a:gd name="T49" fmla="*/ 123 h 219"/>
                  <a:gd name="T50" fmla="*/ 152 w 196"/>
                  <a:gd name="T51" fmla="*/ 104 h 219"/>
                  <a:gd name="T52" fmla="*/ 183 w 196"/>
                  <a:gd name="T53" fmla="*/ 69 h 219"/>
                  <a:gd name="T54" fmla="*/ 196 w 196"/>
                  <a:gd name="T55" fmla="*/ 46 h 219"/>
                  <a:gd name="T56" fmla="*/ 196 w 196"/>
                  <a:gd name="T57" fmla="*/ 19 h 219"/>
                  <a:gd name="T58" fmla="*/ 190 w 196"/>
                  <a:gd name="T59" fmla="*/ 27 h 219"/>
                  <a:gd name="T60" fmla="*/ 183 w 196"/>
                  <a:gd name="T61" fmla="*/ 21 h 219"/>
                  <a:gd name="T62" fmla="*/ 175 w 196"/>
                  <a:gd name="T63" fmla="*/ 23 h 219"/>
                  <a:gd name="T64" fmla="*/ 163 w 196"/>
                  <a:gd name="T65" fmla="*/ 27 h 219"/>
                  <a:gd name="T66" fmla="*/ 161 w 196"/>
                  <a:gd name="T67" fmla="*/ 8 h 219"/>
                  <a:gd name="T68" fmla="*/ 148 w 196"/>
                  <a:gd name="T69" fmla="*/ 0 h 21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96"/>
                  <a:gd name="T106" fmla="*/ 0 h 219"/>
                  <a:gd name="T107" fmla="*/ 196 w 196"/>
                  <a:gd name="T108" fmla="*/ 219 h 21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96" h="219">
                    <a:moveTo>
                      <a:pt x="148" y="0"/>
                    </a:moveTo>
                    <a:lnTo>
                      <a:pt x="146" y="4"/>
                    </a:lnTo>
                    <a:lnTo>
                      <a:pt x="140" y="9"/>
                    </a:lnTo>
                    <a:lnTo>
                      <a:pt x="136" y="11"/>
                    </a:lnTo>
                    <a:lnTo>
                      <a:pt x="136" y="21"/>
                    </a:lnTo>
                    <a:lnTo>
                      <a:pt x="138" y="31"/>
                    </a:lnTo>
                    <a:lnTo>
                      <a:pt x="136" y="38"/>
                    </a:lnTo>
                    <a:lnTo>
                      <a:pt x="135" y="42"/>
                    </a:lnTo>
                    <a:lnTo>
                      <a:pt x="129" y="44"/>
                    </a:lnTo>
                    <a:lnTo>
                      <a:pt x="125" y="46"/>
                    </a:lnTo>
                    <a:lnTo>
                      <a:pt x="125" y="50"/>
                    </a:lnTo>
                    <a:lnTo>
                      <a:pt x="127" y="54"/>
                    </a:lnTo>
                    <a:lnTo>
                      <a:pt x="125" y="58"/>
                    </a:lnTo>
                    <a:lnTo>
                      <a:pt x="121" y="61"/>
                    </a:lnTo>
                    <a:lnTo>
                      <a:pt x="117" y="61"/>
                    </a:lnTo>
                    <a:lnTo>
                      <a:pt x="110" y="84"/>
                    </a:lnTo>
                    <a:lnTo>
                      <a:pt x="98" y="102"/>
                    </a:lnTo>
                    <a:lnTo>
                      <a:pt x="83" y="115"/>
                    </a:lnTo>
                    <a:lnTo>
                      <a:pt x="73" y="119"/>
                    </a:lnTo>
                    <a:lnTo>
                      <a:pt x="60" y="123"/>
                    </a:lnTo>
                    <a:lnTo>
                      <a:pt x="50" y="127"/>
                    </a:lnTo>
                    <a:lnTo>
                      <a:pt x="46" y="131"/>
                    </a:lnTo>
                    <a:lnTo>
                      <a:pt x="46" y="138"/>
                    </a:lnTo>
                    <a:lnTo>
                      <a:pt x="39" y="138"/>
                    </a:lnTo>
                    <a:lnTo>
                      <a:pt x="39" y="146"/>
                    </a:lnTo>
                    <a:lnTo>
                      <a:pt x="25" y="146"/>
                    </a:lnTo>
                    <a:lnTo>
                      <a:pt x="21" y="152"/>
                    </a:lnTo>
                    <a:lnTo>
                      <a:pt x="17" y="159"/>
                    </a:lnTo>
                    <a:lnTo>
                      <a:pt x="14" y="165"/>
                    </a:lnTo>
                    <a:lnTo>
                      <a:pt x="6" y="165"/>
                    </a:lnTo>
                    <a:lnTo>
                      <a:pt x="6" y="175"/>
                    </a:lnTo>
                    <a:lnTo>
                      <a:pt x="4" y="181"/>
                    </a:lnTo>
                    <a:lnTo>
                      <a:pt x="4" y="188"/>
                    </a:lnTo>
                    <a:lnTo>
                      <a:pt x="0" y="190"/>
                    </a:lnTo>
                    <a:lnTo>
                      <a:pt x="0" y="198"/>
                    </a:lnTo>
                    <a:lnTo>
                      <a:pt x="4" y="204"/>
                    </a:lnTo>
                    <a:lnTo>
                      <a:pt x="12" y="207"/>
                    </a:lnTo>
                    <a:lnTo>
                      <a:pt x="21" y="204"/>
                    </a:lnTo>
                    <a:lnTo>
                      <a:pt x="31" y="204"/>
                    </a:lnTo>
                    <a:lnTo>
                      <a:pt x="33" y="215"/>
                    </a:lnTo>
                    <a:lnTo>
                      <a:pt x="41" y="217"/>
                    </a:lnTo>
                    <a:lnTo>
                      <a:pt x="58" y="219"/>
                    </a:lnTo>
                    <a:lnTo>
                      <a:pt x="73" y="219"/>
                    </a:lnTo>
                    <a:lnTo>
                      <a:pt x="87" y="205"/>
                    </a:lnTo>
                    <a:lnTo>
                      <a:pt x="104" y="179"/>
                    </a:lnTo>
                    <a:lnTo>
                      <a:pt x="113" y="157"/>
                    </a:lnTo>
                    <a:lnTo>
                      <a:pt x="113" y="138"/>
                    </a:lnTo>
                    <a:lnTo>
                      <a:pt x="125" y="132"/>
                    </a:lnTo>
                    <a:lnTo>
                      <a:pt x="142" y="127"/>
                    </a:lnTo>
                    <a:lnTo>
                      <a:pt x="156" y="123"/>
                    </a:lnTo>
                    <a:lnTo>
                      <a:pt x="156" y="115"/>
                    </a:lnTo>
                    <a:lnTo>
                      <a:pt x="152" y="104"/>
                    </a:lnTo>
                    <a:lnTo>
                      <a:pt x="163" y="92"/>
                    </a:lnTo>
                    <a:lnTo>
                      <a:pt x="183" y="69"/>
                    </a:lnTo>
                    <a:lnTo>
                      <a:pt x="196" y="54"/>
                    </a:lnTo>
                    <a:lnTo>
                      <a:pt x="196" y="46"/>
                    </a:lnTo>
                    <a:lnTo>
                      <a:pt x="194" y="33"/>
                    </a:lnTo>
                    <a:lnTo>
                      <a:pt x="196" y="19"/>
                    </a:lnTo>
                    <a:lnTo>
                      <a:pt x="190" y="19"/>
                    </a:lnTo>
                    <a:lnTo>
                      <a:pt x="190" y="27"/>
                    </a:lnTo>
                    <a:lnTo>
                      <a:pt x="184" y="25"/>
                    </a:lnTo>
                    <a:lnTo>
                      <a:pt x="183" y="21"/>
                    </a:lnTo>
                    <a:lnTo>
                      <a:pt x="179" y="15"/>
                    </a:lnTo>
                    <a:lnTo>
                      <a:pt x="175" y="23"/>
                    </a:lnTo>
                    <a:lnTo>
                      <a:pt x="175" y="27"/>
                    </a:lnTo>
                    <a:lnTo>
                      <a:pt x="163" y="27"/>
                    </a:lnTo>
                    <a:lnTo>
                      <a:pt x="161" y="17"/>
                    </a:lnTo>
                    <a:lnTo>
                      <a:pt x="161" y="8"/>
                    </a:lnTo>
                    <a:lnTo>
                      <a:pt x="160" y="0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5" name="Freeform 123"/>
              <p:cNvSpPr>
                <a:spLocks/>
              </p:cNvSpPr>
              <p:nvPr/>
            </p:nvSpPr>
            <p:spPr bwMode="gray">
              <a:xfrm>
                <a:off x="5104" y="3553"/>
                <a:ext cx="11" cy="11"/>
              </a:xfrm>
              <a:custGeom>
                <a:avLst/>
                <a:gdLst>
                  <a:gd name="T0" fmla="*/ 2 w 23"/>
                  <a:gd name="T1" fmla="*/ 0 h 23"/>
                  <a:gd name="T2" fmla="*/ 0 w 23"/>
                  <a:gd name="T3" fmla="*/ 19 h 23"/>
                  <a:gd name="T4" fmla="*/ 0 w 23"/>
                  <a:gd name="T5" fmla="*/ 23 h 23"/>
                  <a:gd name="T6" fmla="*/ 23 w 23"/>
                  <a:gd name="T7" fmla="*/ 23 h 23"/>
                  <a:gd name="T8" fmla="*/ 18 w 23"/>
                  <a:gd name="T9" fmla="*/ 15 h 23"/>
                  <a:gd name="T10" fmla="*/ 18 w 23"/>
                  <a:gd name="T11" fmla="*/ 11 h 23"/>
                  <a:gd name="T12" fmla="*/ 16 w 23"/>
                  <a:gd name="T13" fmla="*/ 8 h 23"/>
                  <a:gd name="T14" fmla="*/ 16 w 23"/>
                  <a:gd name="T15" fmla="*/ 4 h 23"/>
                  <a:gd name="T16" fmla="*/ 10 w 23"/>
                  <a:gd name="T17" fmla="*/ 2 h 23"/>
                  <a:gd name="T18" fmla="*/ 6 w 23"/>
                  <a:gd name="T19" fmla="*/ 2 h 23"/>
                  <a:gd name="T20" fmla="*/ 2 w 23"/>
                  <a:gd name="T21" fmla="*/ 0 h 2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3"/>
                  <a:gd name="T34" fmla="*/ 0 h 23"/>
                  <a:gd name="T35" fmla="*/ 23 w 23"/>
                  <a:gd name="T36" fmla="*/ 23 h 2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3" h="23">
                    <a:moveTo>
                      <a:pt x="2" y="0"/>
                    </a:moveTo>
                    <a:lnTo>
                      <a:pt x="0" y="19"/>
                    </a:lnTo>
                    <a:lnTo>
                      <a:pt x="0" y="23"/>
                    </a:lnTo>
                    <a:lnTo>
                      <a:pt x="23" y="23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0" y="2"/>
                    </a:lnTo>
                    <a:lnTo>
                      <a:pt x="6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6" name="Freeform 124"/>
              <p:cNvSpPr>
                <a:spLocks/>
              </p:cNvSpPr>
              <p:nvPr/>
            </p:nvSpPr>
            <p:spPr bwMode="gray">
              <a:xfrm>
                <a:off x="3075" y="1898"/>
                <a:ext cx="50" cy="43"/>
              </a:xfrm>
              <a:custGeom>
                <a:avLst/>
                <a:gdLst>
                  <a:gd name="T0" fmla="*/ 96 w 100"/>
                  <a:gd name="T1" fmla="*/ 11 h 84"/>
                  <a:gd name="T2" fmla="*/ 96 w 100"/>
                  <a:gd name="T3" fmla="*/ 13 h 84"/>
                  <a:gd name="T4" fmla="*/ 96 w 100"/>
                  <a:gd name="T5" fmla="*/ 6 h 84"/>
                  <a:gd name="T6" fmla="*/ 84 w 100"/>
                  <a:gd name="T7" fmla="*/ 4 h 84"/>
                  <a:gd name="T8" fmla="*/ 69 w 100"/>
                  <a:gd name="T9" fmla="*/ 0 h 84"/>
                  <a:gd name="T10" fmla="*/ 54 w 100"/>
                  <a:gd name="T11" fmla="*/ 2 h 84"/>
                  <a:gd name="T12" fmla="*/ 52 w 100"/>
                  <a:gd name="T13" fmla="*/ 4 h 84"/>
                  <a:gd name="T14" fmla="*/ 50 w 100"/>
                  <a:gd name="T15" fmla="*/ 9 h 84"/>
                  <a:gd name="T16" fmla="*/ 50 w 100"/>
                  <a:gd name="T17" fmla="*/ 13 h 84"/>
                  <a:gd name="T18" fmla="*/ 44 w 100"/>
                  <a:gd name="T19" fmla="*/ 15 h 84"/>
                  <a:gd name="T20" fmla="*/ 38 w 100"/>
                  <a:gd name="T21" fmla="*/ 15 h 84"/>
                  <a:gd name="T22" fmla="*/ 34 w 100"/>
                  <a:gd name="T23" fmla="*/ 17 h 84"/>
                  <a:gd name="T24" fmla="*/ 27 w 100"/>
                  <a:gd name="T25" fmla="*/ 30 h 84"/>
                  <a:gd name="T26" fmla="*/ 23 w 100"/>
                  <a:gd name="T27" fmla="*/ 50 h 84"/>
                  <a:gd name="T28" fmla="*/ 23 w 100"/>
                  <a:gd name="T29" fmla="*/ 67 h 84"/>
                  <a:gd name="T30" fmla="*/ 7 w 100"/>
                  <a:gd name="T31" fmla="*/ 67 h 84"/>
                  <a:gd name="T32" fmla="*/ 0 w 100"/>
                  <a:gd name="T33" fmla="*/ 69 h 84"/>
                  <a:gd name="T34" fmla="*/ 0 w 100"/>
                  <a:gd name="T35" fmla="*/ 71 h 84"/>
                  <a:gd name="T36" fmla="*/ 4 w 100"/>
                  <a:gd name="T37" fmla="*/ 77 h 84"/>
                  <a:gd name="T38" fmla="*/ 13 w 100"/>
                  <a:gd name="T39" fmla="*/ 80 h 84"/>
                  <a:gd name="T40" fmla="*/ 21 w 100"/>
                  <a:gd name="T41" fmla="*/ 79 h 84"/>
                  <a:gd name="T42" fmla="*/ 25 w 100"/>
                  <a:gd name="T43" fmla="*/ 77 h 84"/>
                  <a:gd name="T44" fmla="*/ 30 w 100"/>
                  <a:gd name="T45" fmla="*/ 75 h 84"/>
                  <a:gd name="T46" fmla="*/ 40 w 100"/>
                  <a:gd name="T47" fmla="*/ 75 h 84"/>
                  <a:gd name="T48" fmla="*/ 40 w 100"/>
                  <a:gd name="T49" fmla="*/ 79 h 84"/>
                  <a:gd name="T50" fmla="*/ 44 w 100"/>
                  <a:gd name="T51" fmla="*/ 82 h 84"/>
                  <a:gd name="T52" fmla="*/ 48 w 100"/>
                  <a:gd name="T53" fmla="*/ 84 h 84"/>
                  <a:gd name="T54" fmla="*/ 52 w 100"/>
                  <a:gd name="T55" fmla="*/ 84 h 84"/>
                  <a:gd name="T56" fmla="*/ 54 w 100"/>
                  <a:gd name="T57" fmla="*/ 79 h 84"/>
                  <a:gd name="T58" fmla="*/ 61 w 100"/>
                  <a:gd name="T59" fmla="*/ 59 h 84"/>
                  <a:gd name="T60" fmla="*/ 61 w 100"/>
                  <a:gd name="T61" fmla="*/ 54 h 84"/>
                  <a:gd name="T62" fmla="*/ 65 w 100"/>
                  <a:gd name="T63" fmla="*/ 50 h 84"/>
                  <a:gd name="T64" fmla="*/ 75 w 100"/>
                  <a:gd name="T65" fmla="*/ 52 h 84"/>
                  <a:gd name="T66" fmla="*/ 82 w 100"/>
                  <a:gd name="T67" fmla="*/ 54 h 84"/>
                  <a:gd name="T68" fmla="*/ 86 w 100"/>
                  <a:gd name="T69" fmla="*/ 50 h 84"/>
                  <a:gd name="T70" fmla="*/ 86 w 100"/>
                  <a:gd name="T71" fmla="*/ 48 h 84"/>
                  <a:gd name="T72" fmla="*/ 90 w 100"/>
                  <a:gd name="T73" fmla="*/ 46 h 84"/>
                  <a:gd name="T74" fmla="*/ 96 w 100"/>
                  <a:gd name="T75" fmla="*/ 44 h 84"/>
                  <a:gd name="T76" fmla="*/ 96 w 100"/>
                  <a:gd name="T77" fmla="*/ 40 h 84"/>
                  <a:gd name="T78" fmla="*/ 92 w 100"/>
                  <a:gd name="T79" fmla="*/ 36 h 84"/>
                  <a:gd name="T80" fmla="*/ 92 w 100"/>
                  <a:gd name="T81" fmla="*/ 32 h 84"/>
                  <a:gd name="T82" fmla="*/ 98 w 100"/>
                  <a:gd name="T83" fmla="*/ 32 h 84"/>
                  <a:gd name="T84" fmla="*/ 100 w 100"/>
                  <a:gd name="T85" fmla="*/ 27 h 84"/>
                  <a:gd name="T86" fmla="*/ 98 w 100"/>
                  <a:gd name="T87" fmla="*/ 17 h 84"/>
                  <a:gd name="T88" fmla="*/ 96 w 100"/>
                  <a:gd name="T89" fmla="*/ 11 h 84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00"/>
                  <a:gd name="T136" fmla="*/ 0 h 84"/>
                  <a:gd name="T137" fmla="*/ 100 w 100"/>
                  <a:gd name="T138" fmla="*/ 84 h 84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00" h="84">
                    <a:moveTo>
                      <a:pt x="96" y="11"/>
                    </a:moveTo>
                    <a:lnTo>
                      <a:pt x="96" y="13"/>
                    </a:lnTo>
                    <a:lnTo>
                      <a:pt x="96" y="6"/>
                    </a:lnTo>
                    <a:lnTo>
                      <a:pt x="84" y="4"/>
                    </a:lnTo>
                    <a:lnTo>
                      <a:pt x="69" y="0"/>
                    </a:lnTo>
                    <a:lnTo>
                      <a:pt x="54" y="2"/>
                    </a:lnTo>
                    <a:lnTo>
                      <a:pt x="52" y="4"/>
                    </a:lnTo>
                    <a:lnTo>
                      <a:pt x="50" y="9"/>
                    </a:lnTo>
                    <a:lnTo>
                      <a:pt x="50" y="13"/>
                    </a:lnTo>
                    <a:lnTo>
                      <a:pt x="44" y="15"/>
                    </a:lnTo>
                    <a:lnTo>
                      <a:pt x="38" y="15"/>
                    </a:lnTo>
                    <a:lnTo>
                      <a:pt x="34" y="17"/>
                    </a:lnTo>
                    <a:lnTo>
                      <a:pt x="27" y="30"/>
                    </a:lnTo>
                    <a:lnTo>
                      <a:pt x="23" y="50"/>
                    </a:lnTo>
                    <a:lnTo>
                      <a:pt x="23" y="67"/>
                    </a:lnTo>
                    <a:lnTo>
                      <a:pt x="7" y="67"/>
                    </a:lnTo>
                    <a:lnTo>
                      <a:pt x="0" y="69"/>
                    </a:lnTo>
                    <a:lnTo>
                      <a:pt x="0" y="71"/>
                    </a:lnTo>
                    <a:lnTo>
                      <a:pt x="4" y="77"/>
                    </a:lnTo>
                    <a:lnTo>
                      <a:pt x="13" y="80"/>
                    </a:lnTo>
                    <a:lnTo>
                      <a:pt x="21" y="79"/>
                    </a:lnTo>
                    <a:lnTo>
                      <a:pt x="25" y="77"/>
                    </a:lnTo>
                    <a:lnTo>
                      <a:pt x="30" y="75"/>
                    </a:lnTo>
                    <a:lnTo>
                      <a:pt x="40" y="75"/>
                    </a:lnTo>
                    <a:lnTo>
                      <a:pt x="40" y="79"/>
                    </a:lnTo>
                    <a:lnTo>
                      <a:pt x="44" y="82"/>
                    </a:lnTo>
                    <a:lnTo>
                      <a:pt x="48" y="84"/>
                    </a:lnTo>
                    <a:lnTo>
                      <a:pt x="52" y="84"/>
                    </a:lnTo>
                    <a:lnTo>
                      <a:pt x="54" y="79"/>
                    </a:lnTo>
                    <a:lnTo>
                      <a:pt x="61" y="59"/>
                    </a:lnTo>
                    <a:lnTo>
                      <a:pt x="61" y="54"/>
                    </a:lnTo>
                    <a:lnTo>
                      <a:pt x="65" y="50"/>
                    </a:lnTo>
                    <a:lnTo>
                      <a:pt x="75" y="52"/>
                    </a:lnTo>
                    <a:lnTo>
                      <a:pt x="82" y="54"/>
                    </a:lnTo>
                    <a:lnTo>
                      <a:pt x="86" y="50"/>
                    </a:lnTo>
                    <a:lnTo>
                      <a:pt x="86" y="48"/>
                    </a:lnTo>
                    <a:lnTo>
                      <a:pt x="90" y="46"/>
                    </a:lnTo>
                    <a:lnTo>
                      <a:pt x="96" y="44"/>
                    </a:lnTo>
                    <a:lnTo>
                      <a:pt x="96" y="40"/>
                    </a:lnTo>
                    <a:lnTo>
                      <a:pt x="92" y="36"/>
                    </a:lnTo>
                    <a:lnTo>
                      <a:pt x="92" y="32"/>
                    </a:lnTo>
                    <a:lnTo>
                      <a:pt x="98" y="32"/>
                    </a:lnTo>
                    <a:lnTo>
                      <a:pt x="100" y="27"/>
                    </a:lnTo>
                    <a:lnTo>
                      <a:pt x="98" y="17"/>
                    </a:lnTo>
                    <a:lnTo>
                      <a:pt x="96" y="1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7" name="Freeform 125"/>
              <p:cNvSpPr>
                <a:spLocks/>
              </p:cNvSpPr>
              <p:nvPr/>
            </p:nvSpPr>
            <p:spPr bwMode="gray">
              <a:xfrm>
                <a:off x="4028" y="2310"/>
                <a:ext cx="102" cy="61"/>
              </a:xfrm>
              <a:custGeom>
                <a:avLst/>
                <a:gdLst>
                  <a:gd name="T0" fmla="*/ 203 w 203"/>
                  <a:gd name="T1" fmla="*/ 77 h 123"/>
                  <a:gd name="T2" fmla="*/ 184 w 203"/>
                  <a:gd name="T3" fmla="*/ 73 h 123"/>
                  <a:gd name="T4" fmla="*/ 163 w 203"/>
                  <a:gd name="T5" fmla="*/ 73 h 123"/>
                  <a:gd name="T6" fmla="*/ 151 w 203"/>
                  <a:gd name="T7" fmla="*/ 66 h 123"/>
                  <a:gd name="T8" fmla="*/ 138 w 203"/>
                  <a:gd name="T9" fmla="*/ 64 h 123"/>
                  <a:gd name="T10" fmla="*/ 132 w 203"/>
                  <a:gd name="T11" fmla="*/ 56 h 123"/>
                  <a:gd name="T12" fmla="*/ 123 w 203"/>
                  <a:gd name="T13" fmla="*/ 43 h 123"/>
                  <a:gd name="T14" fmla="*/ 109 w 203"/>
                  <a:gd name="T15" fmla="*/ 37 h 123"/>
                  <a:gd name="T16" fmla="*/ 109 w 203"/>
                  <a:gd name="T17" fmla="*/ 25 h 123"/>
                  <a:gd name="T18" fmla="*/ 99 w 203"/>
                  <a:gd name="T19" fmla="*/ 19 h 123"/>
                  <a:gd name="T20" fmla="*/ 86 w 203"/>
                  <a:gd name="T21" fmla="*/ 21 h 123"/>
                  <a:gd name="T22" fmla="*/ 75 w 203"/>
                  <a:gd name="T23" fmla="*/ 21 h 123"/>
                  <a:gd name="T24" fmla="*/ 63 w 203"/>
                  <a:gd name="T25" fmla="*/ 4 h 123"/>
                  <a:gd name="T26" fmla="*/ 55 w 203"/>
                  <a:gd name="T27" fmla="*/ 2 h 123"/>
                  <a:gd name="T28" fmla="*/ 42 w 203"/>
                  <a:gd name="T29" fmla="*/ 0 h 123"/>
                  <a:gd name="T30" fmla="*/ 25 w 203"/>
                  <a:gd name="T31" fmla="*/ 0 h 123"/>
                  <a:gd name="T32" fmla="*/ 9 w 203"/>
                  <a:gd name="T33" fmla="*/ 12 h 123"/>
                  <a:gd name="T34" fmla="*/ 0 w 203"/>
                  <a:gd name="T35" fmla="*/ 29 h 123"/>
                  <a:gd name="T36" fmla="*/ 4 w 203"/>
                  <a:gd name="T37" fmla="*/ 43 h 123"/>
                  <a:gd name="T38" fmla="*/ 19 w 203"/>
                  <a:gd name="T39" fmla="*/ 48 h 123"/>
                  <a:gd name="T40" fmla="*/ 21 w 203"/>
                  <a:gd name="T41" fmla="*/ 58 h 123"/>
                  <a:gd name="T42" fmla="*/ 48 w 203"/>
                  <a:gd name="T43" fmla="*/ 69 h 123"/>
                  <a:gd name="T44" fmla="*/ 65 w 203"/>
                  <a:gd name="T45" fmla="*/ 77 h 123"/>
                  <a:gd name="T46" fmla="*/ 80 w 203"/>
                  <a:gd name="T47" fmla="*/ 79 h 123"/>
                  <a:gd name="T48" fmla="*/ 90 w 203"/>
                  <a:gd name="T49" fmla="*/ 87 h 123"/>
                  <a:gd name="T50" fmla="*/ 99 w 203"/>
                  <a:gd name="T51" fmla="*/ 96 h 123"/>
                  <a:gd name="T52" fmla="*/ 109 w 203"/>
                  <a:gd name="T53" fmla="*/ 96 h 123"/>
                  <a:gd name="T54" fmla="*/ 121 w 203"/>
                  <a:gd name="T55" fmla="*/ 108 h 123"/>
                  <a:gd name="T56" fmla="*/ 140 w 203"/>
                  <a:gd name="T57" fmla="*/ 108 h 123"/>
                  <a:gd name="T58" fmla="*/ 163 w 203"/>
                  <a:gd name="T59" fmla="*/ 117 h 123"/>
                  <a:gd name="T60" fmla="*/ 176 w 203"/>
                  <a:gd name="T61" fmla="*/ 119 h 123"/>
                  <a:gd name="T62" fmla="*/ 188 w 203"/>
                  <a:gd name="T63" fmla="*/ 123 h 123"/>
                  <a:gd name="T64" fmla="*/ 199 w 203"/>
                  <a:gd name="T65" fmla="*/ 121 h 123"/>
                  <a:gd name="T66" fmla="*/ 203 w 203"/>
                  <a:gd name="T67" fmla="*/ 116 h 123"/>
                  <a:gd name="T68" fmla="*/ 203 w 203"/>
                  <a:gd name="T69" fmla="*/ 108 h 123"/>
                  <a:gd name="T70" fmla="*/ 197 w 203"/>
                  <a:gd name="T71" fmla="*/ 100 h 123"/>
                  <a:gd name="T72" fmla="*/ 203 w 203"/>
                  <a:gd name="T73" fmla="*/ 92 h 123"/>
                  <a:gd name="T74" fmla="*/ 203 w 203"/>
                  <a:gd name="T75" fmla="*/ 77 h 12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03"/>
                  <a:gd name="T115" fmla="*/ 0 h 123"/>
                  <a:gd name="T116" fmla="*/ 203 w 203"/>
                  <a:gd name="T117" fmla="*/ 123 h 123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03" h="123">
                    <a:moveTo>
                      <a:pt x="203" y="77"/>
                    </a:moveTo>
                    <a:lnTo>
                      <a:pt x="184" y="73"/>
                    </a:lnTo>
                    <a:lnTo>
                      <a:pt x="163" y="73"/>
                    </a:lnTo>
                    <a:lnTo>
                      <a:pt x="151" y="66"/>
                    </a:lnTo>
                    <a:lnTo>
                      <a:pt x="138" y="64"/>
                    </a:lnTo>
                    <a:lnTo>
                      <a:pt x="132" y="56"/>
                    </a:lnTo>
                    <a:lnTo>
                      <a:pt x="123" y="43"/>
                    </a:lnTo>
                    <a:lnTo>
                      <a:pt x="109" y="37"/>
                    </a:lnTo>
                    <a:lnTo>
                      <a:pt x="109" y="25"/>
                    </a:lnTo>
                    <a:lnTo>
                      <a:pt x="99" y="19"/>
                    </a:lnTo>
                    <a:lnTo>
                      <a:pt x="86" y="21"/>
                    </a:lnTo>
                    <a:lnTo>
                      <a:pt x="75" y="21"/>
                    </a:lnTo>
                    <a:lnTo>
                      <a:pt x="63" y="4"/>
                    </a:lnTo>
                    <a:lnTo>
                      <a:pt x="55" y="2"/>
                    </a:lnTo>
                    <a:lnTo>
                      <a:pt x="42" y="0"/>
                    </a:lnTo>
                    <a:lnTo>
                      <a:pt x="25" y="0"/>
                    </a:lnTo>
                    <a:lnTo>
                      <a:pt x="9" y="12"/>
                    </a:lnTo>
                    <a:lnTo>
                      <a:pt x="0" y="29"/>
                    </a:lnTo>
                    <a:lnTo>
                      <a:pt x="4" y="43"/>
                    </a:lnTo>
                    <a:lnTo>
                      <a:pt x="19" y="48"/>
                    </a:lnTo>
                    <a:lnTo>
                      <a:pt x="21" y="58"/>
                    </a:lnTo>
                    <a:lnTo>
                      <a:pt x="48" y="69"/>
                    </a:lnTo>
                    <a:lnTo>
                      <a:pt x="65" y="77"/>
                    </a:lnTo>
                    <a:lnTo>
                      <a:pt x="80" y="79"/>
                    </a:lnTo>
                    <a:lnTo>
                      <a:pt x="90" y="87"/>
                    </a:lnTo>
                    <a:lnTo>
                      <a:pt x="99" y="96"/>
                    </a:lnTo>
                    <a:lnTo>
                      <a:pt x="109" y="96"/>
                    </a:lnTo>
                    <a:lnTo>
                      <a:pt x="121" y="108"/>
                    </a:lnTo>
                    <a:lnTo>
                      <a:pt x="140" y="108"/>
                    </a:lnTo>
                    <a:lnTo>
                      <a:pt x="163" y="117"/>
                    </a:lnTo>
                    <a:lnTo>
                      <a:pt x="176" y="119"/>
                    </a:lnTo>
                    <a:lnTo>
                      <a:pt x="188" y="123"/>
                    </a:lnTo>
                    <a:lnTo>
                      <a:pt x="199" y="121"/>
                    </a:lnTo>
                    <a:lnTo>
                      <a:pt x="203" y="116"/>
                    </a:lnTo>
                    <a:lnTo>
                      <a:pt x="203" y="108"/>
                    </a:lnTo>
                    <a:lnTo>
                      <a:pt x="197" y="100"/>
                    </a:lnTo>
                    <a:lnTo>
                      <a:pt x="203" y="92"/>
                    </a:lnTo>
                    <a:lnTo>
                      <a:pt x="203" y="7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8" name="Freeform 126"/>
              <p:cNvSpPr>
                <a:spLocks/>
              </p:cNvSpPr>
              <p:nvPr/>
            </p:nvSpPr>
            <p:spPr bwMode="gray">
              <a:xfrm>
                <a:off x="3173" y="3044"/>
                <a:ext cx="170" cy="193"/>
              </a:xfrm>
              <a:custGeom>
                <a:avLst/>
                <a:gdLst>
                  <a:gd name="T0" fmla="*/ 122 w 339"/>
                  <a:gd name="T1" fmla="*/ 385 h 387"/>
                  <a:gd name="T2" fmla="*/ 138 w 339"/>
                  <a:gd name="T3" fmla="*/ 367 h 387"/>
                  <a:gd name="T4" fmla="*/ 145 w 339"/>
                  <a:gd name="T5" fmla="*/ 373 h 387"/>
                  <a:gd name="T6" fmla="*/ 149 w 339"/>
                  <a:gd name="T7" fmla="*/ 383 h 387"/>
                  <a:gd name="T8" fmla="*/ 167 w 339"/>
                  <a:gd name="T9" fmla="*/ 385 h 387"/>
                  <a:gd name="T10" fmla="*/ 174 w 339"/>
                  <a:gd name="T11" fmla="*/ 385 h 387"/>
                  <a:gd name="T12" fmla="*/ 182 w 339"/>
                  <a:gd name="T13" fmla="*/ 379 h 387"/>
                  <a:gd name="T14" fmla="*/ 190 w 339"/>
                  <a:gd name="T15" fmla="*/ 369 h 387"/>
                  <a:gd name="T16" fmla="*/ 201 w 339"/>
                  <a:gd name="T17" fmla="*/ 271 h 387"/>
                  <a:gd name="T18" fmla="*/ 230 w 339"/>
                  <a:gd name="T19" fmla="*/ 158 h 387"/>
                  <a:gd name="T20" fmla="*/ 249 w 339"/>
                  <a:gd name="T21" fmla="*/ 54 h 387"/>
                  <a:gd name="T22" fmla="*/ 309 w 339"/>
                  <a:gd name="T23" fmla="*/ 50 h 387"/>
                  <a:gd name="T24" fmla="*/ 316 w 339"/>
                  <a:gd name="T25" fmla="*/ 45 h 387"/>
                  <a:gd name="T26" fmla="*/ 326 w 339"/>
                  <a:gd name="T27" fmla="*/ 45 h 387"/>
                  <a:gd name="T28" fmla="*/ 332 w 339"/>
                  <a:gd name="T29" fmla="*/ 37 h 387"/>
                  <a:gd name="T30" fmla="*/ 339 w 339"/>
                  <a:gd name="T31" fmla="*/ 35 h 387"/>
                  <a:gd name="T32" fmla="*/ 334 w 339"/>
                  <a:gd name="T33" fmla="*/ 31 h 387"/>
                  <a:gd name="T34" fmla="*/ 324 w 339"/>
                  <a:gd name="T35" fmla="*/ 27 h 387"/>
                  <a:gd name="T36" fmla="*/ 236 w 339"/>
                  <a:gd name="T37" fmla="*/ 39 h 387"/>
                  <a:gd name="T38" fmla="*/ 224 w 339"/>
                  <a:gd name="T39" fmla="*/ 35 h 387"/>
                  <a:gd name="T40" fmla="*/ 213 w 339"/>
                  <a:gd name="T41" fmla="*/ 33 h 387"/>
                  <a:gd name="T42" fmla="*/ 201 w 339"/>
                  <a:gd name="T43" fmla="*/ 35 h 387"/>
                  <a:gd name="T44" fmla="*/ 182 w 339"/>
                  <a:gd name="T45" fmla="*/ 31 h 387"/>
                  <a:gd name="T46" fmla="*/ 176 w 339"/>
                  <a:gd name="T47" fmla="*/ 25 h 387"/>
                  <a:gd name="T48" fmla="*/ 167 w 339"/>
                  <a:gd name="T49" fmla="*/ 16 h 387"/>
                  <a:gd name="T50" fmla="*/ 55 w 339"/>
                  <a:gd name="T51" fmla="*/ 10 h 387"/>
                  <a:gd name="T52" fmla="*/ 42 w 339"/>
                  <a:gd name="T53" fmla="*/ 0 h 387"/>
                  <a:gd name="T54" fmla="*/ 34 w 339"/>
                  <a:gd name="T55" fmla="*/ 10 h 387"/>
                  <a:gd name="T56" fmla="*/ 3 w 339"/>
                  <a:gd name="T57" fmla="*/ 12 h 387"/>
                  <a:gd name="T58" fmla="*/ 0 w 339"/>
                  <a:gd name="T59" fmla="*/ 31 h 387"/>
                  <a:gd name="T60" fmla="*/ 3 w 339"/>
                  <a:gd name="T61" fmla="*/ 52 h 387"/>
                  <a:gd name="T62" fmla="*/ 34 w 339"/>
                  <a:gd name="T63" fmla="*/ 79 h 387"/>
                  <a:gd name="T64" fmla="*/ 36 w 339"/>
                  <a:gd name="T65" fmla="*/ 108 h 387"/>
                  <a:gd name="T66" fmla="*/ 44 w 339"/>
                  <a:gd name="T67" fmla="*/ 129 h 387"/>
                  <a:gd name="T68" fmla="*/ 57 w 339"/>
                  <a:gd name="T69" fmla="*/ 145 h 387"/>
                  <a:gd name="T70" fmla="*/ 61 w 339"/>
                  <a:gd name="T71" fmla="*/ 168 h 387"/>
                  <a:gd name="T72" fmla="*/ 72 w 339"/>
                  <a:gd name="T73" fmla="*/ 179 h 387"/>
                  <a:gd name="T74" fmla="*/ 69 w 339"/>
                  <a:gd name="T75" fmla="*/ 210 h 387"/>
                  <a:gd name="T76" fmla="*/ 71 w 339"/>
                  <a:gd name="T77" fmla="*/ 235 h 387"/>
                  <a:gd name="T78" fmla="*/ 80 w 339"/>
                  <a:gd name="T79" fmla="*/ 256 h 387"/>
                  <a:gd name="T80" fmla="*/ 80 w 339"/>
                  <a:gd name="T81" fmla="*/ 312 h 387"/>
                  <a:gd name="T82" fmla="*/ 92 w 339"/>
                  <a:gd name="T83" fmla="*/ 350 h 387"/>
                  <a:gd name="T84" fmla="*/ 103 w 339"/>
                  <a:gd name="T85" fmla="*/ 367 h 387"/>
                  <a:gd name="T86" fmla="*/ 111 w 339"/>
                  <a:gd name="T87" fmla="*/ 366 h 387"/>
                  <a:gd name="T88" fmla="*/ 117 w 339"/>
                  <a:gd name="T89" fmla="*/ 373 h 387"/>
                  <a:gd name="T90" fmla="*/ 119 w 339"/>
                  <a:gd name="T91" fmla="*/ 387 h 38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39"/>
                  <a:gd name="T139" fmla="*/ 0 h 387"/>
                  <a:gd name="T140" fmla="*/ 339 w 339"/>
                  <a:gd name="T141" fmla="*/ 387 h 387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39" h="387">
                    <a:moveTo>
                      <a:pt x="119" y="387"/>
                    </a:moveTo>
                    <a:lnTo>
                      <a:pt x="122" y="385"/>
                    </a:lnTo>
                    <a:lnTo>
                      <a:pt x="136" y="371"/>
                    </a:lnTo>
                    <a:lnTo>
                      <a:pt x="138" y="367"/>
                    </a:lnTo>
                    <a:lnTo>
                      <a:pt x="147" y="367"/>
                    </a:lnTo>
                    <a:lnTo>
                      <a:pt x="145" y="373"/>
                    </a:lnTo>
                    <a:lnTo>
                      <a:pt x="147" y="379"/>
                    </a:lnTo>
                    <a:lnTo>
                      <a:pt x="149" y="383"/>
                    </a:lnTo>
                    <a:lnTo>
                      <a:pt x="153" y="385"/>
                    </a:lnTo>
                    <a:lnTo>
                      <a:pt x="167" y="385"/>
                    </a:lnTo>
                    <a:lnTo>
                      <a:pt x="170" y="387"/>
                    </a:lnTo>
                    <a:lnTo>
                      <a:pt x="174" y="385"/>
                    </a:lnTo>
                    <a:lnTo>
                      <a:pt x="178" y="381"/>
                    </a:lnTo>
                    <a:lnTo>
                      <a:pt x="182" y="379"/>
                    </a:lnTo>
                    <a:lnTo>
                      <a:pt x="186" y="373"/>
                    </a:lnTo>
                    <a:lnTo>
                      <a:pt x="190" y="369"/>
                    </a:lnTo>
                    <a:lnTo>
                      <a:pt x="199" y="369"/>
                    </a:lnTo>
                    <a:lnTo>
                      <a:pt x="201" y="271"/>
                    </a:lnTo>
                    <a:lnTo>
                      <a:pt x="203" y="158"/>
                    </a:lnTo>
                    <a:lnTo>
                      <a:pt x="230" y="158"/>
                    </a:lnTo>
                    <a:lnTo>
                      <a:pt x="232" y="54"/>
                    </a:lnTo>
                    <a:lnTo>
                      <a:pt x="249" y="54"/>
                    </a:lnTo>
                    <a:lnTo>
                      <a:pt x="307" y="48"/>
                    </a:lnTo>
                    <a:lnTo>
                      <a:pt x="309" y="50"/>
                    </a:lnTo>
                    <a:lnTo>
                      <a:pt x="312" y="50"/>
                    </a:lnTo>
                    <a:lnTo>
                      <a:pt x="316" y="45"/>
                    </a:lnTo>
                    <a:lnTo>
                      <a:pt x="318" y="43"/>
                    </a:lnTo>
                    <a:lnTo>
                      <a:pt x="326" y="45"/>
                    </a:lnTo>
                    <a:lnTo>
                      <a:pt x="330" y="43"/>
                    </a:lnTo>
                    <a:lnTo>
                      <a:pt x="332" y="37"/>
                    </a:lnTo>
                    <a:lnTo>
                      <a:pt x="337" y="35"/>
                    </a:lnTo>
                    <a:lnTo>
                      <a:pt x="339" y="35"/>
                    </a:lnTo>
                    <a:lnTo>
                      <a:pt x="337" y="33"/>
                    </a:lnTo>
                    <a:lnTo>
                      <a:pt x="334" y="31"/>
                    </a:lnTo>
                    <a:lnTo>
                      <a:pt x="330" y="27"/>
                    </a:lnTo>
                    <a:lnTo>
                      <a:pt x="324" y="27"/>
                    </a:lnTo>
                    <a:lnTo>
                      <a:pt x="291" y="31"/>
                    </a:lnTo>
                    <a:lnTo>
                      <a:pt x="236" y="39"/>
                    </a:lnTo>
                    <a:lnTo>
                      <a:pt x="232" y="39"/>
                    </a:lnTo>
                    <a:lnTo>
                      <a:pt x="224" y="35"/>
                    </a:lnTo>
                    <a:lnTo>
                      <a:pt x="215" y="35"/>
                    </a:lnTo>
                    <a:lnTo>
                      <a:pt x="213" y="33"/>
                    </a:lnTo>
                    <a:lnTo>
                      <a:pt x="207" y="35"/>
                    </a:lnTo>
                    <a:lnTo>
                      <a:pt x="201" y="35"/>
                    </a:lnTo>
                    <a:lnTo>
                      <a:pt x="195" y="31"/>
                    </a:lnTo>
                    <a:lnTo>
                      <a:pt x="182" y="31"/>
                    </a:lnTo>
                    <a:lnTo>
                      <a:pt x="180" y="27"/>
                    </a:lnTo>
                    <a:lnTo>
                      <a:pt x="176" y="25"/>
                    </a:lnTo>
                    <a:lnTo>
                      <a:pt x="170" y="23"/>
                    </a:lnTo>
                    <a:lnTo>
                      <a:pt x="167" y="16"/>
                    </a:lnTo>
                    <a:lnTo>
                      <a:pt x="167" y="14"/>
                    </a:lnTo>
                    <a:lnTo>
                      <a:pt x="55" y="10"/>
                    </a:lnTo>
                    <a:lnTo>
                      <a:pt x="48" y="2"/>
                    </a:lnTo>
                    <a:lnTo>
                      <a:pt x="42" y="0"/>
                    </a:lnTo>
                    <a:lnTo>
                      <a:pt x="36" y="6"/>
                    </a:lnTo>
                    <a:lnTo>
                      <a:pt x="34" y="10"/>
                    </a:lnTo>
                    <a:lnTo>
                      <a:pt x="15" y="10"/>
                    </a:lnTo>
                    <a:lnTo>
                      <a:pt x="3" y="12"/>
                    </a:lnTo>
                    <a:lnTo>
                      <a:pt x="0" y="14"/>
                    </a:lnTo>
                    <a:lnTo>
                      <a:pt x="0" y="31"/>
                    </a:lnTo>
                    <a:lnTo>
                      <a:pt x="1" y="45"/>
                    </a:lnTo>
                    <a:lnTo>
                      <a:pt x="3" y="52"/>
                    </a:lnTo>
                    <a:lnTo>
                      <a:pt x="11" y="52"/>
                    </a:lnTo>
                    <a:lnTo>
                      <a:pt x="34" y="79"/>
                    </a:lnTo>
                    <a:lnTo>
                      <a:pt x="36" y="93"/>
                    </a:lnTo>
                    <a:lnTo>
                      <a:pt x="36" y="108"/>
                    </a:lnTo>
                    <a:lnTo>
                      <a:pt x="38" y="121"/>
                    </a:lnTo>
                    <a:lnTo>
                      <a:pt x="44" y="129"/>
                    </a:lnTo>
                    <a:lnTo>
                      <a:pt x="51" y="137"/>
                    </a:lnTo>
                    <a:lnTo>
                      <a:pt x="57" y="145"/>
                    </a:lnTo>
                    <a:lnTo>
                      <a:pt x="57" y="164"/>
                    </a:lnTo>
                    <a:lnTo>
                      <a:pt x="61" y="168"/>
                    </a:lnTo>
                    <a:lnTo>
                      <a:pt x="69" y="173"/>
                    </a:lnTo>
                    <a:lnTo>
                      <a:pt x="72" y="179"/>
                    </a:lnTo>
                    <a:lnTo>
                      <a:pt x="72" y="195"/>
                    </a:lnTo>
                    <a:lnTo>
                      <a:pt x="69" y="210"/>
                    </a:lnTo>
                    <a:lnTo>
                      <a:pt x="69" y="225"/>
                    </a:lnTo>
                    <a:lnTo>
                      <a:pt x="71" y="235"/>
                    </a:lnTo>
                    <a:lnTo>
                      <a:pt x="76" y="248"/>
                    </a:lnTo>
                    <a:lnTo>
                      <a:pt x="80" y="256"/>
                    </a:lnTo>
                    <a:lnTo>
                      <a:pt x="82" y="287"/>
                    </a:lnTo>
                    <a:lnTo>
                      <a:pt x="80" y="312"/>
                    </a:lnTo>
                    <a:lnTo>
                      <a:pt x="88" y="344"/>
                    </a:lnTo>
                    <a:lnTo>
                      <a:pt x="92" y="350"/>
                    </a:lnTo>
                    <a:lnTo>
                      <a:pt x="97" y="362"/>
                    </a:lnTo>
                    <a:lnTo>
                      <a:pt x="103" y="367"/>
                    </a:lnTo>
                    <a:lnTo>
                      <a:pt x="107" y="367"/>
                    </a:lnTo>
                    <a:lnTo>
                      <a:pt x="111" y="366"/>
                    </a:lnTo>
                    <a:lnTo>
                      <a:pt x="115" y="367"/>
                    </a:lnTo>
                    <a:lnTo>
                      <a:pt x="117" y="373"/>
                    </a:lnTo>
                    <a:lnTo>
                      <a:pt x="117" y="379"/>
                    </a:lnTo>
                    <a:lnTo>
                      <a:pt x="119" y="38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39" name="Freeform 127"/>
              <p:cNvSpPr>
                <a:spLocks/>
              </p:cNvSpPr>
              <p:nvPr/>
            </p:nvSpPr>
            <p:spPr bwMode="gray">
              <a:xfrm>
                <a:off x="3406" y="2954"/>
                <a:ext cx="128" cy="245"/>
              </a:xfrm>
              <a:custGeom>
                <a:avLst/>
                <a:gdLst>
                  <a:gd name="T0" fmla="*/ 117 w 255"/>
                  <a:gd name="T1" fmla="*/ 102 h 490"/>
                  <a:gd name="T2" fmla="*/ 136 w 255"/>
                  <a:gd name="T3" fmla="*/ 117 h 490"/>
                  <a:gd name="T4" fmla="*/ 136 w 255"/>
                  <a:gd name="T5" fmla="*/ 134 h 490"/>
                  <a:gd name="T6" fmla="*/ 129 w 255"/>
                  <a:gd name="T7" fmla="*/ 148 h 490"/>
                  <a:gd name="T8" fmla="*/ 121 w 255"/>
                  <a:gd name="T9" fmla="*/ 161 h 490"/>
                  <a:gd name="T10" fmla="*/ 123 w 255"/>
                  <a:gd name="T11" fmla="*/ 178 h 490"/>
                  <a:gd name="T12" fmla="*/ 113 w 255"/>
                  <a:gd name="T13" fmla="*/ 171 h 490"/>
                  <a:gd name="T14" fmla="*/ 100 w 255"/>
                  <a:gd name="T15" fmla="*/ 163 h 490"/>
                  <a:gd name="T16" fmla="*/ 88 w 255"/>
                  <a:gd name="T17" fmla="*/ 146 h 490"/>
                  <a:gd name="T18" fmla="*/ 94 w 255"/>
                  <a:gd name="T19" fmla="*/ 121 h 490"/>
                  <a:gd name="T20" fmla="*/ 88 w 255"/>
                  <a:gd name="T21" fmla="*/ 109 h 490"/>
                  <a:gd name="T22" fmla="*/ 73 w 255"/>
                  <a:gd name="T23" fmla="*/ 117 h 490"/>
                  <a:gd name="T24" fmla="*/ 65 w 255"/>
                  <a:gd name="T25" fmla="*/ 102 h 490"/>
                  <a:gd name="T26" fmla="*/ 0 w 255"/>
                  <a:gd name="T27" fmla="*/ 117 h 490"/>
                  <a:gd name="T28" fmla="*/ 4 w 255"/>
                  <a:gd name="T29" fmla="*/ 150 h 490"/>
                  <a:gd name="T30" fmla="*/ 25 w 255"/>
                  <a:gd name="T31" fmla="*/ 153 h 490"/>
                  <a:gd name="T32" fmla="*/ 38 w 255"/>
                  <a:gd name="T33" fmla="*/ 163 h 490"/>
                  <a:gd name="T34" fmla="*/ 59 w 255"/>
                  <a:gd name="T35" fmla="*/ 173 h 490"/>
                  <a:gd name="T36" fmla="*/ 58 w 255"/>
                  <a:gd name="T37" fmla="*/ 194 h 490"/>
                  <a:gd name="T38" fmla="*/ 61 w 255"/>
                  <a:gd name="T39" fmla="*/ 228 h 490"/>
                  <a:gd name="T40" fmla="*/ 63 w 255"/>
                  <a:gd name="T41" fmla="*/ 240 h 490"/>
                  <a:gd name="T42" fmla="*/ 56 w 255"/>
                  <a:gd name="T43" fmla="*/ 251 h 490"/>
                  <a:gd name="T44" fmla="*/ 61 w 255"/>
                  <a:gd name="T45" fmla="*/ 263 h 490"/>
                  <a:gd name="T46" fmla="*/ 58 w 255"/>
                  <a:gd name="T47" fmla="*/ 290 h 490"/>
                  <a:gd name="T48" fmla="*/ 58 w 255"/>
                  <a:gd name="T49" fmla="*/ 309 h 490"/>
                  <a:gd name="T50" fmla="*/ 59 w 255"/>
                  <a:gd name="T51" fmla="*/ 313 h 490"/>
                  <a:gd name="T52" fmla="*/ 59 w 255"/>
                  <a:gd name="T53" fmla="*/ 323 h 490"/>
                  <a:gd name="T54" fmla="*/ 33 w 255"/>
                  <a:gd name="T55" fmla="*/ 357 h 490"/>
                  <a:gd name="T56" fmla="*/ 31 w 255"/>
                  <a:gd name="T57" fmla="*/ 392 h 490"/>
                  <a:gd name="T58" fmla="*/ 35 w 255"/>
                  <a:gd name="T59" fmla="*/ 430 h 490"/>
                  <a:gd name="T60" fmla="*/ 35 w 255"/>
                  <a:gd name="T61" fmla="*/ 455 h 490"/>
                  <a:gd name="T62" fmla="*/ 46 w 255"/>
                  <a:gd name="T63" fmla="*/ 472 h 490"/>
                  <a:gd name="T64" fmla="*/ 42 w 255"/>
                  <a:gd name="T65" fmla="*/ 490 h 490"/>
                  <a:gd name="T66" fmla="*/ 48 w 255"/>
                  <a:gd name="T67" fmla="*/ 472 h 490"/>
                  <a:gd name="T68" fmla="*/ 100 w 255"/>
                  <a:gd name="T69" fmla="*/ 444 h 490"/>
                  <a:gd name="T70" fmla="*/ 123 w 255"/>
                  <a:gd name="T71" fmla="*/ 403 h 490"/>
                  <a:gd name="T72" fmla="*/ 106 w 255"/>
                  <a:gd name="T73" fmla="*/ 311 h 490"/>
                  <a:gd name="T74" fmla="*/ 106 w 255"/>
                  <a:gd name="T75" fmla="*/ 284 h 490"/>
                  <a:gd name="T76" fmla="*/ 113 w 255"/>
                  <a:gd name="T77" fmla="*/ 275 h 490"/>
                  <a:gd name="T78" fmla="*/ 121 w 255"/>
                  <a:gd name="T79" fmla="*/ 259 h 490"/>
                  <a:gd name="T80" fmla="*/ 140 w 255"/>
                  <a:gd name="T81" fmla="*/ 223 h 490"/>
                  <a:gd name="T82" fmla="*/ 167 w 255"/>
                  <a:gd name="T83" fmla="*/ 219 h 490"/>
                  <a:gd name="T84" fmla="*/ 198 w 255"/>
                  <a:gd name="T85" fmla="*/ 201 h 490"/>
                  <a:gd name="T86" fmla="*/ 240 w 255"/>
                  <a:gd name="T87" fmla="*/ 155 h 490"/>
                  <a:gd name="T88" fmla="*/ 248 w 255"/>
                  <a:gd name="T89" fmla="*/ 117 h 490"/>
                  <a:gd name="T90" fmla="*/ 253 w 255"/>
                  <a:gd name="T91" fmla="*/ 77 h 490"/>
                  <a:gd name="T92" fmla="*/ 249 w 255"/>
                  <a:gd name="T93" fmla="*/ 30 h 490"/>
                  <a:gd name="T94" fmla="*/ 249 w 255"/>
                  <a:gd name="T95" fmla="*/ 0 h 490"/>
                  <a:gd name="T96" fmla="*/ 221 w 255"/>
                  <a:gd name="T97" fmla="*/ 7 h 490"/>
                  <a:gd name="T98" fmla="*/ 205 w 255"/>
                  <a:gd name="T99" fmla="*/ 13 h 490"/>
                  <a:gd name="T100" fmla="*/ 194 w 255"/>
                  <a:gd name="T101" fmla="*/ 17 h 490"/>
                  <a:gd name="T102" fmla="*/ 184 w 255"/>
                  <a:gd name="T103" fmla="*/ 19 h 490"/>
                  <a:gd name="T104" fmla="*/ 169 w 255"/>
                  <a:gd name="T105" fmla="*/ 25 h 490"/>
                  <a:gd name="T106" fmla="*/ 152 w 255"/>
                  <a:gd name="T107" fmla="*/ 29 h 490"/>
                  <a:gd name="T108" fmla="*/ 136 w 255"/>
                  <a:gd name="T109" fmla="*/ 23 h 490"/>
                  <a:gd name="T110" fmla="*/ 127 w 255"/>
                  <a:gd name="T111" fmla="*/ 19 h 490"/>
                  <a:gd name="T112" fmla="*/ 102 w 255"/>
                  <a:gd name="T113" fmla="*/ 27 h 490"/>
                  <a:gd name="T114" fmla="*/ 109 w 255"/>
                  <a:gd name="T115" fmla="*/ 77 h 49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55"/>
                  <a:gd name="T175" fmla="*/ 0 h 490"/>
                  <a:gd name="T176" fmla="*/ 255 w 255"/>
                  <a:gd name="T177" fmla="*/ 490 h 49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55" h="490">
                    <a:moveTo>
                      <a:pt x="113" y="92"/>
                    </a:moveTo>
                    <a:lnTo>
                      <a:pt x="113" y="96"/>
                    </a:lnTo>
                    <a:lnTo>
                      <a:pt x="117" y="102"/>
                    </a:lnTo>
                    <a:lnTo>
                      <a:pt x="129" y="105"/>
                    </a:lnTo>
                    <a:lnTo>
                      <a:pt x="134" y="109"/>
                    </a:lnTo>
                    <a:lnTo>
                      <a:pt x="136" y="117"/>
                    </a:lnTo>
                    <a:lnTo>
                      <a:pt x="136" y="127"/>
                    </a:lnTo>
                    <a:lnTo>
                      <a:pt x="134" y="132"/>
                    </a:lnTo>
                    <a:lnTo>
                      <a:pt x="136" y="134"/>
                    </a:lnTo>
                    <a:lnTo>
                      <a:pt x="136" y="140"/>
                    </a:lnTo>
                    <a:lnTo>
                      <a:pt x="134" y="146"/>
                    </a:lnTo>
                    <a:lnTo>
                      <a:pt x="129" y="148"/>
                    </a:lnTo>
                    <a:lnTo>
                      <a:pt x="123" y="146"/>
                    </a:lnTo>
                    <a:lnTo>
                      <a:pt x="119" y="152"/>
                    </a:lnTo>
                    <a:lnTo>
                      <a:pt x="121" y="161"/>
                    </a:lnTo>
                    <a:lnTo>
                      <a:pt x="123" y="169"/>
                    </a:lnTo>
                    <a:lnTo>
                      <a:pt x="125" y="175"/>
                    </a:lnTo>
                    <a:lnTo>
                      <a:pt x="123" y="178"/>
                    </a:lnTo>
                    <a:lnTo>
                      <a:pt x="117" y="184"/>
                    </a:lnTo>
                    <a:lnTo>
                      <a:pt x="113" y="180"/>
                    </a:lnTo>
                    <a:lnTo>
                      <a:pt x="113" y="171"/>
                    </a:lnTo>
                    <a:lnTo>
                      <a:pt x="109" y="171"/>
                    </a:lnTo>
                    <a:lnTo>
                      <a:pt x="106" y="167"/>
                    </a:lnTo>
                    <a:lnTo>
                      <a:pt x="100" y="163"/>
                    </a:lnTo>
                    <a:lnTo>
                      <a:pt x="90" y="153"/>
                    </a:lnTo>
                    <a:lnTo>
                      <a:pt x="88" y="150"/>
                    </a:lnTo>
                    <a:lnTo>
                      <a:pt x="88" y="146"/>
                    </a:lnTo>
                    <a:lnTo>
                      <a:pt x="90" y="140"/>
                    </a:lnTo>
                    <a:lnTo>
                      <a:pt x="94" y="134"/>
                    </a:lnTo>
                    <a:lnTo>
                      <a:pt x="94" y="121"/>
                    </a:lnTo>
                    <a:lnTo>
                      <a:pt x="92" y="115"/>
                    </a:lnTo>
                    <a:lnTo>
                      <a:pt x="90" y="111"/>
                    </a:lnTo>
                    <a:lnTo>
                      <a:pt x="88" y="109"/>
                    </a:lnTo>
                    <a:lnTo>
                      <a:pt x="86" y="111"/>
                    </a:lnTo>
                    <a:lnTo>
                      <a:pt x="79" y="113"/>
                    </a:lnTo>
                    <a:lnTo>
                      <a:pt x="73" y="117"/>
                    </a:lnTo>
                    <a:lnTo>
                      <a:pt x="69" y="117"/>
                    </a:lnTo>
                    <a:lnTo>
                      <a:pt x="69" y="105"/>
                    </a:lnTo>
                    <a:lnTo>
                      <a:pt x="65" y="102"/>
                    </a:lnTo>
                    <a:lnTo>
                      <a:pt x="59" y="98"/>
                    </a:lnTo>
                    <a:lnTo>
                      <a:pt x="58" y="98"/>
                    </a:lnTo>
                    <a:lnTo>
                      <a:pt x="0" y="117"/>
                    </a:lnTo>
                    <a:lnTo>
                      <a:pt x="8" y="125"/>
                    </a:lnTo>
                    <a:lnTo>
                      <a:pt x="8" y="130"/>
                    </a:lnTo>
                    <a:lnTo>
                      <a:pt x="4" y="150"/>
                    </a:lnTo>
                    <a:lnTo>
                      <a:pt x="15" y="150"/>
                    </a:lnTo>
                    <a:lnTo>
                      <a:pt x="21" y="152"/>
                    </a:lnTo>
                    <a:lnTo>
                      <a:pt x="25" y="153"/>
                    </a:lnTo>
                    <a:lnTo>
                      <a:pt x="29" y="157"/>
                    </a:lnTo>
                    <a:lnTo>
                      <a:pt x="35" y="159"/>
                    </a:lnTo>
                    <a:lnTo>
                      <a:pt x="38" y="163"/>
                    </a:lnTo>
                    <a:lnTo>
                      <a:pt x="50" y="167"/>
                    </a:lnTo>
                    <a:lnTo>
                      <a:pt x="56" y="171"/>
                    </a:lnTo>
                    <a:lnTo>
                      <a:pt x="59" y="173"/>
                    </a:lnTo>
                    <a:lnTo>
                      <a:pt x="63" y="186"/>
                    </a:lnTo>
                    <a:lnTo>
                      <a:pt x="63" y="188"/>
                    </a:lnTo>
                    <a:lnTo>
                      <a:pt x="58" y="194"/>
                    </a:lnTo>
                    <a:lnTo>
                      <a:pt x="58" y="215"/>
                    </a:lnTo>
                    <a:lnTo>
                      <a:pt x="59" y="223"/>
                    </a:lnTo>
                    <a:lnTo>
                      <a:pt x="61" y="228"/>
                    </a:lnTo>
                    <a:lnTo>
                      <a:pt x="67" y="234"/>
                    </a:lnTo>
                    <a:lnTo>
                      <a:pt x="67" y="236"/>
                    </a:lnTo>
                    <a:lnTo>
                      <a:pt x="63" y="240"/>
                    </a:lnTo>
                    <a:lnTo>
                      <a:pt x="61" y="244"/>
                    </a:lnTo>
                    <a:lnTo>
                      <a:pt x="58" y="248"/>
                    </a:lnTo>
                    <a:lnTo>
                      <a:pt x="56" y="251"/>
                    </a:lnTo>
                    <a:lnTo>
                      <a:pt x="56" y="255"/>
                    </a:lnTo>
                    <a:lnTo>
                      <a:pt x="59" y="259"/>
                    </a:lnTo>
                    <a:lnTo>
                      <a:pt x="61" y="263"/>
                    </a:lnTo>
                    <a:lnTo>
                      <a:pt x="61" y="265"/>
                    </a:lnTo>
                    <a:lnTo>
                      <a:pt x="58" y="271"/>
                    </a:lnTo>
                    <a:lnTo>
                      <a:pt x="58" y="290"/>
                    </a:lnTo>
                    <a:lnTo>
                      <a:pt x="59" y="296"/>
                    </a:lnTo>
                    <a:lnTo>
                      <a:pt x="59" y="301"/>
                    </a:lnTo>
                    <a:lnTo>
                      <a:pt x="58" y="309"/>
                    </a:lnTo>
                    <a:lnTo>
                      <a:pt x="56" y="309"/>
                    </a:lnTo>
                    <a:lnTo>
                      <a:pt x="56" y="311"/>
                    </a:lnTo>
                    <a:lnTo>
                      <a:pt x="59" y="313"/>
                    </a:lnTo>
                    <a:lnTo>
                      <a:pt x="63" y="313"/>
                    </a:lnTo>
                    <a:lnTo>
                      <a:pt x="63" y="317"/>
                    </a:lnTo>
                    <a:lnTo>
                      <a:pt x="59" y="323"/>
                    </a:lnTo>
                    <a:lnTo>
                      <a:pt x="54" y="330"/>
                    </a:lnTo>
                    <a:lnTo>
                      <a:pt x="52" y="334"/>
                    </a:lnTo>
                    <a:lnTo>
                      <a:pt x="33" y="357"/>
                    </a:lnTo>
                    <a:lnTo>
                      <a:pt x="35" y="363"/>
                    </a:lnTo>
                    <a:lnTo>
                      <a:pt x="35" y="373"/>
                    </a:lnTo>
                    <a:lnTo>
                      <a:pt x="31" y="392"/>
                    </a:lnTo>
                    <a:lnTo>
                      <a:pt x="31" y="401"/>
                    </a:lnTo>
                    <a:lnTo>
                      <a:pt x="35" y="421"/>
                    </a:lnTo>
                    <a:lnTo>
                      <a:pt x="35" y="430"/>
                    </a:lnTo>
                    <a:lnTo>
                      <a:pt x="29" y="447"/>
                    </a:lnTo>
                    <a:lnTo>
                      <a:pt x="31" y="451"/>
                    </a:lnTo>
                    <a:lnTo>
                      <a:pt x="35" y="455"/>
                    </a:lnTo>
                    <a:lnTo>
                      <a:pt x="35" y="459"/>
                    </a:lnTo>
                    <a:lnTo>
                      <a:pt x="38" y="461"/>
                    </a:lnTo>
                    <a:lnTo>
                      <a:pt x="46" y="472"/>
                    </a:lnTo>
                    <a:lnTo>
                      <a:pt x="46" y="478"/>
                    </a:lnTo>
                    <a:lnTo>
                      <a:pt x="44" y="486"/>
                    </a:lnTo>
                    <a:lnTo>
                      <a:pt x="42" y="490"/>
                    </a:lnTo>
                    <a:lnTo>
                      <a:pt x="59" y="490"/>
                    </a:lnTo>
                    <a:lnTo>
                      <a:pt x="59" y="484"/>
                    </a:lnTo>
                    <a:lnTo>
                      <a:pt x="48" y="472"/>
                    </a:lnTo>
                    <a:lnTo>
                      <a:pt x="75" y="453"/>
                    </a:lnTo>
                    <a:lnTo>
                      <a:pt x="90" y="446"/>
                    </a:lnTo>
                    <a:lnTo>
                      <a:pt x="100" y="444"/>
                    </a:lnTo>
                    <a:lnTo>
                      <a:pt x="107" y="442"/>
                    </a:lnTo>
                    <a:lnTo>
                      <a:pt x="117" y="438"/>
                    </a:lnTo>
                    <a:lnTo>
                      <a:pt x="123" y="403"/>
                    </a:lnTo>
                    <a:lnTo>
                      <a:pt x="117" y="349"/>
                    </a:lnTo>
                    <a:lnTo>
                      <a:pt x="113" y="311"/>
                    </a:lnTo>
                    <a:lnTo>
                      <a:pt x="106" y="311"/>
                    </a:lnTo>
                    <a:lnTo>
                      <a:pt x="104" y="299"/>
                    </a:lnTo>
                    <a:lnTo>
                      <a:pt x="104" y="292"/>
                    </a:lnTo>
                    <a:lnTo>
                      <a:pt x="106" y="284"/>
                    </a:lnTo>
                    <a:lnTo>
                      <a:pt x="106" y="276"/>
                    </a:lnTo>
                    <a:lnTo>
                      <a:pt x="107" y="275"/>
                    </a:lnTo>
                    <a:lnTo>
                      <a:pt x="113" y="275"/>
                    </a:lnTo>
                    <a:lnTo>
                      <a:pt x="117" y="273"/>
                    </a:lnTo>
                    <a:lnTo>
                      <a:pt x="119" y="267"/>
                    </a:lnTo>
                    <a:lnTo>
                      <a:pt x="121" y="259"/>
                    </a:lnTo>
                    <a:lnTo>
                      <a:pt x="125" y="253"/>
                    </a:lnTo>
                    <a:lnTo>
                      <a:pt x="132" y="253"/>
                    </a:lnTo>
                    <a:lnTo>
                      <a:pt x="140" y="223"/>
                    </a:lnTo>
                    <a:lnTo>
                      <a:pt x="148" y="221"/>
                    </a:lnTo>
                    <a:lnTo>
                      <a:pt x="157" y="219"/>
                    </a:lnTo>
                    <a:lnTo>
                      <a:pt x="167" y="219"/>
                    </a:lnTo>
                    <a:lnTo>
                      <a:pt x="182" y="203"/>
                    </a:lnTo>
                    <a:lnTo>
                      <a:pt x="190" y="201"/>
                    </a:lnTo>
                    <a:lnTo>
                      <a:pt x="198" y="201"/>
                    </a:lnTo>
                    <a:lnTo>
                      <a:pt x="205" y="198"/>
                    </a:lnTo>
                    <a:lnTo>
                      <a:pt x="221" y="180"/>
                    </a:lnTo>
                    <a:lnTo>
                      <a:pt x="240" y="155"/>
                    </a:lnTo>
                    <a:lnTo>
                      <a:pt x="251" y="134"/>
                    </a:lnTo>
                    <a:lnTo>
                      <a:pt x="249" y="127"/>
                    </a:lnTo>
                    <a:lnTo>
                      <a:pt x="248" y="117"/>
                    </a:lnTo>
                    <a:lnTo>
                      <a:pt x="248" y="107"/>
                    </a:lnTo>
                    <a:lnTo>
                      <a:pt x="249" y="90"/>
                    </a:lnTo>
                    <a:lnTo>
                      <a:pt x="253" y="77"/>
                    </a:lnTo>
                    <a:lnTo>
                      <a:pt x="255" y="65"/>
                    </a:lnTo>
                    <a:lnTo>
                      <a:pt x="253" y="50"/>
                    </a:lnTo>
                    <a:lnTo>
                      <a:pt x="249" y="30"/>
                    </a:lnTo>
                    <a:lnTo>
                      <a:pt x="248" y="15"/>
                    </a:lnTo>
                    <a:lnTo>
                      <a:pt x="248" y="4"/>
                    </a:lnTo>
                    <a:lnTo>
                      <a:pt x="249" y="0"/>
                    </a:lnTo>
                    <a:lnTo>
                      <a:pt x="238" y="0"/>
                    </a:lnTo>
                    <a:lnTo>
                      <a:pt x="232" y="4"/>
                    </a:lnTo>
                    <a:lnTo>
                      <a:pt x="221" y="7"/>
                    </a:lnTo>
                    <a:lnTo>
                      <a:pt x="213" y="7"/>
                    </a:lnTo>
                    <a:lnTo>
                      <a:pt x="209" y="9"/>
                    </a:lnTo>
                    <a:lnTo>
                      <a:pt x="205" y="13"/>
                    </a:lnTo>
                    <a:lnTo>
                      <a:pt x="200" y="15"/>
                    </a:lnTo>
                    <a:lnTo>
                      <a:pt x="196" y="17"/>
                    </a:lnTo>
                    <a:lnTo>
                      <a:pt x="194" y="17"/>
                    </a:lnTo>
                    <a:lnTo>
                      <a:pt x="192" y="15"/>
                    </a:lnTo>
                    <a:lnTo>
                      <a:pt x="188" y="15"/>
                    </a:lnTo>
                    <a:lnTo>
                      <a:pt x="184" y="19"/>
                    </a:lnTo>
                    <a:lnTo>
                      <a:pt x="180" y="21"/>
                    </a:lnTo>
                    <a:lnTo>
                      <a:pt x="175" y="25"/>
                    </a:lnTo>
                    <a:lnTo>
                      <a:pt x="169" y="25"/>
                    </a:lnTo>
                    <a:lnTo>
                      <a:pt x="163" y="27"/>
                    </a:lnTo>
                    <a:lnTo>
                      <a:pt x="157" y="27"/>
                    </a:lnTo>
                    <a:lnTo>
                      <a:pt x="152" y="29"/>
                    </a:lnTo>
                    <a:lnTo>
                      <a:pt x="144" y="30"/>
                    </a:lnTo>
                    <a:lnTo>
                      <a:pt x="138" y="29"/>
                    </a:lnTo>
                    <a:lnTo>
                      <a:pt x="136" y="23"/>
                    </a:lnTo>
                    <a:lnTo>
                      <a:pt x="132" y="19"/>
                    </a:lnTo>
                    <a:lnTo>
                      <a:pt x="129" y="17"/>
                    </a:lnTo>
                    <a:lnTo>
                      <a:pt x="127" y="19"/>
                    </a:lnTo>
                    <a:lnTo>
                      <a:pt x="115" y="25"/>
                    </a:lnTo>
                    <a:lnTo>
                      <a:pt x="107" y="27"/>
                    </a:lnTo>
                    <a:lnTo>
                      <a:pt x="102" y="27"/>
                    </a:lnTo>
                    <a:lnTo>
                      <a:pt x="102" y="42"/>
                    </a:lnTo>
                    <a:lnTo>
                      <a:pt x="109" y="50"/>
                    </a:lnTo>
                    <a:lnTo>
                      <a:pt x="109" y="77"/>
                    </a:lnTo>
                    <a:lnTo>
                      <a:pt x="113" y="9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0" name="Freeform 128"/>
              <p:cNvSpPr>
                <a:spLocks/>
              </p:cNvSpPr>
              <p:nvPr/>
            </p:nvSpPr>
            <p:spPr bwMode="gray">
              <a:xfrm>
                <a:off x="2877" y="2210"/>
                <a:ext cx="137" cy="137"/>
              </a:xfrm>
              <a:custGeom>
                <a:avLst/>
                <a:gdLst>
                  <a:gd name="T0" fmla="*/ 106 w 275"/>
                  <a:gd name="T1" fmla="*/ 273 h 275"/>
                  <a:gd name="T2" fmla="*/ 108 w 275"/>
                  <a:gd name="T3" fmla="*/ 241 h 275"/>
                  <a:gd name="T4" fmla="*/ 123 w 275"/>
                  <a:gd name="T5" fmla="*/ 223 h 275"/>
                  <a:gd name="T6" fmla="*/ 135 w 275"/>
                  <a:gd name="T7" fmla="*/ 218 h 275"/>
                  <a:gd name="T8" fmla="*/ 152 w 275"/>
                  <a:gd name="T9" fmla="*/ 214 h 275"/>
                  <a:gd name="T10" fmla="*/ 169 w 275"/>
                  <a:gd name="T11" fmla="*/ 204 h 275"/>
                  <a:gd name="T12" fmla="*/ 185 w 275"/>
                  <a:gd name="T13" fmla="*/ 198 h 275"/>
                  <a:gd name="T14" fmla="*/ 194 w 275"/>
                  <a:gd name="T15" fmla="*/ 193 h 275"/>
                  <a:gd name="T16" fmla="*/ 212 w 275"/>
                  <a:gd name="T17" fmla="*/ 177 h 275"/>
                  <a:gd name="T18" fmla="*/ 221 w 275"/>
                  <a:gd name="T19" fmla="*/ 160 h 275"/>
                  <a:gd name="T20" fmla="*/ 229 w 275"/>
                  <a:gd name="T21" fmla="*/ 158 h 275"/>
                  <a:gd name="T22" fmla="*/ 240 w 275"/>
                  <a:gd name="T23" fmla="*/ 148 h 275"/>
                  <a:gd name="T24" fmla="*/ 240 w 275"/>
                  <a:gd name="T25" fmla="*/ 139 h 275"/>
                  <a:gd name="T26" fmla="*/ 250 w 275"/>
                  <a:gd name="T27" fmla="*/ 127 h 275"/>
                  <a:gd name="T28" fmla="*/ 260 w 275"/>
                  <a:gd name="T29" fmla="*/ 116 h 275"/>
                  <a:gd name="T30" fmla="*/ 273 w 275"/>
                  <a:gd name="T31" fmla="*/ 108 h 275"/>
                  <a:gd name="T32" fmla="*/ 263 w 275"/>
                  <a:gd name="T33" fmla="*/ 87 h 275"/>
                  <a:gd name="T34" fmla="*/ 261 w 275"/>
                  <a:gd name="T35" fmla="*/ 70 h 275"/>
                  <a:gd name="T36" fmla="*/ 256 w 275"/>
                  <a:gd name="T37" fmla="*/ 60 h 275"/>
                  <a:gd name="T38" fmla="*/ 258 w 275"/>
                  <a:gd name="T39" fmla="*/ 45 h 275"/>
                  <a:gd name="T40" fmla="*/ 258 w 275"/>
                  <a:gd name="T41" fmla="*/ 31 h 275"/>
                  <a:gd name="T42" fmla="*/ 246 w 275"/>
                  <a:gd name="T43" fmla="*/ 22 h 275"/>
                  <a:gd name="T44" fmla="*/ 238 w 275"/>
                  <a:gd name="T45" fmla="*/ 12 h 275"/>
                  <a:gd name="T46" fmla="*/ 233 w 275"/>
                  <a:gd name="T47" fmla="*/ 18 h 275"/>
                  <a:gd name="T48" fmla="*/ 215 w 275"/>
                  <a:gd name="T49" fmla="*/ 23 h 275"/>
                  <a:gd name="T50" fmla="*/ 177 w 275"/>
                  <a:gd name="T51" fmla="*/ 8 h 275"/>
                  <a:gd name="T52" fmla="*/ 167 w 275"/>
                  <a:gd name="T53" fmla="*/ 2 h 275"/>
                  <a:gd name="T54" fmla="*/ 158 w 275"/>
                  <a:gd name="T55" fmla="*/ 4 h 275"/>
                  <a:gd name="T56" fmla="*/ 144 w 275"/>
                  <a:gd name="T57" fmla="*/ 46 h 275"/>
                  <a:gd name="T58" fmla="*/ 127 w 275"/>
                  <a:gd name="T59" fmla="*/ 73 h 275"/>
                  <a:gd name="T60" fmla="*/ 108 w 275"/>
                  <a:gd name="T61" fmla="*/ 85 h 275"/>
                  <a:gd name="T62" fmla="*/ 85 w 275"/>
                  <a:gd name="T63" fmla="*/ 95 h 275"/>
                  <a:gd name="T64" fmla="*/ 69 w 275"/>
                  <a:gd name="T65" fmla="*/ 116 h 275"/>
                  <a:gd name="T66" fmla="*/ 71 w 275"/>
                  <a:gd name="T67" fmla="*/ 121 h 275"/>
                  <a:gd name="T68" fmla="*/ 68 w 275"/>
                  <a:gd name="T69" fmla="*/ 135 h 275"/>
                  <a:gd name="T70" fmla="*/ 58 w 275"/>
                  <a:gd name="T71" fmla="*/ 154 h 275"/>
                  <a:gd name="T72" fmla="*/ 62 w 275"/>
                  <a:gd name="T73" fmla="*/ 171 h 275"/>
                  <a:gd name="T74" fmla="*/ 64 w 275"/>
                  <a:gd name="T75" fmla="*/ 202 h 275"/>
                  <a:gd name="T76" fmla="*/ 46 w 275"/>
                  <a:gd name="T77" fmla="*/ 239 h 275"/>
                  <a:gd name="T78" fmla="*/ 18 w 275"/>
                  <a:gd name="T79" fmla="*/ 260 h 275"/>
                  <a:gd name="T80" fmla="*/ 2 w 275"/>
                  <a:gd name="T81" fmla="*/ 271 h 275"/>
                  <a:gd name="T82" fmla="*/ 0 w 275"/>
                  <a:gd name="T83" fmla="*/ 275 h 27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75"/>
                  <a:gd name="T127" fmla="*/ 0 h 275"/>
                  <a:gd name="T128" fmla="*/ 275 w 275"/>
                  <a:gd name="T129" fmla="*/ 275 h 27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75" h="275">
                    <a:moveTo>
                      <a:pt x="0" y="275"/>
                    </a:moveTo>
                    <a:lnTo>
                      <a:pt x="106" y="273"/>
                    </a:lnTo>
                    <a:lnTo>
                      <a:pt x="106" y="244"/>
                    </a:lnTo>
                    <a:lnTo>
                      <a:pt x="108" y="241"/>
                    </a:lnTo>
                    <a:lnTo>
                      <a:pt x="119" y="229"/>
                    </a:lnTo>
                    <a:lnTo>
                      <a:pt x="123" y="223"/>
                    </a:lnTo>
                    <a:lnTo>
                      <a:pt x="129" y="221"/>
                    </a:lnTo>
                    <a:lnTo>
                      <a:pt x="135" y="218"/>
                    </a:lnTo>
                    <a:lnTo>
                      <a:pt x="142" y="216"/>
                    </a:lnTo>
                    <a:lnTo>
                      <a:pt x="152" y="214"/>
                    </a:lnTo>
                    <a:lnTo>
                      <a:pt x="162" y="210"/>
                    </a:lnTo>
                    <a:lnTo>
                      <a:pt x="169" y="204"/>
                    </a:lnTo>
                    <a:lnTo>
                      <a:pt x="175" y="198"/>
                    </a:lnTo>
                    <a:lnTo>
                      <a:pt x="185" y="198"/>
                    </a:lnTo>
                    <a:lnTo>
                      <a:pt x="190" y="196"/>
                    </a:lnTo>
                    <a:lnTo>
                      <a:pt x="194" y="193"/>
                    </a:lnTo>
                    <a:lnTo>
                      <a:pt x="202" y="189"/>
                    </a:lnTo>
                    <a:lnTo>
                      <a:pt x="212" y="177"/>
                    </a:lnTo>
                    <a:lnTo>
                      <a:pt x="219" y="166"/>
                    </a:lnTo>
                    <a:lnTo>
                      <a:pt x="221" y="160"/>
                    </a:lnTo>
                    <a:lnTo>
                      <a:pt x="223" y="160"/>
                    </a:lnTo>
                    <a:lnTo>
                      <a:pt x="229" y="158"/>
                    </a:lnTo>
                    <a:lnTo>
                      <a:pt x="236" y="152"/>
                    </a:lnTo>
                    <a:lnTo>
                      <a:pt x="240" y="148"/>
                    </a:lnTo>
                    <a:lnTo>
                      <a:pt x="242" y="145"/>
                    </a:lnTo>
                    <a:lnTo>
                      <a:pt x="240" y="139"/>
                    </a:lnTo>
                    <a:lnTo>
                      <a:pt x="244" y="131"/>
                    </a:lnTo>
                    <a:lnTo>
                      <a:pt x="250" y="127"/>
                    </a:lnTo>
                    <a:lnTo>
                      <a:pt x="254" y="123"/>
                    </a:lnTo>
                    <a:lnTo>
                      <a:pt x="260" y="116"/>
                    </a:lnTo>
                    <a:lnTo>
                      <a:pt x="267" y="112"/>
                    </a:lnTo>
                    <a:lnTo>
                      <a:pt x="273" y="108"/>
                    </a:lnTo>
                    <a:lnTo>
                      <a:pt x="275" y="104"/>
                    </a:lnTo>
                    <a:lnTo>
                      <a:pt x="263" y="87"/>
                    </a:lnTo>
                    <a:lnTo>
                      <a:pt x="263" y="75"/>
                    </a:lnTo>
                    <a:lnTo>
                      <a:pt x="261" y="70"/>
                    </a:lnTo>
                    <a:lnTo>
                      <a:pt x="258" y="66"/>
                    </a:lnTo>
                    <a:lnTo>
                      <a:pt x="256" y="60"/>
                    </a:lnTo>
                    <a:lnTo>
                      <a:pt x="256" y="52"/>
                    </a:lnTo>
                    <a:lnTo>
                      <a:pt x="258" y="45"/>
                    </a:lnTo>
                    <a:lnTo>
                      <a:pt x="260" y="39"/>
                    </a:lnTo>
                    <a:lnTo>
                      <a:pt x="258" y="31"/>
                    </a:lnTo>
                    <a:lnTo>
                      <a:pt x="254" y="23"/>
                    </a:lnTo>
                    <a:lnTo>
                      <a:pt x="246" y="22"/>
                    </a:lnTo>
                    <a:lnTo>
                      <a:pt x="240" y="16"/>
                    </a:lnTo>
                    <a:lnTo>
                      <a:pt x="238" y="12"/>
                    </a:lnTo>
                    <a:lnTo>
                      <a:pt x="235" y="14"/>
                    </a:lnTo>
                    <a:lnTo>
                      <a:pt x="233" y="18"/>
                    </a:lnTo>
                    <a:lnTo>
                      <a:pt x="231" y="20"/>
                    </a:lnTo>
                    <a:lnTo>
                      <a:pt x="215" y="23"/>
                    </a:lnTo>
                    <a:lnTo>
                      <a:pt x="188" y="23"/>
                    </a:lnTo>
                    <a:lnTo>
                      <a:pt x="177" y="8"/>
                    </a:lnTo>
                    <a:lnTo>
                      <a:pt x="173" y="0"/>
                    </a:lnTo>
                    <a:lnTo>
                      <a:pt x="167" y="2"/>
                    </a:lnTo>
                    <a:lnTo>
                      <a:pt x="160" y="4"/>
                    </a:lnTo>
                    <a:lnTo>
                      <a:pt x="158" y="4"/>
                    </a:lnTo>
                    <a:lnTo>
                      <a:pt x="150" y="27"/>
                    </a:lnTo>
                    <a:lnTo>
                      <a:pt x="144" y="46"/>
                    </a:lnTo>
                    <a:lnTo>
                      <a:pt x="135" y="66"/>
                    </a:lnTo>
                    <a:lnTo>
                      <a:pt x="127" y="73"/>
                    </a:lnTo>
                    <a:lnTo>
                      <a:pt x="116" y="81"/>
                    </a:lnTo>
                    <a:lnTo>
                      <a:pt x="108" y="85"/>
                    </a:lnTo>
                    <a:lnTo>
                      <a:pt x="93" y="85"/>
                    </a:lnTo>
                    <a:lnTo>
                      <a:pt x="85" y="95"/>
                    </a:lnTo>
                    <a:lnTo>
                      <a:pt x="75" y="106"/>
                    </a:lnTo>
                    <a:lnTo>
                      <a:pt x="69" y="116"/>
                    </a:lnTo>
                    <a:lnTo>
                      <a:pt x="69" y="120"/>
                    </a:lnTo>
                    <a:lnTo>
                      <a:pt x="71" y="121"/>
                    </a:lnTo>
                    <a:lnTo>
                      <a:pt x="73" y="127"/>
                    </a:lnTo>
                    <a:lnTo>
                      <a:pt x="68" y="135"/>
                    </a:lnTo>
                    <a:lnTo>
                      <a:pt x="62" y="145"/>
                    </a:lnTo>
                    <a:lnTo>
                      <a:pt x="58" y="154"/>
                    </a:lnTo>
                    <a:lnTo>
                      <a:pt x="58" y="164"/>
                    </a:lnTo>
                    <a:lnTo>
                      <a:pt x="62" y="171"/>
                    </a:lnTo>
                    <a:lnTo>
                      <a:pt x="66" y="177"/>
                    </a:lnTo>
                    <a:lnTo>
                      <a:pt x="64" y="202"/>
                    </a:lnTo>
                    <a:lnTo>
                      <a:pt x="56" y="223"/>
                    </a:lnTo>
                    <a:lnTo>
                      <a:pt x="46" y="239"/>
                    </a:lnTo>
                    <a:lnTo>
                      <a:pt x="33" y="250"/>
                    </a:lnTo>
                    <a:lnTo>
                      <a:pt x="18" y="260"/>
                    </a:lnTo>
                    <a:lnTo>
                      <a:pt x="4" y="269"/>
                    </a:lnTo>
                    <a:lnTo>
                      <a:pt x="2" y="271"/>
                    </a:lnTo>
                    <a:lnTo>
                      <a:pt x="2" y="273"/>
                    </a:lnTo>
                    <a:lnTo>
                      <a:pt x="0" y="27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1" name="Freeform 129"/>
              <p:cNvSpPr>
                <a:spLocks/>
              </p:cNvSpPr>
              <p:nvPr/>
            </p:nvSpPr>
            <p:spPr bwMode="gray">
              <a:xfrm>
                <a:off x="4283" y="1936"/>
                <a:ext cx="4" cy="9"/>
              </a:xfrm>
              <a:custGeom>
                <a:avLst/>
                <a:gdLst>
                  <a:gd name="T0" fmla="*/ 6 w 8"/>
                  <a:gd name="T1" fmla="*/ 0 h 19"/>
                  <a:gd name="T2" fmla="*/ 6 w 8"/>
                  <a:gd name="T3" fmla="*/ 4 h 19"/>
                  <a:gd name="T4" fmla="*/ 8 w 8"/>
                  <a:gd name="T5" fmla="*/ 5 h 19"/>
                  <a:gd name="T6" fmla="*/ 8 w 8"/>
                  <a:gd name="T7" fmla="*/ 7 h 19"/>
                  <a:gd name="T8" fmla="*/ 6 w 8"/>
                  <a:gd name="T9" fmla="*/ 9 h 19"/>
                  <a:gd name="T10" fmla="*/ 2 w 8"/>
                  <a:gd name="T11" fmla="*/ 15 h 19"/>
                  <a:gd name="T12" fmla="*/ 0 w 8"/>
                  <a:gd name="T13" fmla="*/ 19 h 19"/>
                  <a:gd name="T14" fmla="*/ 0 w 8"/>
                  <a:gd name="T15" fmla="*/ 4 h 19"/>
                  <a:gd name="T16" fmla="*/ 6 w 8"/>
                  <a:gd name="T17" fmla="*/ 0 h 1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19"/>
                  <a:gd name="T29" fmla="*/ 8 w 8"/>
                  <a:gd name="T30" fmla="*/ 19 h 1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19">
                    <a:moveTo>
                      <a:pt x="6" y="0"/>
                    </a:moveTo>
                    <a:lnTo>
                      <a:pt x="6" y="4"/>
                    </a:lnTo>
                    <a:lnTo>
                      <a:pt x="8" y="5"/>
                    </a:lnTo>
                    <a:lnTo>
                      <a:pt x="8" y="7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19"/>
                    </a:lnTo>
                    <a:lnTo>
                      <a:pt x="0" y="4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2" name="Freeform 130"/>
              <p:cNvSpPr>
                <a:spLocks/>
              </p:cNvSpPr>
              <p:nvPr/>
            </p:nvSpPr>
            <p:spPr bwMode="gray">
              <a:xfrm>
                <a:off x="4131" y="1920"/>
                <a:ext cx="391" cy="191"/>
              </a:xfrm>
              <a:custGeom>
                <a:avLst/>
                <a:gdLst>
                  <a:gd name="T0" fmla="*/ 121 w 781"/>
                  <a:gd name="T1" fmla="*/ 58 h 382"/>
                  <a:gd name="T2" fmla="*/ 152 w 781"/>
                  <a:gd name="T3" fmla="*/ 63 h 382"/>
                  <a:gd name="T4" fmla="*/ 221 w 781"/>
                  <a:gd name="T5" fmla="*/ 71 h 382"/>
                  <a:gd name="T6" fmla="*/ 244 w 781"/>
                  <a:gd name="T7" fmla="*/ 50 h 382"/>
                  <a:gd name="T8" fmla="*/ 230 w 781"/>
                  <a:gd name="T9" fmla="*/ 19 h 382"/>
                  <a:gd name="T10" fmla="*/ 288 w 781"/>
                  <a:gd name="T11" fmla="*/ 6 h 382"/>
                  <a:gd name="T12" fmla="*/ 338 w 781"/>
                  <a:gd name="T13" fmla="*/ 35 h 382"/>
                  <a:gd name="T14" fmla="*/ 368 w 781"/>
                  <a:gd name="T15" fmla="*/ 69 h 382"/>
                  <a:gd name="T16" fmla="*/ 409 w 781"/>
                  <a:gd name="T17" fmla="*/ 79 h 382"/>
                  <a:gd name="T18" fmla="*/ 447 w 781"/>
                  <a:gd name="T19" fmla="*/ 73 h 382"/>
                  <a:gd name="T20" fmla="*/ 480 w 781"/>
                  <a:gd name="T21" fmla="*/ 90 h 382"/>
                  <a:gd name="T22" fmla="*/ 514 w 781"/>
                  <a:gd name="T23" fmla="*/ 106 h 382"/>
                  <a:gd name="T24" fmla="*/ 549 w 781"/>
                  <a:gd name="T25" fmla="*/ 106 h 382"/>
                  <a:gd name="T26" fmla="*/ 593 w 781"/>
                  <a:gd name="T27" fmla="*/ 98 h 382"/>
                  <a:gd name="T28" fmla="*/ 662 w 781"/>
                  <a:gd name="T29" fmla="*/ 88 h 382"/>
                  <a:gd name="T30" fmla="*/ 683 w 781"/>
                  <a:gd name="T31" fmla="*/ 119 h 382"/>
                  <a:gd name="T32" fmla="*/ 685 w 781"/>
                  <a:gd name="T33" fmla="*/ 140 h 382"/>
                  <a:gd name="T34" fmla="*/ 699 w 781"/>
                  <a:gd name="T35" fmla="*/ 171 h 382"/>
                  <a:gd name="T36" fmla="*/ 737 w 781"/>
                  <a:gd name="T37" fmla="*/ 156 h 382"/>
                  <a:gd name="T38" fmla="*/ 772 w 781"/>
                  <a:gd name="T39" fmla="*/ 181 h 382"/>
                  <a:gd name="T40" fmla="*/ 773 w 781"/>
                  <a:gd name="T41" fmla="*/ 200 h 382"/>
                  <a:gd name="T42" fmla="*/ 747 w 781"/>
                  <a:gd name="T43" fmla="*/ 208 h 382"/>
                  <a:gd name="T44" fmla="*/ 722 w 781"/>
                  <a:gd name="T45" fmla="*/ 213 h 382"/>
                  <a:gd name="T46" fmla="*/ 687 w 781"/>
                  <a:gd name="T47" fmla="*/ 223 h 382"/>
                  <a:gd name="T48" fmla="*/ 641 w 781"/>
                  <a:gd name="T49" fmla="*/ 252 h 382"/>
                  <a:gd name="T50" fmla="*/ 605 w 781"/>
                  <a:gd name="T51" fmla="*/ 275 h 382"/>
                  <a:gd name="T52" fmla="*/ 570 w 781"/>
                  <a:gd name="T53" fmla="*/ 267 h 382"/>
                  <a:gd name="T54" fmla="*/ 566 w 781"/>
                  <a:gd name="T55" fmla="*/ 309 h 382"/>
                  <a:gd name="T56" fmla="*/ 551 w 781"/>
                  <a:gd name="T57" fmla="*/ 340 h 382"/>
                  <a:gd name="T58" fmla="*/ 484 w 781"/>
                  <a:gd name="T59" fmla="*/ 350 h 382"/>
                  <a:gd name="T60" fmla="*/ 447 w 781"/>
                  <a:gd name="T61" fmla="*/ 371 h 382"/>
                  <a:gd name="T62" fmla="*/ 395 w 781"/>
                  <a:gd name="T63" fmla="*/ 382 h 382"/>
                  <a:gd name="T64" fmla="*/ 345 w 781"/>
                  <a:gd name="T65" fmla="*/ 359 h 382"/>
                  <a:gd name="T66" fmla="*/ 278 w 781"/>
                  <a:gd name="T67" fmla="*/ 354 h 382"/>
                  <a:gd name="T68" fmla="*/ 223 w 781"/>
                  <a:gd name="T69" fmla="*/ 350 h 382"/>
                  <a:gd name="T70" fmla="*/ 182 w 781"/>
                  <a:gd name="T71" fmla="*/ 319 h 382"/>
                  <a:gd name="T72" fmla="*/ 157 w 781"/>
                  <a:gd name="T73" fmla="*/ 284 h 382"/>
                  <a:gd name="T74" fmla="*/ 123 w 781"/>
                  <a:gd name="T75" fmla="*/ 265 h 382"/>
                  <a:gd name="T76" fmla="*/ 88 w 781"/>
                  <a:gd name="T77" fmla="*/ 248 h 382"/>
                  <a:gd name="T78" fmla="*/ 86 w 781"/>
                  <a:gd name="T79" fmla="*/ 208 h 382"/>
                  <a:gd name="T80" fmla="*/ 58 w 781"/>
                  <a:gd name="T81" fmla="*/ 177 h 382"/>
                  <a:gd name="T82" fmla="*/ 15 w 781"/>
                  <a:gd name="T83" fmla="*/ 167 h 382"/>
                  <a:gd name="T84" fmla="*/ 2 w 781"/>
                  <a:gd name="T85" fmla="*/ 108 h 382"/>
                  <a:gd name="T86" fmla="*/ 29 w 781"/>
                  <a:gd name="T87" fmla="*/ 90 h 382"/>
                  <a:gd name="T88" fmla="*/ 58 w 781"/>
                  <a:gd name="T89" fmla="*/ 63 h 382"/>
                  <a:gd name="T90" fmla="*/ 100 w 781"/>
                  <a:gd name="T91" fmla="*/ 48 h 38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81"/>
                  <a:gd name="T139" fmla="*/ 0 h 382"/>
                  <a:gd name="T140" fmla="*/ 781 w 781"/>
                  <a:gd name="T141" fmla="*/ 382 h 38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81" h="382">
                    <a:moveTo>
                      <a:pt x="117" y="56"/>
                    </a:moveTo>
                    <a:lnTo>
                      <a:pt x="119" y="56"/>
                    </a:lnTo>
                    <a:lnTo>
                      <a:pt x="121" y="58"/>
                    </a:lnTo>
                    <a:lnTo>
                      <a:pt x="123" y="58"/>
                    </a:lnTo>
                    <a:lnTo>
                      <a:pt x="132" y="54"/>
                    </a:lnTo>
                    <a:lnTo>
                      <a:pt x="152" y="63"/>
                    </a:lnTo>
                    <a:lnTo>
                      <a:pt x="165" y="71"/>
                    </a:lnTo>
                    <a:lnTo>
                      <a:pt x="200" y="75"/>
                    </a:lnTo>
                    <a:lnTo>
                      <a:pt x="221" y="71"/>
                    </a:lnTo>
                    <a:lnTo>
                      <a:pt x="242" y="73"/>
                    </a:lnTo>
                    <a:lnTo>
                      <a:pt x="248" y="65"/>
                    </a:lnTo>
                    <a:lnTo>
                      <a:pt x="244" y="50"/>
                    </a:lnTo>
                    <a:lnTo>
                      <a:pt x="238" y="38"/>
                    </a:lnTo>
                    <a:lnTo>
                      <a:pt x="226" y="31"/>
                    </a:lnTo>
                    <a:lnTo>
                      <a:pt x="230" y="19"/>
                    </a:lnTo>
                    <a:lnTo>
                      <a:pt x="242" y="0"/>
                    </a:lnTo>
                    <a:lnTo>
                      <a:pt x="271" y="6"/>
                    </a:lnTo>
                    <a:lnTo>
                      <a:pt x="288" y="6"/>
                    </a:lnTo>
                    <a:lnTo>
                      <a:pt x="297" y="13"/>
                    </a:lnTo>
                    <a:lnTo>
                      <a:pt x="315" y="15"/>
                    </a:lnTo>
                    <a:lnTo>
                      <a:pt x="338" y="35"/>
                    </a:lnTo>
                    <a:lnTo>
                      <a:pt x="353" y="48"/>
                    </a:lnTo>
                    <a:lnTo>
                      <a:pt x="361" y="63"/>
                    </a:lnTo>
                    <a:lnTo>
                      <a:pt x="368" y="69"/>
                    </a:lnTo>
                    <a:lnTo>
                      <a:pt x="386" y="81"/>
                    </a:lnTo>
                    <a:lnTo>
                      <a:pt x="399" y="79"/>
                    </a:lnTo>
                    <a:lnTo>
                      <a:pt x="409" y="79"/>
                    </a:lnTo>
                    <a:lnTo>
                      <a:pt x="422" y="75"/>
                    </a:lnTo>
                    <a:lnTo>
                      <a:pt x="432" y="67"/>
                    </a:lnTo>
                    <a:lnTo>
                      <a:pt x="447" y="73"/>
                    </a:lnTo>
                    <a:lnTo>
                      <a:pt x="470" y="79"/>
                    </a:lnTo>
                    <a:lnTo>
                      <a:pt x="480" y="81"/>
                    </a:lnTo>
                    <a:lnTo>
                      <a:pt x="480" y="90"/>
                    </a:lnTo>
                    <a:lnTo>
                      <a:pt x="489" y="98"/>
                    </a:lnTo>
                    <a:lnTo>
                      <a:pt x="501" y="98"/>
                    </a:lnTo>
                    <a:lnTo>
                      <a:pt x="514" y="106"/>
                    </a:lnTo>
                    <a:lnTo>
                      <a:pt x="524" y="106"/>
                    </a:lnTo>
                    <a:lnTo>
                      <a:pt x="535" y="102"/>
                    </a:lnTo>
                    <a:lnTo>
                      <a:pt x="549" y="106"/>
                    </a:lnTo>
                    <a:lnTo>
                      <a:pt x="564" y="110"/>
                    </a:lnTo>
                    <a:lnTo>
                      <a:pt x="585" y="106"/>
                    </a:lnTo>
                    <a:lnTo>
                      <a:pt x="593" y="98"/>
                    </a:lnTo>
                    <a:lnTo>
                      <a:pt x="616" y="94"/>
                    </a:lnTo>
                    <a:lnTo>
                      <a:pt x="645" y="75"/>
                    </a:lnTo>
                    <a:lnTo>
                      <a:pt x="662" y="88"/>
                    </a:lnTo>
                    <a:lnTo>
                      <a:pt x="676" y="86"/>
                    </a:lnTo>
                    <a:lnTo>
                      <a:pt x="693" y="90"/>
                    </a:lnTo>
                    <a:lnTo>
                      <a:pt x="683" y="119"/>
                    </a:lnTo>
                    <a:lnTo>
                      <a:pt x="683" y="123"/>
                    </a:lnTo>
                    <a:lnTo>
                      <a:pt x="687" y="131"/>
                    </a:lnTo>
                    <a:lnTo>
                      <a:pt x="685" y="140"/>
                    </a:lnTo>
                    <a:lnTo>
                      <a:pt x="679" y="152"/>
                    </a:lnTo>
                    <a:lnTo>
                      <a:pt x="677" y="163"/>
                    </a:lnTo>
                    <a:lnTo>
                      <a:pt x="699" y="171"/>
                    </a:lnTo>
                    <a:lnTo>
                      <a:pt x="714" y="167"/>
                    </a:lnTo>
                    <a:lnTo>
                      <a:pt x="729" y="154"/>
                    </a:lnTo>
                    <a:lnTo>
                      <a:pt x="737" y="156"/>
                    </a:lnTo>
                    <a:lnTo>
                      <a:pt x="743" y="163"/>
                    </a:lnTo>
                    <a:lnTo>
                      <a:pt x="754" y="175"/>
                    </a:lnTo>
                    <a:lnTo>
                      <a:pt x="772" y="181"/>
                    </a:lnTo>
                    <a:lnTo>
                      <a:pt x="781" y="190"/>
                    </a:lnTo>
                    <a:lnTo>
                      <a:pt x="777" y="202"/>
                    </a:lnTo>
                    <a:lnTo>
                      <a:pt x="773" y="200"/>
                    </a:lnTo>
                    <a:lnTo>
                      <a:pt x="764" y="200"/>
                    </a:lnTo>
                    <a:lnTo>
                      <a:pt x="756" y="204"/>
                    </a:lnTo>
                    <a:lnTo>
                      <a:pt x="747" y="208"/>
                    </a:lnTo>
                    <a:lnTo>
                      <a:pt x="741" y="213"/>
                    </a:lnTo>
                    <a:lnTo>
                      <a:pt x="739" y="217"/>
                    </a:lnTo>
                    <a:lnTo>
                      <a:pt x="722" y="213"/>
                    </a:lnTo>
                    <a:lnTo>
                      <a:pt x="704" y="227"/>
                    </a:lnTo>
                    <a:lnTo>
                      <a:pt x="695" y="221"/>
                    </a:lnTo>
                    <a:lnTo>
                      <a:pt x="687" y="223"/>
                    </a:lnTo>
                    <a:lnTo>
                      <a:pt x="683" y="234"/>
                    </a:lnTo>
                    <a:lnTo>
                      <a:pt x="674" y="242"/>
                    </a:lnTo>
                    <a:lnTo>
                      <a:pt x="641" y="252"/>
                    </a:lnTo>
                    <a:lnTo>
                      <a:pt x="637" y="269"/>
                    </a:lnTo>
                    <a:lnTo>
                      <a:pt x="616" y="281"/>
                    </a:lnTo>
                    <a:lnTo>
                      <a:pt x="605" y="275"/>
                    </a:lnTo>
                    <a:lnTo>
                      <a:pt x="591" y="261"/>
                    </a:lnTo>
                    <a:lnTo>
                      <a:pt x="580" y="259"/>
                    </a:lnTo>
                    <a:lnTo>
                      <a:pt x="570" y="267"/>
                    </a:lnTo>
                    <a:lnTo>
                      <a:pt x="564" y="281"/>
                    </a:lnTo>
                    <a:lnTo>
                      <a:pt x="562" y="294"/>
                    </a:lnTo>
                    <a:lnTo>
                      <a:pt x="566" y="309"/>
                    </a:lnTo>
                    <a:lnTo>
                      <a:pt x="570" y="321"/>
                    </a:lnTo>
                    <a:lnTo>
                      <a:pt x="562" y="334"/>
                    </a:lnTo>
                    <a:lnTo>
                      <a:pt x="551" y="340"/>
                    </a:lnTo>
                    <a:lnTo>
                      <a:pt x="530" y="344"/>
                    </a:lnTo>
                    <a:lnTo>
                      <a:pt x="507" y="352"/>
                    </a:lnTo>
                    <a:lnTo>
                      <a:pt x="484" y="350"/>
                    </a:lnTo>
                    <a:lnTo>
                      <a:pt x="470" y="354"/>
                    </a:lnTo>
                    <a:lnTo>
                      <a:pt x="461" y="356"/>
                    </a:lnTo>
                    <a:lnTo>
                      <a:pt x="447" y="371"/>
                    </a:lnTo>
                    <a:lnTo>
                      <a:pt x="430" y="377"/>
                    </a:lnTo>
                    <a:lnTo>
                      <a:pt x="413" y="377"/>
                    </a:lnTo>
                    <a:lnTo>
                      <a:pt x="395" y="382"/>
                    </a:lnTo>
                    <a:lnTo>
                      <a:pt x="370" y="382"/>
                    </a:lnTo>
                    <a:lnTo>
                      <a:pt x="357" y="373"/>
                    </a:lnTo>
                    <a:lnTo>
                      <a:pt x="345" y="359"/>
                    </a:lnTo>
                    <a:lnTo>
                      <a:pt x="338" y="357"/>
                    </a:lnTo>
                    <a:lnTo>
                      <a:pt x="299" y="356"/>
                    </a:lnTo>
                    <a:lnTo>
                      <a:pt x="278" y="354"/>
                    </a:lnTo>
                    <a:lnTo>
                      <a:pt x="257" y="350"/>
                    </a:lnTo>
                    <a:lnTo>
                      <a:pt x="238" y="354"/>
                    </a:lnTo>
                    <a:lnTo>
                      <a:pt x="223" y="350"/>
                    </a:lnTo>
                    <a:lnTo>
                      <a:pt x="209" y="342"/>
                    </a:lnTo>
                    <a:lnTo>
                      <a:pt x="198" y="329"/>
                    </a:lnTo>
                    <a:lnTo>
                      <a:pt x="182" y="319"/>
                    </a:lnTo>
                    <a:lnTo>
                      <a:pt x="175" y="309"/>
                    </a:lnTo>
                    <a:lnTo>
                      <a:pt x="169" y="296"/>
                    </a:lnTo>
                    <a:lnTo>
                      <a:pt x="157" y="284"/>
                    </a:lnTo>
                    <a:lnTo>
                      <a:pt x="144" y="281"/>
                    </a:lnTo>
                    <a:lnTo>
                      <a:pt x="136" y="275"/>
                    </a:lnTo>
                    <a:lnTo>
                      <a:pt x="123" y="265"/>
                    </a:lnTo>
                    <a:lnTo>
                      <a:pt x="106" y="263"/>
                    </a:lnTo>
                    <a:lnTo>
                      <a:pt x="92" y="259"/>
                    </a:lnTo>
                    <a:lnTo>
                      <a:pt x="88" y="248"/>
                    </a:lnTo>
                    <a:lnTo>
                      <a:pt x="92" y="233"/>
                    </a:lnTo>
                    <a:lnTo>
                      <a:pt x="96" y="221"/>
                    </a:lnTo>
                    <a:lnTo>
                      <a:pt x="86" y="208"/>
                    </a:lnTo>
                    <a:lnTo>
                      <a:pt x="73" y="202"/>
                    </a:lnTo>
                    <a:lnTo>
                      <a:pt x="73" y="194"/>
                    </a:lnTo>
                    <a:lnTo>
                      <a:pt x="58" y="177"/>
                    </a:lnTo>
                    <a:lnTo>
                      <a:pt x="42" y="167"/>
                    </a:lnTo>
                    <a:lnTo>
                      <a:pt x="27" y="171"/>
                    </a:lnTo>
                    <a:lnTo>
                      <a:pt x="15" y="167"/>
                    </a:lnTo>
                    <a:lnTo>
                      <a:pt x="6" y="160"/>
                    </a:lnTo>
                    <a:lnTo>
                      <a:pt x="0" y="131"/>
                    </a:lnTo>
                    <a:lnTo>
                      <a:pt x="2" y="108"/>
                    </a:lnTo>
                    <a:lnTo>
                      <a:pt x="15" y="104"/>
                    </a:lnTo>
                    <a:lnTo>
                      <a:pt x="23" y="98"/>
                    </a:lnTo>
                    <a:lnTo>
                      <a:pt x="29" y="90"/>
                    </a:lnTo>
                    <a:lnTo>
                      <a:pt x="29" y="83"/>
                    </a:lnTo>
                    <a:lnTo>
                      <a:pt x="35" y="75"/>
                    </a:lnTo>
                    <a:lnTo>
                      <a:pt x="58" y="63"/>
                    </a:lnTo>
                    <a:lnTo>
                      <a:pt x="75" y="56"/>
                    </a:lnTo>
                    <a:lnTo>
                      <a:pt x="82" y="50"/>
                    </a:lnTo>
                    <a:lnTo>
                      <a:pt x="100" y="48"/>
                    </a:lnTo>
                    <a:lnTo>
                      <a:pt x="113" y="52"/>
                    </a:lnTo>
                    <a:lnTo>
                      <a:pt x="117" y="5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3" name="Freeform 131"/>
              <p:cNvSpPr>
                <a:spLocks/>
              </p:cNvSpPr>
              <p:nvPr/>
            </p:nvSpPr>
            <p:spPr bwMode="gray">
              <a:xfrm>
                <a:off x="3111" y="2073"/>
                <a:ext cx="9" cy="9"/>
              </a:xfrm>
              <a:custGeom>
                <a:avLst/>
                <a:gdLst>
                  <a:gd name="T0" fmla="*/ 17 w 17"/>
                  <a:gd name="T1" fmla="*/ 4 h 18"/>
                  <a:gd name="T2" fmla="*/ 4 w 17"/>
                  <a:gd name="T3" fmla="*/ 0 h 18"/>
                  <a:gd name="T4" fmla="*/ 0 w 17"/>
                  <a:gd name="T5" fmla="*/ 4 h 18"/>
                  <a:gd name="T6" fmla="*/ 7 w 17"/>
                  <a:gd name="T7" fmla="*/ 18 h 18"/>
                  <a:gd name="T8" fmla="*/ 11 w 17"/>
                  <a:gd name="T9" fmla="*/ 10 h 18"/>
                  <a:gd name="T10" fmla="*/ 17 w 17"/>
                  <a:gd name="T11" fmla="*/ 4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7"/>
                  <a:gd name="T19" fmla="*/ 0 h 18"/>
                  <a:gd name="T20" fmla="*/ 17 w 17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7" h="18">
                    <a:moveTo>
                      <a:pt x="17" y="4"/>
                    </a:moveTo>
                    <a:lnTo>
                      <a:pt x="4" y="0"/>
                    </a:lnTo>
                    <a:lnTo>
                      <a:pt x="0" y="4"/>
                    </a:lnTo>
                    <a:lnTo>
                      <a:pt x="7" y="18"/>
                    </a:lnTo>
                    <a:lnTo>
                      <a:pt x="11" y="10"/>
                    </a:lnTo>
                    <a:lnTo>
                      <a:pt x="17" y="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4" name="Freeform 132"/>
              <p:cNvSpPr>
                <a:spLocks/>
              </p:cNvSpPr>
              <p:nvPr/>
            </p:nvSpPr>
            <p:spPr bwMode="gray">
              <a:xfrm>
                <a:off x="3365" y="1982"/>
                <a:ext cx="48" cy="60"/>
              </a:xfrm>
              <a:custGeom>
                <a:avLst/>
                <a:gdLst>
                  <a:gd name="T0" fmla="*/ 48 w 96"/>
                  <a:gd name="T1" fmla="*/ 119 h 119"/>
                  <a:gd name="T2" fmla="*/ 50 w 96"/>
                  <a:gd name="T3" fmla="*/ 115 h 119"/>
                  <a:gd name="T4" fmla="*/ 54 w 96"/>
                  <a:gd name="T5" fmla="*/ 109 h 119"/>
                  <a:gd name="T6" fmla="*/ 56 w 96"/>
                  <a:gd name="T7" fmla="*/ 104 h 119"/>
                  <a:gd name="T8" fmla="*/ 66 w 96"/>
                  <a:gd name="T9" fmla="*/ 94 h 119"/>
                  <a:gd name="T10" fmla="*/ 68 w 96"/>
                  <a:gd name="T11" fmla="*/ 88 h 119"/>
                  <a:gd name="T12" fmla="*/ 70 w 96"/>
                  <a:gd name="T13" fmla="*/ 86 h 119"/>
                  <a:gd name="T14" fmla="*/ 75 w 96"/>
                  <a:gd name="T15" fmla="*/ 90 h 119"/>
                  <a:gd name="T16" fmla="*/ 79 w 96"/>
                  <a:gd name="T17" fmla="*/ 92 h 119"/>
                  <a:gd name="T18" fmla="*/ 85 w 96"/>
                  <a:gd name="T19" fmla="*/ 94 h 119"/>
                  <a:gd name="T20" fmla="*/ 93 w 96"/>
                  <a:gd name="T21" fmla="*/ 96 h 119"/>
                  <a:gd name="T22" fmla="*/ 96 w 96"/>
                  <a:gd name="T23" fmla="*/ 98 h 119"/>
                  <a:gd name="T24" fmla="*/ 81 w 96"/>
                  <a:gd name="T25" fmla="*/ 79 h 119"/>
                  <a:gd name="T26" fmla="*/ 73 w 96"/>
                  <a:gd name="T27" fmla="*/ 71 h 119"/>
                  <a:gd name="T28" fmla="*/ 71 w 96"/>
                  <a:gd name="T29" fmla="*/ 63 h 119"/>
                  <a:gd name="T30" fmla="*/ 73 w 96"/>
                  <a:gd name="T31" fmla="*/ 58 h 119"/>
                  <a:gd name="T32" fmla="*/ 70 w 96"/>
                  <a:gd name="T33" fmla="*/ 50 h 119"/>
                  <a:gd name="T34" fmla="*/ 66 w 96"/>
                  <a:gd name="T35" fmla="*/ 46 h 119"/>
                  <a:gd name="T36" fmla="*/ 64 w 96"/>
                  <a:gd name="T37" fmla="*/ 42 h 119"/>
                  <a:gd name="T38" fmla="*/ 64 w 96"/>
                  <a:gd name="T39" fmla="*/ 29 h 119"/>
                  <a:gd name="T40" fmla="*/ 60 w 96"/>
                  <a:gd name="T41" fmla="*/ 23 h 119"/>
                  <a:gd name="T42" fmla="*/ 54 w 96"/>
                  <a:gd name="T43" fmla="*/ 19 h 119"/>
                  <a:gd name="T44" fmla="*/ 50 w 96"/>
                  <a:gd name="T45" fmla="*/ 15 h 119"/>
                  <a:gd name="T46" fmla="*/ 46 w 96"/>
                  <a:gd name="T47" fmla="*/ 13 h 119"/>
                  <a:gd name="T48" fmla="*/ 39 w 96"/>
                  <a:gd name="T49" fmla="*/ 8 h 119"/>
                  <a:gd name="T50" fmla="*/ 35 w 96"/>
                  <a:gd name="T51" fmla="*/ 4 h 119"/>
                  <a:gd name="T52" fmla="*/ 31 w 96"/>
                  <a:gd name="T53" fmla="*/ 2 h 119"/>
                  <a:gd name="T54" fmla="*/ 25 w 96"/>
                  <a:gd name="T55" fmla="*/ 0 h 119"/>
                  <a:gd name="T56" fmla="*/ 20 w 96"/>
                  <a:gd name="T57" fmla="*/ 0 h 119"/>
                  <a:gd name="T58" fmla="*/ 16 w 96"/>
                  <a:gd name="T59" fmla="*/ 2 h 119"/>
                  <a:gd name="T60" fmla="*/ 4 w 96"/>
                  <a:gd name="T61" fmla="*/ 6 h 119"/>
                  <a:gd name="T62" fmla="*/ 0 w 96"/>
                  <a:gd name="T63" fmla="*/ 10 h 119"/>
                  <a:gd name="T64" fmla="*/ 4 w 96"/>
                  <a:gd name="T65" fmla="*/ 13 h 119"/>
                  <a:gd name="T66" fmla="*/ 12 w 96"/>
                  <a:gd name="T67" fmla="*/ 19 h 119"/>
                  <a:gd name="T68" fmla="*/ 20 w 96"/>
                  <a:gd name="T69" fmla="*/ 29 h 119"/>
                  <a:gd name="T70" fmla="*/ 23 w 96"/>
                  <a:gd name="T71" fmla="*/ 40 h 119"/>
                  <a:gd name="T72" fmla="*/ 35 w 96"/>
                  <a:gd name="T73" fmla="*/ 52 h 119"/>
                  <a:gd name="T74" fmla="*/ 39 w 96"/>
                  <a:gd name="T75" fmla="*/ 63 h 119"/>
                  <a:gd name="T76" fmla="*/ 39 w 96"/>
                  <a:gd name="T77" fmla="*/ 73 h 119"/>
                  <a:gd name="T78" fmla="*/ 41 w 96"/>
                  <a:gd name="T79" fmla="*/ 79 h 119"/>
                  <a:gd name="T80" fmla="*/ 43 w 96"/>
                  <a:gd name="T81" fmla="*/ 83 h 119"/>
                  <a:gd name="T82" fmla="*/ 41 w 96"/>
                  <a:gd name="T83" fmla="*/ 84 h 119"/>
                  <a:gd name="T84" fmla="*/ 41 w 96"/>
                  <a:gd name="T85" fmla="*/ 96 h 119"/>
                  <a:gd name="T86" fmla="*/ 39 w 96"/>
                  <a:gd name="T87" fmla="*/ 102 h 119"/>
                  <a:gd name="T88" fmla="*/ 41 w 96"/>
                  <a:gd name="T89" fmla="*/ 104 h 119"/>
                  <a:gd name="T90" fmla="*/ 41 w 96"/>
                  <a:gd name="T91" fmla="*/ 108 h 119"/>
                  <a:gd name="T92" fmla="*/ 39 w 96"/>
                  <a:gd name="T93" fmla="*/ 111 h 119"/>
                  <a:gd name="T94" fmla="*/ 43 w 96"/>
                  <a:gd name="T95" fmla="*/ 117 h 119"/>
                  <a:gd name="T96" fmla="*/ 45 w 96"/>
                  <a:gd name="T97" fmla="*/ 117 h 119"/>
                  <a:gd name="T98" fmla="*/ 46 w 96"/>
                  <a:gd name="T99" fmla="*/ 119 h 119"/>
                  <a:gd name="T100" fmla="*/ 48 w 96"/>
                  <a:gd name="T101" fmla="*/ 119 h 11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96"/>
                  <a:gd name="T154" fmla="*/ 0 h 119"/>
                  <a:gd name="T155" fmla="*/ 96 w 96"/>
                  <a:gd name="T156" fmla="*/ 119 h 11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96" h="119">
                    <a:moveTo>
                      <a:pt x="48" y="119"/>
                    </a:moveTo>
                    <a:lnTo>
                      <a:pt x="50" y="115"/>
                    </a:lnTo>
                    <a:lnTo>
                      <a:pt x="54" y="109"/>
                    </a:lnTo>
                    <a:lnTo>
                      <a:pt x="56" y="104"/>
                    </a:lnTo>
                    <a:lnTo>
                      <a:pt x="66" y="94"/>
                    </a:lnTo>
                    <a:lnTo>
                      <a:pt x="68" y="88"/>
                    </a:lnTo>
                    <a:lnTo>
                      <a:pt x="70" y="86"/>
                    </a:lnTo>
                    <a:lnTo>
                      <a:pt x="75" y="90"/>
                    </a:lnTo>
                    <a:lnTo>
                      <a:pt x="79" y="92"/>
                    </a:lnTo>
                    <a:lnTo>
                      <a:pt x="85" y="94"/>
                    </a:lnTo>
                    <a:lnTo>
                      <a:pt x="93" y="96"/>
                    </a:lnTo>
                    <a:lnTo>
                      <a:pt x="96" y="98"/>
                    </a:lnTo>
                    <a:lnTo>
                      <a:pt x="81" y="79"/>
                    </a:lnTo>
                    <a:lnTo>
                      <a:pt x="73" y="71"/>
                    </a:lnTo>
                    <a:lnTo>
                      <a:pt x="71" y="63"/>
                    </a:lnTo>
                    <a:lnTo>
                      <a:pt x="73" y="58"/>
                    </a:lnTo>
                    <a:lnTo>
                      <a:pt x="70" y="50"/>
                    </a:lnTo>
                    <a:lnTo>
                      <a:pt x="66" y="46"/>
                    </a:lnTo>
                    <a:lnTo>
                      <a:pt x="64" y="42"/>
                    </a:lnTo>
                    <a:lnTo>
                      <a:pt x="64" y="29"/>
                    </a:lnTo>
                    <a:lnTo>
                      <a:pt x="60" y="23"/>
                    </a:lnTo>
                    <a:lnTo>
                      <a:pt x="54" y="19"/>
                    </a:lnTo>
                    <a:lnTo>
                      <a:pt x="50" y="15"/>
                    </a:lnTo>
                    <a:lnTo>
                      <a:pt x="46" y="13"/>
                    </a:lnTo>
                    <a:lnTo>
                      <a:pt x="39" y="8"/>
                    </a:lnTo>
                    <a:lnTo>
                      <a:pt x="35" y="4"/>
                    </a:lnTo>
                    <a:lnTo>
                      <a:pt x="31" y="2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4" y="13"/>
                    </a:lnTo>
                    <a:lnTo>
                      <a:pt x="12" y="19"/>
                    </a:lnTo>
                    <a:lnTo>
                      <a:pt x="20" y="29"/>
                    </a:lnTo>
                    <a:lnTo>
                      <a:pt x="23" y="40"/>
                    </a:lnTo>
                    <a:lnTo>
                      <a:pt x="35" y="52"/>
                    </a:lnTo>
                    <a:lnTo>
                      <a:pt x="39" y="63"/>
                    </a:lnTo>
                    <a:lnTo>
                      <a:pt x="39" y="73"/>
                    </a:lnTo>
                    <a:lnTo>
                      <a:pt x="41" y="79"/>
                    </a:lnTo>
                    <a:lnTo>
                      <a:pt x="43" y="83"/>
                    </a:lnTo>
                    <a:lnTo>
                      <a:pt x="41" y="84"/>
                    </a:lnTo>
                    <a:lnTo>
                      <a:pt x="41" y="96"/>
                    </a:lnTo>
                    <a:lnTo>
                      <a:pt x="39" y="102"/>
                    </a:lnTo>
                    <a:lnTo>
                      <a:pt x="41" y="104"/>
                    </a:lnTo>
                    <a:lnTo>
                      <a:pt x="41" y="108"/>
                    </a:lnTo>
                    <a:lnTo>
                      <a:pt x="39" y="111"/>
                    </a:lnTo>
                    <a:lnTo>
                      <a:pt x="43" y="117"/>
                    </a:lnTo>
                    <a:lnTo>
                      <a:pt x="45" y="117"/>
                    </a:lnTo>
                    <a:lnTo>
                      <a:pt x="46" y="119"/>
                    </a:lnTo>
                    <a:lnTo>
                      <a:pt x="48" y="119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5" name="Freeform 133"/>
              <p:cNvSpPr>
                <a:spLocks/>
              </p:cNvSpPr>
              <p:nvPr/>
            </p:nvSpPr>
            <p:spPr bwMode="gray">
              <a:xfrm>
                <a:off x="1575" y="2258"/>
                <a:ext cx="370" cy="284"/>
              </a:xfrm>
              <a:custGeom>
                <a:avLst/>
                <a:gdLst>
                  <a:gd name="T0" fmla="*/ 4 w 741"/>
                  <a:gd name="T1" fmla="*/ 29 h 569"/>
                  <a:gd name="T2" fmla="*/ 21 w 741"/>
                  <a:gd name="T3" fmla="*/ 70 h 569"/>
                  <a:gd name="T4" fmla="*/ 63 w 741"/>
                  <a:gd name="T5" fmla="*/ 104 h 569"/>
                  <a:gd name="T6" fmla="*/ 59 w 741"/>
                  <a:gd name="T7" fmla="*/ 171 h 569"/>
                  <a:gd name="T8" fmla="*/ 82 w 741"/>
                  <a:gd name="T9" fmla="*/ 200 h 569"/>
                  <a:gd name="T10" fmla="*/ 113 w 741"/>
                  <a:gd name="T11" fmla="*/ 223 h 569"/>
                  <a:gd name="T12" fmla="*/ 140 w 741"/>
                  <a:gd name="T13" fmla="*/ 277 h 569"/>
                  <a:gd name="T14" fmla="*/ 180 w 741"/>
                  <a:gd name="T15" fmla="*/ 325 h 569"/>
                  <a:gd name="T16" fmla="*/ 171 w 741"/>
                  <a:gd name="T17" fmla="*/ 296 h 569"/>
                  <a:gd name="T18" fmla="*/ 159 w 741"/>
                  <a:gd name="T19" fmla="*/ 283 h 569"/>
                  <a:gd name="T20" fmla="*/ 151 w 741"/>
                  <a:gd name="T21" fmla="*/ 266 h 569"/>
                  <a:gd name="T22" fmla="*/ 128 w 741"/>
                  <a:gd name="T23" fmla="*/ 202 h 569"/>
                  <a:gd name="T24" fmla="*/ 105 w 741"/>
                  <a:gd name="T25" fmla="*/ 152 h 569"/>
                  <a:gd name="T26" fmla="*/ 86 w 741"/>
                  <a:gd name="T27" fmla="*/ 104 h 569"/>
                  <a:gd name="T28" fmla="*/ 59 w 741"/>
                  <a:gd name="T29" fmla="*/ 68 h 569"/>
                  <a:gd name="T30" fmla="*/ 56 w 741"/>
                  <a:gd name="T31" fmla="*/ 39 h 569"/>
                  <a:gd name="T32" fmla="*/ 82 w 741"/>
                  <a:gd name="T33" fmla="*/ 47 h 569"/>
                  <a:gd name="T34" fmla="*/ 102 w 741"/>
                  <a:gd name="T35" fmla="*/ 64 h 569"/>
                  <a:gd name="T36" fmla="*/ 113 w 741"/>
                  <a:gd name="T37" fmla="*/ 89 h 569"/>
                  <a:gd name="T38" fmla="*/ 130 w 741"/>
                  <a:gd name="T39" fmla="*/ 123 h 569"/>
                  <a:gd name="T40" fmla="*/ 159 w 741"/>
                  <a:gd name="T41" fmla="*/ 170 h 569"/>
                  <a:gd name="T42" fmla="*/ 182 w 741"/>
                  <a:gd name="T43" fmla="*/ 189 h 569"/>
                  <a:gd name="T44" fmla="*/ 199 w 741"/>
                  <a:gd name="T45" fmla="*/ 210 h 569"/>
                  <a:gd name="T46" fmla="*/ 194 w 741"/>
                  <a:gd name="T47" fmla="*/ 235 h 569"/>
                  <a:gd name="T48" fmla="*/ 240 w 741"/>
                  <a:gd name="T49" fmla="*/ 285 h 569"/>
                  <a:gd name="T50" fmla="*/ 259 w 741"/>
                  <a:gd name="T51" fmla="*/ 300 h 569"/>
                  <a:gd name="T52" fmla="*/ 294 w 741"/>
                  <a:gd name="T53" fmla="*/ 362 h 569"/>
                  <a:gd name="T54" fmla="*/ 311 w 741"/>
                  <a:gd name="T55" fmla="*/ 454 h 569"/>
                  <a:gd name="T56" fmla="*/ 355 w 741"/>
                  <a:gd name="T57" fmla="*/ 496 h 569"/>
                  <a:gd name="T58" fmla="*/ 420 w 741"/>
                  <a:gd name="T59" fmla="*/ 531 h 569"/>
                  <a:gd name="T60" fmla="*/ 462 w 741"/>
                  <a:gd name="T61" fmla="*/ 550 h 569"/>
                  <a:gd name="T62" fmla="*/ 518 w 741"/>
                  <a:gd name="T63" fmla="*/ 552 h 569"/>
                  <a:gd name="T64" fmla="*/ 581 w 741"/>
                  <a:gd name="T65" fmla="*/ 546 h 569"/>
                  <a:gd name="T66" fmla="*/ 608 w 741"/>
                  <a:gd name="T67" fmla="*/ 567 h 569"/>
                  <a:gd name="T68" fmla="*/ 626 w 741"/>
                  <a:gd name="T69" fmla="*/ 535 h 569"/>
                  <a:gd name="T70" fmla="*/ 635 w 741"/>
                  <a:gd name="T71" fmla="*/ 504 h 569"/>
                  <a:gd name="T72" fmla="*/ 697 w 741"/>
                  <a:gd name="T73" fmla="*/ 473 h 569"/>
                  <a:gd name="T74" fmla="*/ 716 w 741"/>
                  <a:gd name="T75" fmla="*/ 473 h 569"/>
                  <a:gd name="T76" fmla="*/ 727 w 741"/>
                  <a:gd name="T77" fmla="*/ 450 h 569"/>
                  <a:gd name="T78" fmla="*/ 687 w 741"/>
                  <a:gd name="T79" fmla="*/ 379 h 569"/>
                  <a:gd name="T80" fmla="*/ 652 w 741"/>
                  <a:gd name="T81" fmla="*/ 431 h 569"/>
                  <a:gd name="T82" fmla="*/ 639 w 741"/>
                  <a:gd name="T83" fmla="*/ 462 h 569"/>
                  <a:gd name="T84" fmla="*/ 627 w 741"/>
                  <a:gd name="T85" fmla="*/ 462 h 569"/>
                  <a:gd name="T86" fmla="*/ 593 w 741"/>
                  <a:gd name="T87" fmla="*/ 475 h 569"/>
                  <a:gd name="T88" fmla="*/ 578 w 741"/>
                  <a:gd name="T89" fmla="*/ 489 h 569"/>
                  <a:gd name="T90" fmla="*/ 555 w 741"/>
                  <a:gd name="T91" fmla="*/ 489 h 569"/>
                  <a:gd name="T92" fmla="*/ 532 w 741"/>
                  <a:gd name="T93" fmla="*/ 471 h 569"/>
                  <a:gd name="T94" fmla="*/ 503 w 741"/>
                  <a:gd name="T95" fmla="*/ 429 h 569"/>
                  <a:gd name="T96" fmla="*/ 474 w 741"/>
                  <a:gd name="T97" fmla="*/ 389 h 569"/>
                  <a:gd name="T98" fmla="*/ 482 w 741"/>
                  <a:gd name="T99" fmla="*/ 341 h 569"/>
                  <a:gd name="T100" fmla="*/ 478 w 741"/>
                  <a:gd name="T101" fmla="*/ 300 h 569"/>
                  <a:gd name="T102" fmla="*/ 487 w 741"/>
                  <a:gd name="T103" fmla="*/ 258 h 569"/>
                  <a:gd name="T104" fmla="*/ 484 w 741"/>
                  <a:gd name="T105" fmla="*/ 231 h 569"/>
                  <a:gd name="T106" fmla="*/ 443 w 741"/>
                  <a:gd name="T107" fmla="*/ 208 h 569"/>
                  <a:gd name="T108" fmla="*/ 430 w 741"/>
                  <a:gd name="T109" fmla="*/ 175 h 569"/>
                  <a:gd name="T110" fmla="*/ 411 w 741"/>
                  <a:gd name="T111" fmla="*/ 145 h 569"/>
                  <a:gd name="T112" fmla="*/ 389 w 741"/>
                  <a:gd name="T113" fmla="*/ 106 h 569"/>
                  <a:gd name="T114" fmla="*/ 361 w 741"/>
                  <a:gd name="T115" fmla="*/ 95 h 569"/>
                  <a:gd name="T116" fmla="*/ 343 w 741"/>
                  <a:gd name="T117" fmla="*/ 114 h 569"/>
                  <a:gd name="T118" fmla="*/ 309 w 741"/>
                  <a:gd name="T119" fmla="*/ 85 h 569"/>
                  <a:gd name="T120" fmla="*/ 282 w 741"/>
                  <a:gd name="T121" fmla="*/ 58 h 569"/>
                  <a:gd name="T122" fmla="*/ 267 w 741"/>
                  <a:gd name="T123" fmla="*/ 37 h 569"/>
                  <a:gd name="T124" fmla="*/ 130 w 741"/>
                  <a:gd name="T125" fmla="*/ 45 h 56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741"/>
                  <a:gd name="T190" fmla="*/ 0 h 569"/>
                  <a:gd name="T191" fmla="*/ 741 w 741"/>
                  <a:gd name="T192" fmla="*/ 569 h 56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741" h="569">
                    <a:moveTo>
                      <a:pt x="0" y="8"/>
                    </a:moveTo>
                    <a:lnTo>
                      <a:pt x="0" y="18"/>
                    </a:lnTo>
                    <a:lnTo>
                      <a:pt x="2" y="24"/>
                    </a:lnTo>
                    <a:lnTo>
                      <a:pt x="2" y="25"/>
                    </a:lnTo>
                    <a:lnTo>
                      <a:pt x="4" y="29"/>
                    </a:lnTo>
                    <a:lnTo>
                      <a:pt x="6" y="35"/>
                    </a:lnTo>
                    <a:lnTo>
                      <a:pt x="13" y="35"/>
                    </a:lnTo>
                    <a:lnTo>
                      <a:pt x="17" y="47"/>
                    </a:lnTo>
                    <a:lnTo>
                      <a:pt x="17" y="58"/>
                    </a:lnTo>
                    <a:lnTo>
                      <a:pt x="21" y="70"/>
                    </a:lnTo>
                    <a:lnTo>
                      <a:pt x="29" y="81"/>
                    </a:lnTo>
                    <a:lnTo>
                      <a:pt x="40" y="93"/>
                    </a:lnTo>
                    <a:lnTo>
                      <a:pt x="52" y="100"/>
                    </a:lnTo>
                    <a:lnTo>
                      <a:pt x="59" y="104"/>
                    </a:lnTo>
                    <a:lnTo>
                      <a:pt x="63" y="104"/>
                    </a:lnTo>
                    <a:lnTo>
                      <a:pt x="71" y="122"/>
                    </a:lnTo>
                    <a:lnTo>
                      <a:pt x="75" y="143"/>
                    </a:lnTo>
                    <a:lnTo>
                      <a:pt x="75" y="166"/>
                    </a:lnTo>
                    <a:lnTo>
                      <a:pt x="65" y="170"/>
                    </a:lnTo>
                    <a:lnTo>
                      <a:pt x="59" y="171"/>
                    </a:lnTo>
                    <a:lnTo>
                      <a:pt x="52" y="173"/>
                    </a:lnTo>
                    <a:lnTo>
                      <a:pt x="61" y="181"/>
                    </a:lnTo>
                    <a:lnTo>
                      <a:pt x="71" y="187"/>
                    </a:lnTo>
                    <a:lnTo>
                      <a:pt x="82" y="193"/>
                    </a:lnTo>
                    <a:lnTo>
                      <a:pt x="82" y="200"/>
                    </a:lnTo>
                    <a:lnTo>
                      <a:pt x="90" y="204"/>
                    </a:lnTo>
                    <a:lnTo>
                      <a:pt x="105" y="208"/>
                    </a:lnTo>
                    <a:lnTo>
                      <a:pt x="109" y="214"/>
                    </a:lnTo>
                    <a:lnTo>
                      <a:pt x="111" y="220"/>
                    </a:lnTo>
                    <a:lnTo>
                      <a:pt x="113" y="223"/>
                    </a:lnTo>
                    <a:lnTo>
                      <a:pt x="121" y="223"/>
                    </a:lnTo>
                    <a:lnTo>
                      <a:pt x="123" y="239"/>
                    </a:lnTo>
                    <a:lnTo>
                      <a:pt x="123" y="254"/>
                    </a:lnTo>
                    <a:lnTo>
                      <a:pt x="125" y="270"/>
                    </a:lnTo>
                    <a:lnTo>
                      <a:pt x="140" y="277"/>
                    </a:lnTo>
                    <a:lnTo>
                      <a:pt x="140" y="285"/>
                    </a:lnTo>
                    <a:lnTo>
                      <a:pt x="150" y="296"/>
                    </a:lnTo>
                    <a:lnTo>
                      <a:pt x="167" y="316"/>
                    </a:lnTo>
                    <a:lnTo>
                      <a:pt x="178" y="331"/>
                    </a:lnTo>
                    <a:lnTo>
                      <a:pt x="180" y="325"/>
                    </a:lnTo>
                    <a:lnTo>
                      <a:pt x="182" y="325"/>
                    </a:lnTo>
                    <a:lnTo>
                      <a:pt x="186" y="323"/>
                    </a:lnTo>
                    <a:lnTo>
                      <a:pt x="186" y="308"/>
                    </a:lnTo>
                    <a:lnTo>
                      <a:pt x="182" y="304"/>
                    </a:lnTo>
                    <a:lnTo>
                      <a:pt x="171" y="296"/>
                    </a:lnTo>
                    <a:lnTo>
                      <a:pt x="169" y="293"/>
                    </a:lnTo>
                    <a:lnTo>
                      <a:pt x="169" y="289"/>
                    </a:lnTo>
                    <a:lnTo>
                      <a:pt x="167" y="285"/>
                    </a:lnTo>
                    <a:lnTo>
                      <a:pt x="163" y="283"/>
                    </a:lnTo>
                    <a:lnTo>
                      <a:pt x="159" y="283"/>
                    </a:lnTo>
                    <a:lnTo>
                      <a:pt x="155" y="281"/>
                    </a:lnTo>
                    <a:lnTo>
                      <a:pt x="157" y="277"/>
                    </a:lnTo>
                    <a:lnTo>
                      <a:pt x="159" y="271"/>
                    </a:lnTo>
                    <a:lnTo>
                      <a:pt x="159" y="266"/>
                    </a:lnTo>
                    <a:lnTo>
                      <a:pt x="151" y="266"/>
                    </a:lnTo>
                    <a:lnTo>
                      <a:pt x="148" y="245"/>
                    </a:lnTo>
                    <a:lnTo>
                      <a:pt x="144" y="225"/>
                    </a:lnTo>
                    <a:lnTo>
                      <a:pt x="136" y="204"/>
                    </a:lnTo>
                    <a:lnTo>
                      <a:pt x="134" y="204"/>
                    </a:lnTo>
                    <a:lnTo>
                      <a:pt x="128" y="202"/>
                    </a:lnTo>
                    <a:lnTo>
                      <a:pt x="125" y="200"/>
                    </a:lnTo>
                    <a:lnTo>
                      <a:pt x="125" y="181"/>
                    </a:lnTo>
                    <a:lnTo>
                      <a:pt x="117" y="181"/>
                    </a:lnTo>
                    <a:lnTo>
                      <a:pt x="111" y="168"/>
                    </a:lnTo>
                    <a:lnTo>
                      <a:pt x="105" y="152"/>
                    </a:lnTo>
                    <a:lnTo>
                      <a:pt x="102" y="135"/>
                    </a:lnTo>
                    <a:lnTo>
                      <a:pt x="90" y="135"/>
                    </a:lnTo>
                    <a:lnTo>
                      <a:pt x="88" y="125"/>
                    </a:lnTo>
                    <a:lnTo>
                      <a:pt x="88" y="114"/>
                    </a:lnTo>
                    <a:lnTo>
                      <a:pt x="86" y="104"/>
                    </a:lnTo>
                    <a:lnTo>
                      <a:pt x="75" y="104"/>
                    </a:lnTo>
                    <a:lnTo>
                      <a:pt x="71" y="93"/>
                    </a:lnTo>
                    <a:lnTo>
                      <a:pt x="67" y="83"/>
                    </a:lnTo>
                    <a:lnTo>
                      <a:pt x="63" y="70"/>
                    </a:lnTo>
                    <a:lnTo>
                      <a:pt x="59" y="68"/>
                    </a:lnTo>
                    <a:lnTo>
                      <a:pt x="56" y="62"/>
                    </a:lnTo>
                    <a:lnTo>
                      <a:pt x="52" y="58"/>
                    </a:lnTo>
                    <a:lnTo>
                      <a:pt x="54" y="54"/>
                    </a:lnTo>
                    <a:lnTo>
                      <a:pt x="54" y="47"/>
                    </a:lnTo>
                    <a:lnTo>
                      <a:pt x="56" y="39"/>
                    </a:lnTo>
                    <a:lnTo>
                      <a:pt x="63" y="43"/>
                    </a:lnTo>
                    <a:lnTo>
                      <a:pt x="69" y="49"/>
                    </a:lnTo>
                    <a:lnTo>
                      <a:pt x="75" y="50"/>
                    </a:lnTo>
                    <a:lnTo>
                      <a:pt x="77" y="49"/>
                    </a:lnTo>
                    <a:lnTo>
                      <a:pt x="82" y="47"/>
                    </a:lnTo>
                    <a:lnTo>
                      <a:pt x="82" y="43"/>
                    </a:lnTo>
                    <a:lnTo>
                      <a:pt x="94" y="43"/>
                    </a:lnTo>
                    <a:lnTo>
                      <a:pt x="94" y="54"/>
                    </a:lnTo>
                    <a:lnTo>
                      <a:pt x="102" y="54"/>
                    </a:lnTo>
                    <a:lnTo>
                      <a:pt x="102" y="64"/>
                    </a:lnTo>
                    <a:lnTo>
                      <a:pt x="100" y="70"/>
                    </a:lnTo>
                    <a:lnTo>
                      <a:pt x="98" y="73"/>
                    </a:lnTo>
                    <a:lnTo>
                      <a:pt x="102" y="79"/>
                    </a:lnTo>
                    <a:lnTo>
                      <a:pt x="109" y="85"/>
                    </a:lnTo>
                    <a:lnTo>
                      <a:pt x="113" y="89"/>
                    </a:lnTo>
                    <a:lnTo>
                      <a:pt x="115" y="98"/>
                    </a:lnTo>
                    <a:lnTo>
                      <a:pt x="115" y="104"/>
                    </a:lnTo>
                    <a:lnTo>
                      <a:pt x="117" y="112"/>
                    </a:lnTo>
                    <a:lnTo>
                      <a:pt x="123" y="118"/>
                    </a:lnTo>
                    <a:lnTo>
                      <a:pt x="130" y="123"/>
                    </a:lnTo>
                    <a:lnTo>
                      <a:pt x="136" y="127"/>
                    </a:lnTo>
                    <a:lnTo>
                      <a:pt x="136" y="143"/>
                    </a:lnTo>
                    <a:lnTo>
                      <a:pt x="140" y="143"/>
                    </a:lnTo>
                    <a:lnTo>
                      <a:pt x="148" y="150"/>
                    </a:lnTo>
                    <a:lnTo>
                      <a:pt x="159" y="170"/>
                    </a:lnTo>
                    <a:lnTo>
                      <a:pt x="171" y="170"/>
                    </a:lnTo>
                    <a:lnTo>
                      <a:pt x="171" y="185"/>
                    </a:lnTo>
                    <a:lnTo>
                      <a:pt x="175" y="187"/>
                    </a:lnTo>
                    <a:lnTo>
                      <a:pt x="178" y="187"/>
                    </a:lnTo>
                    <a:lnTo>
                      <a:pt x="182" y="189"/>
                    </a:lnTo>
                    <a:lnTo>
                      <a:pt x="184" y="193"/>
                    </a:lnTo>
                    <a:lnTo>
                      <a:pt x="184" y="200"/>
                    </a:lnTo>
                    <a:lnTo>
                      <a:pt x="186" y="204"/>
                    </a:lnTo>
                    <a:lnTo>
                      <a:pt x="190" y="206"/>
                    </a:lnTo>
                    <a:lnTo>
                      <a:pt x="199" y="210"/>
                    </a:lnTo>
                    <a:lnTo>
                      <a:pt x="205" y="212"/>
                    </a:lnTo>
                    <a:lnTo>
                      <a:pt x="201" y="216"/>
                    </a:lnTo>
                    <a:lnTo>
                      <a:pt x="198" y="221"/>
                    </a:lnTo>
                    <a:lnTo>
                      <a:pt x="194" y="223"/>
                    </a:lnTo>
                    <a:lnTo>
                      <a:pt x="194" y="235"/>
                    </a:lnTo>
                    <a:lnTo>
                      <a:pt x="221" y="254"/>
                    </a:lnTo>
                    <a:lnTo>
                      <a:pt x="232" y="266"/>
                    </a:lnTo>
                    <a:lnTo>
                      <a:pt x="234" y="273"/>
                    </a:lnTo>
                    <a:lnTo>
                      <a:pt x="236" y="279"/>
                    </a:lnTo>
                    <a:lnTo>
                      <a:pt x="240" y="285"/>
                    </a:lnTo>
                    <a:lnTo>
                      <a:pt x="244" y="287"/>
                    </a:lnTo>
                    <a:lnTo>
                      <a:pt x="247" y="287"/>
                    </a:lnTo>
                    <a:lnTo>
                      <a:pt x="251" y="289"/>
                    </a:lnTo>
                    <a:lnTo>
                      <a:pt x="251" y="300"/>
                    </a:lnTo>
                    <a:lnTo>
                      <a:pt x="259" y="300"/>
                    </a:lnTo>
                    <a:lnTo>
                      <a:pt x="263" y="308"/>
                    </a:lnTo>
                    <a:lnTo>
                      <a:pt x="270" y="319"/>
                    </a:lnTo>
                    <a:lnTo>
                      <a:pt x="270" y="331"/>
                    </a:lnTo>
                    <a:lnTo>
                      <a:pt x="286" y="350"/>
                    </a:lnTo>
                    <a:lnTo>
                      <a:pt x="294" y="362"/>
                    </a:lnTo>
                    <a:lnTo>
                      <a:pt x="294" y="394"/>
                    </a:lnTo>
                    <a:lnTo>
                      <a:pt x="286" y="419"/>
                    </a:lnTo>
                    <a:lnTo>
                      <a:pt x="294" y="446"/>
                    </a:lnTo>
                    <a:lnTo>
                      <a:pt x="301" y="452"/>
                    </a:lnTo>
                    <a:lnTo>
                      <a:pt x="311" y="454"/>
                    </a:lnTo>
                    <a:lnTo>
                      <a:pt x="320" y="458"/>
                    </a:lnTo>
                    <a:lnTo>
                      <a:pt x="328" y="467"/>
                    </a:lnTo>
                    <a:lnTo>
                      <a:pt x="338" y="483"/>
                    </a:lnTo>
                    <a:lnTo>
                      <a:pt x="343" y="492"/>
                    </a:lnTo>
                    <a:lnTo>
                      <a:pt x="355" y="496"/>
                    </a:lnTo>
                    <a:lnTo>
                      <a:pt x="378" y="500"/>
                    </a:lnTo>
                    <a:lnTo>
                      <a:pt x="388" y="508"/>
                    </a:lnTo>
                    <a:lnTo>
                      <a:pt x="399" y="519"/>
                    </a:lnTo>
                    <a:lnTo>
                      <a:pt x="409" y="527"/>
                    </a:lnTo>
                    <a:lnTo>
                      <a:pt x="420" y="531"/>
                    </a:lnTo>
                    <a:lnTo>
                      <a:pt x="434" y="531"/>
                    </a:lnTo>
                    <a:lnTo>
                      <a:pt x="447" y="535"/>
                    </a:lnTo>
                    <a:lnTo>
                      <a:pt x="453" y="539"/>
                    </a:lnTo>
                    <a:lnTo>
                      <a:pt x="457" y="546"/>
                    </a:lnTo>
                    <a:lnTo>
                      <a:pt x="462" y="550"/>
                    </a:lnTo>
                    <a:lnTo>
                      <a:pt x="472" y="552"/>
                    </a:lnTo>
                    <a:lnTo>
                      <a:pt x="489" y="556"/>
                    </a:lnTo>
                    <a:lnTo>
                      <a:pt x="497" y="558"/>
                    </a:lnTo>
                    <a:lnTo>
                      <a:pt x="508" y="556"/>
                    </a:lnTo>
                    <a:lnTo>
                      <a:pt x="518" y="552"/>
                    </a:lnTo>
                    <a:lnTo>
                      <a:pt x="524" y="550"/>
                    </a:lnTo>
                    <a:lnTo>
                      <a:pt x="545" y="548"/>
                    </a:lnTo>
                    <a:lnTo>
                      <a:pt x="562" y="550"/>
                    </a:lnTo>
                    <a:lnTo>
                      <a:pt x="581" y="554"/>
                    </a:lnTo>
                    <a:lnTo>
                      <a:pt x="581" y="546"/>
                    </a:lnTo>
                    <a:lnTo>
                      <a:pt x="585" y="546"/>
                    </a:lnTo>
                    <a:lnTo>
                      <a:pt x="593" y="552"/>
                    </a:lnTo>
                    <a:lnTo>
                      <a:pt x="599" y="562"/>
                    </a:lnTo>
                    <a:lnTo>
                      <a:pt x="606" y="569"/>
                    </a:lnTo>
                    <a:lnTo>
                      <a:pt x="608" y="567"/>
                    </a:lnTo>
                    <a:lnTo>
                      <a:pt x="610" y="562"/>
                    </a:lnTo>
                    <a:lnTo>
                      <a:pt x="610" y="558"/>
                    </a:lnTo>
                    <a:lnTo>
                      <a:pt x="612" y="550"/>
                    </a:lnTo>
                    <a:lnTo>
                      <a:pt x="622" y="539"/>
                    </a:lnTo>
                    <a:lnTo>
                      <a:pt x="626" y="535"/>
                    </a:lnTo>
                    <a:lnTo>
                      <a:pt x="652" y="535"/>
                    </a:lnTo>
                    <a:lnTo>
                      <a:pt x="652" y="525"/>
                    </a:lnTo>
                    <a:lnTo>
                      <a:pt x="641" y="514"/>
                    </a:lnTo>
                    <a:lnTo>
                      <a:pt x="639" y="508"/>
                    </a:lnTo>
                    <a:lnTo>
                      <a:pt x="635" y="504"/>
                    </a:lnTo>
                    <a:lnTo>
                      <a:pt x="635" y="494"/>
                    </a:lnTo>
                    <a:lnTo>
                      <a:pt x="643" y="494"/>
                    </a:lnTo>
                    <a:lnTo>
                      <a:pt x="645" y="481"/>
                    </a:lnTo>
                    <a:lnTo>
                      <a:pt x="689" y="481"/>
                    </a:lnTo>
                    <a:lnTo>
                      <a:pt x="697" y="473"/>
                    </a:lnTo>
                    <a:lnTo>
                      <a:pt x="700" y="471"/>
                    </a:lnTo>
                    <a:lnTo>
                      <a:pt x="706" y="473"/>
                    </a:lnTo>
                    <a:lnTo>
                      <a:pt x="708" y="469"/>
                    </a:lnTo>
                    <a:lnTo>
                      <a:pt x="716" y="462"/>
                    </a:lnTo>
                    <a:lnTo>
                      <a:pt x="716" y="473"/>
                    </a:lnTo>
                    <a:lnTo>
                      <a:pt x="720" y="475"/>
                    </a:lnTo>
                    <a:lnTo>
                      <a:pt x="727" y="475"/>
                    </a:lnTo>
                    <a:lnTo>
                      <a:pt x="727" y="469"/>
                    </a:lnTo>
                    <a:lnTo>
                      <a:pt x="725" y="460"/>
                    </a:lnTo>
                    <a:lnTo>
                      <a:pt x="727" y="450"/>
                    </a:lnTo>
                    <a:lnTo>
                      <a:pt x="733" y="427"/>
                    </a:lnTo>
                    <a:lnTo>
                      <a:pt x="741" y="391"/>
                    </a:lnTo>
                    <a:lnTo>
                      <a:pt x="739" y="369"/>
                    </a:lnTo>
                    <a:lnTo>
                      <a:pt x="714" y="368"/>
                    </a:lnTo>
                    <a:lnTo>
                      <a:pt x="687" y="379"/>
                    </a:lnTo>
                    <a:lnTo>
                      <a:pt x="664" y="389"/>
                    </a:lnTo>
                    <a:lnTo>
                      <a:pt x="662" y="402"/>
                    </a:lnTo>
                    <a:lnTo>
                      <a:pt x="662" y="414"/>
                    </a:lnTo>
                    <a:lnTo>
                      <a:pt x="660" y="427"/>
                    </a:lnTo>
                    <a:lnTo>
                      <a:pt x="652" y="431"/>
                    </a:lnTo>
                    <a:lnTo>
                      <a:pt x="652" y="450"/>
                    </a:lnTo>
                    <a:lnTo>
                      <a:pt x="649" y="452"/>
                    </a:lnTo>
                    <a:lnTo>
                      <a:pt x="645" y="452"/>
                    </a:lnTo>
                    <a:lnTo>
                      <a:pt x="641" y="454"/>
                    </a:lnTo>
                    <a:lnTo>
                      <a:pt x="639" y="462"/>
                    </a:lnTo>
                    <a:lnTo>
                      <a:pt x="639" y="466"/>
                    </a:lnTo>
                    <a:lnTo>
                      <a:pt x="633" y="466"/>
                    </a:lnTo>
                    <a:lnTo>
                      <a:pt x="631" y="469"/>
                    </a:lnTo>
                    <a:lnTo>
                      <a:pt x="627" y="469"/>
                    </a:lnTo>
                    <a:lnTo>
                      <a:pt x="627" y="462"/>
                    </a:lnTo>
                    <a:lnTo>
                      <a:pt x="608" y="462"/>
                    </a:lnTo>
                    <a:lnTo>
                      <a:pt x="606" y="466"/>
                    </a:lnTo>
                    <a:lnTo>
                      <a:pt x="603" y="469"/>
                    </a:lnTo>
                    <a:lnTo>
                      <a:pt x="601" y="473"/>
                    </a:lnTo>
                    <a:lnTo>
                      <a:pt x="593" y="475"/>
                    </a:lnTo>
                    <a:lnTo>
                      <a:pt x="587" y="475"/>
                    </a:lnTo>
                    <a:lnTo>
                      <a:pt x="581" y="477"/>
                    </a:lnTo>
                    <a:lnTo>
                      <a:pt x="580" y="481"/>
                    </a:lnTo>
                    <a:lnTo>
                      <a:pt x="580" y="487"/>
                    </a:lnTo>
                    <a:lnTo>
                      <a:pt x="578" y="489"/>
                    </a:lnTo>
                    <a:lnTo>
                      <a:pt x="570" y="489"/>
                    </a:lnTo>
                    <a:lnTo>
                      <a:pt x="574" y="485"/>
                    </a:lnTo>
                    <a:lnTo>
                      <a:pt x="568" y="485"/>
                    </a:lnTo>
                    <a:lnTo>
                      <a:pt x="562" y="487"/>
                    </a:lnTo>
                    <a:lnTo>
                      <a:pt x="555" y="489"/>
                    </a:lnTo>
                    <a:lnTo>
                      <a:pt x="553" y="483"/>
                    </a:lnTo>
                    <a:lnTo>
                      <a:pt x="553" y="477"/>
                    </a:lnTo>
                    <a:lnTo>
                      <a:pt x="551" y="473"/>
                    </a:lnTo>
                    <a:lnTo>
                      <a:pt x="541" y="471"/>
                    </a:lnTo>
                    <a:lnTo>
                      <a:pt x="532" y="471"/>
                    </a:lnTo>
                    <a:lnTo>
                      <a:pt x="524" y="469"/>
                    </a:lnTo>
                    <a:lnTo>
                      <a:pt x="520" y="464"/>
                    </a:lnTo>
                    <a:lnTo>
                      <a:pt x="518" y="456"/>
                    </a:lnTo>
                    <a:lnTo>
                      <a:pt x="516" y="450"/>
                    </a:lnTo>
                    <a:lnTo>
                      <a:pt x="503" y="429"/>
                    </a:lnTo>
                    <a:lnTo>
                      <a:pt x="491" y="410"/>
                    </a:lnTo>
                    <a:lnTo>
                      <a:pt x="482" y="385"/>
                    </a:lnTo>
                    <a:lnTo>
                      <a:pt x="480" y="387"/>
                    </a:lnTo>
                    <a:lnTo>
                      <a:pt x="476" y="389"/>
                    </a:lnTo>
                    <a:lnTo>
                      <a:pt x="474" y="389"/>
                    </a:lnTo>
                    <a:lnTo>
                      <a:pt x="476" y="381"/>
                    </a:lnTo>
                    <a:lnTo>
                      <a:pt x="476" y="369"/>
                    </a:lnTo>
                    <a:lnTo>
                      <a:pt x="474" y="362"/>
                    </a:lnTo>
                    <a:lnTo>
                      <a:pt x="482" y="354"/>
                    </a:lnTo>
                    <a:lnTo>
                      <a:pt x="482" y="341"/>
                    </a:lnTo>
                    <a:lnTo>
                      <a:pt x="478" y="329"/>
                    </a:lnTo>
                    <a:lnTo>
                      <a:pt x="474" y="319"/>
                    </a:lnTo>
                    <a:lnTo>
                      <a:pt x="474" y="312"/>
                    </a:lnTo>
                    <a:lnTo>
                      <a:pt x="478" y="306"/>
                    </a:lnTo>
                    <a:lnTo>
                      <a:pt x="478" y="300"/>
                    </a:lnTo>
                    <a:lnTo>
                      <a:pt x="476" y="293"/>
                    </a:lnTo>
                    <a:lnTo>
                      <a:pt x="472" y="281"/>
                    </a:lnTo>
                    <a:lnTo>
                      <a:pt x="470" y="273"/>
                    </a:lnTo>
                    <a:lnTo>
                      <a:pt x="476" y="266"/>
                    </a:lnTo>
                    <a:lnTo>
                      <a:pt x="487" y="258"/>
                    </a:lnTo>
                    <a:lnTo>
                      <a:pt x="493" y="250"/>
                    </a:lnTo>
                    <a:lnTo>
                      <a:pt x="493" y="243"/>
                    </a:lnTo>
                    <a:lnTo>
                      <a:pt x="491" y="237"/>
                    </a:lnTo>
                    <a:lnTo>
                      <a:pt x="489" y="229"/>
                    </a:lnTo>
                    <a:lnTo>
                      <a:pt x="484" y="231"/>
                    </a:lnTo>
                    <a:lnTo>
                      <a:pt x="482" y="227"/>
                    </a:lnTo>
                    <a:lnTo>
                      <a:pt x="478" y="223"/>
                    </a:lnTo>
                    <a:lnTo>
                      <a:pt x="462" y="220"/>
                    </a:lnTo>
                    <a:lnTo>
                      <a:pt x="447" y="212"/>
                    </a:lnTo>
                    <a:lnTo>
                      <a:pt x="443" y="208"/>
                    </a:lnTo>
                    <a:lnTo>
                      <a:pt x="441" y="202"/>
                    </a:lnTo>
                    <a:lnTo>
                      <a:pt x="441" y="200"/>
                    </a:lnTo>
                    <a:lnTo>
                      <a:pt x="439" y="196"/>
                    </a:lnTo>
                    <a:lnTo>
                      <a:pt x="436" y="185"/>
                    </a:lnTo>
                    <a:lnTo>
                      <a:pt x="430" y="175"/>
                    </a:lnTo>
                    <a:lnTo>
                      <a:pt x="428" y="168"/>
                    </a:lnTo>
                    <a:lnTo>
                      <a:pt x="426" y="164"/>
                    </a:lnTo>
                    <a:lnTo>
                      <a:pt x="422" y="158"/>
                    </a:lnTo>
                    <a:lnTo>
                      <a:pt x="416" y="152"/>
                    </a:lnTo>
                    <a:lnTo>
                      <a:pt x="411" y="145"/>
                    </a:lnTo>
                    <a:lnTo>
                      <a:pt x="409" y="139"/>
                    </a:lnTo>
                    <a:lnTo>
                      <a:pt x="409" y="131"/>
                    </a:lnTo>
                    <a:lnTo>
                      <a:pt x="407" y="125"/>
                    </a:lnTo>
                    <a:lnTo>
                      <a:pt x="397" y="118"/>
                    </a:lnTo>
                    <a:lnTo>
                      <a:pt x="389" y="106"/>
                    </a:lnTo>
                    <a:lnTo>
                      <a:pt x="388" y="102"/>
                    </a:lnTo>
                    <a:lnTo>
                      <a:pt x="384" y="98"/>
                    </a:lnTo>
                    <a:lnTo>
                      <a:pt x="374" y="98"/>
                    </a:lnTo>
                    <a:lnTo>
                      <a:pt x="366" y="97"/>
                    </a:lnTo>
                    <a:lnTo>
                      <a:pt x="361" y="95"/>
                    </a:lnTo>
                    <a:lnTo>
                      <a:pt x="357" y="95"/>
                    </a:lnTo>
                    <a:lnTo>
                      <a:pt x="355" y="97"/>
                    </a:lnTo>
                    <a:lnTo>
                      <a:pt x="351" y="102"/>
                    </a:lnTo>
                    <a:lnTo>
                      <a:pt x="349" y="108"/>
                    </a:lnTo>
                    <a:lnTo>
                      <a:pt x="343" y="114"/>
                    </a:lnTo>
                    <a:lnTo>
                      <a:pt x="328" y="114"/>
                    </a:lnTo>
                    <a:lnTo>
                      <a:pt x="320" y="110"/>
                    </a:lnTo>
                    <a:lnTo>
                      <a:pt x="309" y="98"/>
                    </a:lnTo>
                    <a:lnTo>
                      <a:pt x="307" y="91"/>
                    </a:lnTo>
                    <a:lnTo>
                      <a:pt x="309" y="85"/>
                    </a:lnTo>
                    <a:lnTo>
                      <a:pt x="307" y="81"/>
                    </a:lnTo>
                    <a:lnTo>
                      <a:pt x="303" y="75"/>
                    </a:lnTo>
                    <a:lnTo>
                      <a:pt x="297" y="68"/>
                    </a:lnTo>
                    <a:lnTo>
                      <a:pt x="294" y="64"/>
                    </a:lnTo>
                    <a:lnTo>
                      <a:pt x="282" y="58"/>
                    </a:lnTo>
                    <a:lnTo>
                      <a:pt x="278" y="54"/>
                    </a:lnTo>
                    <a:lnTo>
                      <a:pt x="274" y="47"/>
                    </a:lnTo>
                    <a:lnTo>
                      <a:pt x="272" y="45"/>
                    </a:lnTo>
                    <a:lnTo>
                      <a:pt x="270" y="41"/>
                    </a:lnTo>
                    <a:lnTo>
                      <a:pt x="267" y="37"/>
                    </a:lnTo>
                    <a:lnTo>
                      <a:pt x="263" y="35"/>
                    </a:lnTo>
                    <a:lnTo>
                      <a:pt x="261" y="35"/>
                    </a:lnTo>
                    <a:lnTo>
                      <a:pt x="211" y="33"/>
                    </a:lnTo>
                    <a:lnTo>
                      <a:pt x="211" y="49"/>
                    </a:lnTo>
                    <a:lnTo>
                      <a:pt x="130" y="45"/>
                    </a:lnTo>
                    <a:lnTo>
                      <a:pt x="65" y="10"/>
                    </a:lnTo>
                    <a:lnTo>
                      <a:pt x="65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6" name="Freeform 134"/>
              <p:cNvSpPr>
                <a:spLocks/>
              </p:cNvSpPr>
              <p:nvPr/>
            </p:nvSpPr>
            <p:spPr bwMode="gray">
              <a:xfrm>
                <a:off x="2818" y="2356"/>
                <a:ext cx="154" cy="190"/>
              </a:xfrm>
              <a:custGeom>
                <a:avLst/>
                <a:gdLst>
                  <a:gd name="T0" fmla="*/ 6 w 309"/>
                  <a:gd name="T1" fmla="*/ 198 h 381"/>
                  <a:gd name="T2" fmla="*/ 16 w 309"/>
                  <a:gd name="T3" fmla="*/ 212 h 381"/>
                  <a:gd name="T4" fmla="*/ 14 w 309"/>
                  <a:gd name="T5" fmla="*/ 239 h 381"/>
                  <a:gd name="T6" fmla="*/ 18 w 309"/>
                  <a:gd name="T7" fmla="*/ 273 h 381"/>
                  <a:gd name="T8" fmla="*/ 18 w 309"/>
                  <a:gd name="T9" fmla="*/ 331 h 381"/>
                  <a:gd name="T10" fmla="*/ 29 w 309"/>
                  <a:gd name="T11" fmla="*/ 327 h 381"/>
                  <a:gd name="T12" fmla="*/ 35 w 309"/>
                  <a:gd name="T13" fmla="*/ 318 h 381"/>
                  <a:gd name="T14" fmla="*/ 46 w 309"/>
                  <a:gd name="T15" fmla="*/ 321 h 381"/>
                  <a:gd name="T16" fmla="*/ 75 w 309"/>
                  <a:gd name="T17" fmla="*/ 325 h 381"/>
                  <a:gd name="T18" fmla="*/ 83 w 309"/>
                  <a:gd name="T19" fmla="*/ 331 h 381"/>
                  <a:gd name="T20" fmla="*/ 85 w 309"/>
                  <a:gd name="T21" fmla="*/ 343 h 381"/>
                  <a:gd name="T22" fmla="*/ 98 w 309"/>
                  <a:gd name="T23" fmla="*/ 350 h 381"/>
                  <a:gd name="T24" fmla="*/ 102 w 309"/>
                  <a:gd name="T25" fmla="*/ 358 h 381"/>
                  <a:gd name="T26" fmla="*/ 106 w 309"/>
                  <a:gd name="T27" fmla="*/ 369 h 381"/>
                  <a:gd name="T28" fmla="*/ 116 w 309"/>
                  <a:gd name="T29" fmla="*/ 371 h 381"/>
                  <a:gd name="T30" fmla="*/ 121 w 309"/>
                  <a:gd name="T31" fmla="*/ 379 h 381"/>
                  <a:gd name="T32" fmla="*/ 127 w 309"/>
                  <a:gd name="T33" fmla="*/ 381 h 381"/>
                  <a:gd name="T34" fmla="*/ 135 w 309"/>
                  <a:gd name="T35" fmla="*/ 373 h 381"/>
                  <a:gd name="T36" fmla="*/ 137 w 309"/>
                  <a:gd name="T37" fmla="*/ 356 h 381"/>
                  <a:gd name="T38" fmla="*/ 144 w 309"/>
                  <a:gd name="T39" fmla="*/ 352 h 381"/>
                  <a:gd name="T40" fmla="*/ 158 w 309"/>
                  <a:gd name="T41" fmla="*/ 356 h 381"/>
                  <a:gd name="T42" fmla="*/ 169 w 309"/>
                  <a:gd name="T43" fmla="*/ 356 h 381"/>
                  <a:gd name="T44" fmla="*/ 177 w 309"/>
                  <a:gd name="T45" fmla="*/ 354 h 381"/>
                  <a:gd name="T46" fmla="*/ 175 w 309"/>
                  <a:gd name="T47" fmla="*/ 344 h 381"/>
                  <a:gd name="T48" fmla="*/ 181 w 309"/>
                  <a:gd name="T49" fmla="*/ 339 h 381"/>
                  <a:gd name="T50" fmla="*/ 188 w 309"/>
                  <a:gd name="T51" fmla="*/ 343 h 381"/>
                  <a:gd name="T52" fmla="*/ 281 w 309"/>
                  <a:gd name="T53" fmla="*/ 344 h 381"/>
                  <a:gd name="T54" fmla="*/ 284 w 309"/>
                  <a:gd name="T55" fmla="*/ 337 h 381"/>
                  <a:gd name="T56" fmla="*/ 286 w 309"/>
                  <a:gd name="T57" fmla="*/ 321 h 381"/>
                  <a:gd name="T58" fmla="*/ 279 w 309"/>
                  <a:gd name="T59" fmla="*/ 319 h 381"/>
                  <a:gd name="T60" fmla="*/ 309 w 309"/>
                  <a:gd name="T61" fmla="*/ 64 h 381"/>
                  <a:gd name="T62" fmla="*/ 225 w 309"/>
                  <a:gd name="T63" fmla="*/ 47 h 381"/>
                  <a:gd name="T64" fmla="*/ 129 w 309"/>
                  <a:gd name="T65" fmla="*/ 116 h 381"/>
                  <a:gd name="T66" fmla="*/ 108 w 309"/>
                  <a:gd name="T67" fmla="*/ 120 h 381"/>
                  <a:gd name="T68" fmla="*/ 100 w 309"/>
                  <a:gd name="T69" fmla="*/ 173 h 381"/>
                  <a:gd name="T70" fmla="*/ 8 w 309"/>
                  <a:gd name="T71" fmla="*/ 185 h 381"/>
                  <a:gd name="T72" fmla="*/ 0 w 309"/>
                  <a:gd name="T73" fmla="*/ 191 h 38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09"/>
                  <a:gd name="T112" fmla="*/ 0 h 381"/>
                  <a:gd name="T113" fmla="*/ 309 w 309"/>
                  <a:gd name="T114" fmla="*/ 381 h 38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09" h="381">
                    <a:moveTo>
                      <a:pt x="0" y="191"/>
                    </a:moveTo>
                    <a:lnTo>
                      <a:pt x="6" y="198"/>
                    </a:lnTo>
                    <a:lnTo>
                      <a:pt x="10" y="204"/>
                    </a:lnTo>
                    <a:lnTo>
                      <a:pt x="16" y="212"/>
                    </a:lnTo>
                    <a:lnTo>
                      <a:pt x="16" y="223"/>
                    </a:lnTo>
                    <a:lnTo>
                      <a:pt x="14" y="239"/>
                    </a:lnTo>
                    <a:lnTo>
                      <a:pt x="12" y="246"/>
                    </a:lnTo>
                    <a:lnTo>
                      <a:pt x="18" y="273"/>
                    </a:lnTo>
                    <a:lnTo>
                      <a:pt x="22" y="302"/>
                    </a:lnTo>
                    <a:lnTo>
                      <a:pt x="18" y="331"/>
                    </a:lnTo>
                    <a:lnTo>
                      <a:pt x="22" y="329"/>
                    </a:lnTo>
                    <a:lnTo>
                      <a:pt x="29" y="327"/>
                    </a:lnTo>
                    <a:lnTo>
                      <a:pt x="33" y="321"/>
                    </a:lnTo>
                    <a:lnTo>
                      <a:pt x="35" y="318"/>
                    </a:lnTo>
                    <a:lnTo>
                      <a:pt x="39" y="319"/>
                    </a:lnTo>
                    <a:lnTo>
                      <a:pt x="46" y="321"/>
                    </a:lnTo>
                    <a:lnTo>
                      <a:pt x="71" y="321"/>
                    </a:lnTo>
                    <a:lnTo>
                      <a:pt x="75" y="325"/>
                    </a:lnTo>
                    <a:lnTo>
                      <a:pt x="77" y="329"/>
                    </a:lnTo>
                    <a:lnTo>
                      <a:pt x="83" y="331"/>
                    </a:lnTo>
                    <a:lnTo>
                      <a:pt x="85" y="337"/>
                    </a:lnTo>
                    <a:lnTo>
                      <a:pt x="85" y="343"/>
                    </a:lnTo>
                    <a:lnTo>
                      <a:pt x="87" y="348"/>
                    </a:lnTo>
                    <a:lnTo>
                      <a:pt x="98" y="350"/>
                    </a:lnTo>
                    <a:lnTo>
                      <a:pt x="100" y="352"/>
                    </a:lnTo>
                    <a:lnTo>
                      <a:pt x="102" y="358"/>
                    </a:lnTo>
                    <a:lnTo>
                      <a:pt x="102" y="366"/>
                    </a:lnTo>
                    <a:lnTo>
                      <a:pt x="106" y="369"/>
                    </a:lnTo>
                    <a:lnTo>
                      <a:pt x="112" y="369"/>
                    </a:lnTo>
                    <a:lnTo>
                      <a:pt x="116" y="371"/>
                    </a:lnTo>
                    <a:lnTo>
                      <a:pt x="119" y="375"/>
                    </a:lnTo>
                    <a:lnTo>
                      <a:pt x="121" y="379"/>
                    </a:lnTo>
                    <a:lnTo>
                      <a:pt x="123" y="381"/>
                    </a:lnTo>
                    <a:lnTo>
                      <a:pt x="127" y="381"/>
                    </a:lnTo>
                    <a:lnTo>
                      <a:pt x="133" y="379"/>
                    </a:lnTo>
                    <a:lnTo>
                      <a:pt x="135" y="373"/>
                    </a:lnTo>
                    <a:lnTo>
                      <a:pt x="135" y="362"/>
                    </a:lnTo>
                    <a:lnTo>
                      <a:pt x="137" y="356"/>
                    </a:lnTo>
                    <a:lnTo>
                      <a:pt x="137" y="352"/>
                    </a:lnTo>
                    <a:lnTo>
                      <a:pt x="144" y="352"/>
                    </a:lnTo>
                    <a:lnTo>
                      <a:pt x="150" y="354"/>
                    </a:lnTo>
                    <a:lnTo>
                      <a:pt x="158" y="356"/>
                    </a:lnTo>
                    <a:lnTo>
                      <a:pt x="164" y="358"/>
                    </a:lnTo>
                    <a:lnTo>
                      <a:pt x="169" y="356"/>
                    </a:lnTo>
                    <a:lnTo>
                      <a:pt x="173" y="356"/>
                    </a:lnTo>
                    <a:lnTo>
                      <a:pt x="177" y="354"/>
                    </a:lnTo>
                    <a:lnTo>
                      <a:pt x="179" y="350"/>
                    </a:lnTo>
                    <a:lnTo>
                      <a:pt x="175" y="344"/>
                    </a:lnTo>
                    <a:lnTo>
                      <a:pt x="177" y="341"/>
                    </a:lnTo>
                    <a:lnTo>
                      <a:pt x="181" y="339"/>
                    </a:lnTo>
                    <a:lnTo>
                      <a:pt x="185" y="339"/>
                    </a:lnTo>
                    <a:lnTo>
                      <a:pt x="188" y="343"/>
                    </a:lnTo>
                    <a:lnTo>
                      <a:pt x="188" y="344"/>
                    </a:lnTo>
                    <a:lnTo>
                      <a:pt x="281" y="344"/>
                    </a:lnTo>
                    <a:lnTo>
                      <a:pt x="283" y="343"/>
                    </a:lnTo>
                    <a:lnTo>
                      <a:pt x="284" y="337"/>
                    </a:lnTo>
                    <a:lnTo>
                      <a:pt x="286" y="329"/>
                    </a:lnTo>
                    <a:lnTo>
                      <a:pt x="286" y="321"/>
                    </a:lnTo>
                    <a:lnTo>
                      <a:pt x="283" y="319"/>
                    </a:lnTo>
                    <a:lnTo>
                      <a:pt x="279" y="319"/>
                    </a:lnTo>
                    <a:lnTo>
                      <a:pt x="263" y="66"/>
                    </a:lnTo>
                    <a:lnTo>
                      <a:pt x="309" y="64"/>
                    </a:lnTo>
                    <a:lnTo>
                      <a:pt x="225" y="0"/>
                    </a:lnTo>
                    <a:lnTo>
                      <a:pt x="225" y="47"/>
                    </a:lnTo>
                    <a:lnTo>
                      <a:pt x="131" y="49"/>
                    </a:lnTo>
                    <a:lnTo>
                      <a:pt x="129" y="116"/>
                    </a:lnTo>
                    <a:lnTo>
                      <a:pt x="121" y="116"/>
                    </a:lnTo>
                    <a:lnTo>
                      <a:pt x="108" y="120"/>
                    </a:lnTo>
                    <a:lnTo>
                      <a:pt x="98" y="133"/>
                    </a:lnTo>
                    <a:lnTo>
                      <a:pt x="100" y="173"/>
                    </a:lnTo>
                    <a:lnTo>
                      <a:pt x="102" y="181"/>
                    </a:lnTo>
                    <a:lnTo>
                      <a:pt x="8" y="185"/>
                    </a:lnTo>
                    <a:lnTo>
                      <a:pt x="6" y="185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7" name="Freeform 135"/>
              <p:cNvSpPr>
                <a:spLocks/>
              </p:cNvSpPr>
              <p:nvPr/>
            </p:nvSpPr>
            <p:spPr bwMode="gray">
              <a:xfrm>
                <a:off x="2877" y="2387"/>
                <a:ext cx="206" cy="244"/>
              </a:xfrm>
              <a:custGeom>
                <a:avLst/>
                <a:gdLst>
                  <a:gd name="T0" fmla="*/ 119 w 411"/>
                  <a:gd name="T1" fmla="*/ 480 h 486"/>
                  <a:gd name="T2" fmla="*/ 133 w 411"/>
                  <a:gd name="T3" fmla="*/ 478 h 486"/>
                  <a:gd name="T4" fmla="*/ 142 w 411"/>
                  <a:gd name="T5" fmla="*/ 461 h 486"/>
                  <a:gd name="T6" fmla="*/ 154 w 411"/>
                  <a:gd name="T7" fmla="*/ 471 h 486"/>
                  <a:gd name="T8" fmla="*/ 160 w 411"/>
                  <a:gd name="T9" fmla="*/ 459 h 486"/>
                  <a:gd name="T10" fmla="*/ 164 w 411"/>
                  <a:gd name="T11" fmla="*/ 436 h 486"/>
                  <a:gd name="T12" fmla="*/ 173 w 411"/>
                  <a:gd name="T13" fmla="*/ 421 h 486"/>
                  <a:gd name="T14" fmla="*/ 181 w 411"/>
                  <a:gd name="T15" fmla="*/ 394 h 486"/>
                  <a:gd name="T16" fmla="*/ 188 w 411"/>
                  <a:gd name="T17" fmla="*/ 392 h 486"/>
                  <a:gd name="T18" fmla="*/ 198 w 411"/>
                  <a:gd name="T19" fmla="*/ 365 h 486"/>
                  <a:gd name="T20" fmla="*/ 217 w 411"/>
                  <a:gd name="T21" fmla="*/ 357 h 486"/>
                  <a:gd name="T22" fmla="*/ 231 w 411"/>
                  <a:gd name="T23" fmla="*/ 350 h 486"/>
                  <a:gd name="T24" fmla="*/ 240 w 411"/>
                  <a:gd name="T25" fmla="*/ 329 h 486"/>
                  <a:gd name="T26" fmla="*/ 256 w 411"/>
                  <a:gd name="T27" fmla="*/ 313 h 486"/>
                  <a:gd name="T28" fmla="*/ 271 w 411"/>
                  <a:gd name="T29" fmla="*/ 302 h 486"/>
                  <a:gd name="T30" fmla="*/ 279 w 411"/>
                  <a:gd name="T31" fmla="*/ 290 h 486"/>
                  <a:gd name="T32" fmla="*/ 288 w 411"/>
                  <a:gd name="T33" fmla="*/ 292 h 486"/>
                  <a:gd name="T34" fmla="*/ 300 w 411"/>
                  <a:gd name="T35" fmla="*/ 296 h 486"/>
                  <a:gd name="T36" fmla="*/ 307 w 411"/>
                  <a:gd name="T37" fmla="*/ 302 h 486"/>
                  <a:gd name="T38" fmla="*/ 327 w 411"/>
                  <a:gd name="T39" fmla="*/ 294 h 486"/>
                  <a:gd name="T40" fmla="*/ 352 w 411"/>
                  <a:gd name="T41" fmla="*/ 288 h 486"/>
                  <a:gd name="T42" fmla="*/ 384 w 411"/>
                  <a:gd name="T43" fmla="*/ 277 h 486"/>
                  <a:gd name="T44" fmla="*/ 402 w 411"/>
                  <a:gd name="T45" fmla="*/ 269 h 486"/>
                  <a:gd name="T46" fmla="*/ 411 w 411"/>
                  <a:gd name="T47" fmla="*/ 252 h 486"/>
                  <a:gd name="T48" fmla="*/ 388 w 411"/>
                  <a:gd name="T49" fmla="*/ 184 h 486"/>
                  <a:gd name="T50" fmla="*/ 384 w 411"/>
                  <a:gd name="T51" fmla="*/ 175 h 486"/>
                  <a:gd name="T52" fmla="*/ 380 w 411"/>
                  <a:gd name="T53" fmla="*/ 148 h 486"/>
                  <a:gd name="T54" fmla="*/ 367 w 411"/>
                  <a:gd name="T55" fmla="*/ 138 h 486"/>
                  <a:gd name="T56" fmla="*/ 350 w 411"/>
                  <a:gd name="T57" fmla="*/ 127 h 486"/>
                  <a:gd name="T58" fmla="*/ 190 w 411"/>
                  <a:gd name="T59" fmla="*/ 0 h 486"/>
                  <a:gd name="T60" fmla="*/ 164 w 411"/>
                  <a:gd name="T61" fmla="*/ 255 h 486"/>
                  <a:gd name="T62" fmla="*/ 165 w 411"/>
                  <a:gd name="T63" fmla="*/ 273 h 486"/>
                  <a:gd name="T64" fmla="*/ 69 w 411"/>
                  <a:gd name="T65" fmla="*/ 280 h 486"/>
                  <a:gd name="T66" fmla="*/ 62 w 411"/>
                  <a:gd name="T67" fmla="*/ 275 h 486"/>
                  <a:gd name="T68" fmla="*/ 60 w 411"/>
                  <a:gd name="T69" fmla="*/ 286 h 486"/>
                  <a:gd name="T70" fmla="*/ 50 w 411"/>
                  <a:gd name="T71" fmla="*/ 292 h 486"/>
                  <a:gd name="T72" fmla="*/ 31 w 411"/>
                  <a:gd name="T73" fmla="*/ 290 h 486"/>
                  <a:gd name="T74" fmla="*/ 18 w 411"/>
                  <a:gd name="T75" fmla="*/ 292 h 486"/>
                  <a:gd name="T76" fmla="*/ 14 w 411"/>
                  <a:gd name="T77" fmla="*/ 315 h 486"/>
                  <a:gd name="T78" fmla="*/ 2 w 411"/>
                  <a:gd name="T79" fmla="*/ 321 h 486"/>
                  <a:gd name="T80" fmla="*/ 6 w 411"/>
                  <a:gd name="T81" fmla="*/ 338 h 486"/>
                  <a:gd name="T82" fmla="*/ 0 w 411"/>
                  <a:gd name="T83" fmla="*/ 355 h 486"/>
                  <a:gd name="T84" fmla="*/ 14 w 411"/>
                  <a:gd name="T85" fmla="*/ 388 h 486"/>
                  <a:gd name="T86" fmla="*/ 22 w 411"/>
                  <a:gd name="T87" fmla="*/ 403 h 486"/>
                  <a:gd name="T88" fmla="*/ 35 w 411"/>
                  <a:gd name="T89" fmla="*/ 402 h 486"/>
                  <a:gd name="T90" fmla="*/ 45 w 411"/>
                  <a:gd name="T91" fmla="*/ 402 h 486"/>
                  <a:gd name="T92" fmla="*/ 48 w 411"/>
                  <a:gd name="T93" fmla="*/ 398 h 486"/>
                  <a:gd name="T94" fmla="*/ 68 w 411"/>
                  <a:gd name="T95" fmla="*/ 398 h 486"/>
                  <a:gd name="T96" fmla="*/ 75 w 411"/>
                  <a:gd name="T97" fmla="*/ 415 h 486"/>
                  <a:gd name="T98" fmla="*/ 71 w 411"/>
                  <a:gd name="T99" fmla="*/ 432 h 486"/>
                  <a:gd name="T100" fmla="*/ 77 w 411"/>
                  <a:gd name="T101" fmla="*/ 446 h 486"/>
                  <a:gd name="T102" fmla="*/ 89 w 411"/>
                  <a:gd name="T103" fmla="*/ 446 h 486"/>
                  <a:gd name="T104" fmla="*/ 71 w 411"/>
                  <a:gd name="T105" fmla="*/ 461 h 486"/>
                  <a:gd name="T106" fmla="*/ 81 w 411"/>
                  <a:gd name="T107" fmla="*/ 459 h 486"/>
                  <a:gd name="T108" fmla="*/ 93 w 411"/>
                  <a:gd name="T109" fmla="*/ 465 h 486"/>
                  <a:gd name="T110" fmla="*/ 104 w 411"/>
                  <a:gd name="T111" fmla="*/ 480 h 48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11"/>
                  <a:gd name="T169" fmla="*/ 0 h 486"/>
                  <a:gd name="T170" fmla="*/ 411 w 411"/>
                  <a:gd name="T171" fmla="*/ 486 h 48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11" h="486">
                    <a:moveTo>
                      <a:pt x="116" y="486"/>
                    </a:moveTo>
                    <a:lnTo>
                      <a:pt x="117" y="486"/>
                    </a:lnTo>
                    <a:lnTo>
                      <a:pt x="119" y="480"/>
                    </a:lnTo>
                    <a:lnTo>
                      <a:pt x="127" y="476"/>
                    </a:lnTo>
                    <a:lnTo>
                      <a:pt x="131" y="476"/>
                    </a:lnTo>
                    <a:lnTo>
                      <a:pt x="133" y="478"/>
                    </a:lnTo>
                    <a:lnTo>
                      <a:pt x="133" y="480"/>
                    </a:lnTo>
                    <a:lnTo>
                      <a:pt x="137" y="465"/>
                    </a:lnTo>
                    <a:lnTo>
                      <a:pt x="142" y="461"/>
                    </a:lnTo>
                    <a:lnTo>
                      <a:pt x="144" y="465"/>
                    </a:lnTo>
                    <a:lnTo>
                      <a:pt x="148" y="469"/>
                    </a:lnTo>
                    <a:lnTo>
                      <a:pt x="154" y="471"/>
                    </a:lnTo>
                    <a:lnTo>
                      <a:pt x="158" y="465"/>
                    </a:lnTo>
                    <a:lnTo>
                      <a:pt x="160" y="461"/>
                    </a:lnTo>
                    <a:lnTo>
                      <a:pt x="160" y="459"/>
                    </a:lnTo>
                    <a:lnTo>
                      <a:pt x="165" y="451"/>
                    </a:lnTo>
                    <a:lnTo>
                      <a:pt x="164" y="446"/>
                    </a:lnTo>
                    <a:lnTo>
                      <a:pt x="164" y="436"/>
                    </a:lnTo>
                    <a:lnTo>
                      <a:pt x="167" y="428"/>
                    </a:lnTo>
                    <a:lnTo>
                      <a:pt x="173" y="425"/>
                    </a:lnTo>
                    <a:lnTo>
                      <a:pt x="173" y="421"/>
                    </a:lnTo>
                    <a:lnTo>
                      <a:pt x="171" y="415"/>
                    </a:lnTo>
                    <a:lnTo>
                      <a:pt x="171" y="403"/>
                    </a:lnTo>
                    <a:lnTo>
                      <a:pt x="181" y="394"/>
                    </a:lnTo>
                    <a:lnTo>
                      <a:pt x="187" y="394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77"/>
                    </a:lnTo>
                    <a:lnTo>
                      <a:pt x="196" y="371"/>
                    </a:lnTo>
                    <a:lnTo>
                      <a:pt x="198" y="365"/>
                    </a:lnTo>
                    <a:lnTo>
                      <a:pt x="204" y="361"/>
                    </a:lnTo>
                    <a:lnTo>
                      <a:pt x="210" y="359"/>
                    </a:lnTo>
                    <a:lnTo>
                      <a:pt x="217" y="357"/>
                    </a:lnTo>
                    <a:lnTo>
                      <a:pt x="223" y="355"/>
                    </a:lnTo>
                    <a:lnTo>
                      <a:pt x="227" y="353"/>
                    </a:lnTo>
                    <a:lnTo>
                      <a:pt x="231" y="350"/>
                    </a:lnTo>
                    <a:lnTo>
                      <a:pt x="235" y="338"/>
                    </a:lnTo>
                    <a:lnTo>
                      <a:pt x="236" y="334"/>
                    </a:lnTo>
                    <a:lnTo>
                      <a:pt x="240" y="329"/>
                    </a:lnTo>
                    <a:lnTo>
                      <a:pt x="252" y="323"/>
                    </a:lnTo>
                    <a:lnTo>
                      <a:pt x="254" y="319"/>
                    </a:lnTo>
                    <a:lnTo>
                      <a:pt x="256" y="313"/>
                    </a:lnTo>
                    <a:lnTo>
                      <a:pt x="258" y="305"/>
                    </a:lnTo>
                    <a:lnTo>
                      <a:pt x="263" y="302"/>
                    </a:lnTo>
                    <a:lnTo>
                      <a:pt x="271" y="302"/>
                    </a:lnTo>
                    <a:lnTo>
                      <a:pt x="275" y="300"/>
                    </a:lnTo>
                    <a:lnTo>
                      <a:pt x="277" y="296"/>
                    </a:lnTo>
                    <a:lnTo>
                      <a:pt x="279" y="290"/>
                    </a:lnTo>
                    <a:lnTo>
                      <a:pt x="283" y="288"/>
                    </a:lnTo>
                    <a:lnTo>
                      <a:pt x="286" y="290"/>
                    </a:lnTo>
                    <a:lnTo>
                      <a:pt x="288" y="292"/>
                    </a:lnTo>
                    <a:lnTo>
                      <a:pt x="292" y="290"/>
                    </a:lnTo>
                    <a:lnTo>
                      <a:pt x="296" y="290"/>
                    </a:lnTo>
                    <a:lnTo>
                      <a:pt x="300" y="296"/>
                    </a:lnTo>
                    <a:lnTo>
                      <a:pt x="302" y="300"/>
                    </a:lnTo>
                    <a:lnTo>
                      <a:pt x="302" y="302"/>
                    </a:lnTo>
                    <a:lnTo>
                      <a:pt x="307" y="302"/>
                    </a:lnTo>
                    <a:lnTo>
                      <a:pt x="309" y="296"/>
                    </a:lnTo>
                    <a:lnTo>
                      <a:pt x="321" y="296"/>
                    </a:lnTo>
                    <a:lnTo>
                      <a:pt x="327" y="294"/>
                    </a:lnTo>
                    <a:lnTo>
                      <a:pt x="332" y="290"/>
                    </a:lnTo>
                    <a:lnTo>
                      <a:pt x="342" y="290"/>
                    </a:lnTo>
                    <a:lnTo>
                      <a:pt x="352" y="288"/>
                    </a:lnTo>
                    <a:lnTo>
                      <a:pt x="363" y="284"/>
                    </a:lnTo>
                    <a:lnTo>
                      <a:pt x="377" y="280"/>
                    </a:lnTo>
                    <a:lnTo>
                      <a:pt x="384" y="277"/>
                    </a:lnTo>
                    <a:lnTo>
                      <a:pt x="400" y="277"/>
                    </a:lnTo>
                    <a:lnTo>
                      <a:pt x="402" y="275"/>
                    </a:lnTo>
                    <a:lnTo>
                      <a:pt x="402" y="269"/>
                    </a:lnTo>
                    <a:lnTo>
                      <a:pt x="403" y="263"/>
                    </a:lnTo>
                    <a:lnTo>
                      <a:pt x="403" y="257"/>
                    </a:lnTo>
                    <a:lnTo>
                      <a:pt x="411" y="252"/>
                    </a:lnTo>
                    <a:lnTo>
                      <a:pt x="409" y="179"/>
                    </a:lnTo>
                    <a:lnTo>
                      <a:pt x="402" y="181"/>
                    </a:lnTo>
                    <a:lnTo>
                      <a:pt x="388" y="184"/>
                    </a:lnTo>
                    <a:lnTo>
                      <a:pt x="382" y="184"/>
                    </a:lnTo>
                    <a:lnTo>
                      <a:pt x="382" y="181"/>
                    </a:lnTo>
                    <a:lnTo>
                      <a:pt x="384" y="175"/>
                    </a:lnTo>
                    <a:lnTo>
                      <a:pt x="382" y="169"/>
                    </a:lnTo>
                    <a:lnTo>
                      <a:pt x="380" y="165"/>
                    </a:lnTo>
                    <a:lnTo>
                      <a:pt x="380" y="148"/>
                    </a:lnTo>
                    <a:lnTo>
                      <a:pt x="379" y="144"/>
                    </a:lnTo>
                    <a:lnTo>
                      <a:pt x="373" y="142"/>
                    </a:lnTo>
                    <a:lnTo>
                      <a:pt x="367" y="138"/>
                    </a:lnTo>
                    <a:lnTo>
                      <a:pt x="361" y="136"/>
                    </a:lnTo>
                    <a:lnTo>
                      <a:pt x="354" y="132"/>
                    </a:lnTo>
                    <a:lnTo>
                      <a:pt x="350" y="127"/>
                    </a:lnTo>
                    <a:lnTo>
                      <a:pt x="348" y="121"/>
                    </a:lnTo>
                    <a:lnTo>
                      <a:pt x="348" y="119"/>
                    </a:lnTo>
                    <a:lnTo>
                      <a:pt x="190" y="0"/>
                    </a:lnTo>
                    <a:lnTo>
                      <a:pt x="144" y="2"/>
                    </a:lnTo>
                    <a:lnTo>
                      <a:pt x="160" y="255"/>
                    </a:lnTo>
                    <a:lnTo>
                      <a:pt x="164" y="255"/>
                    </a:lnTo>
                    <a:lnTo>
                      <a:pt x="167" y="257"/>
                    </a:lnTo>
                    <a:lnTo>
                      <a:pt x="167" y="265"/>
                    </a:lnTo>
                    <a:lnTo>
                      <a:pt x="165" y="273"/>
                    </a:lnTo>
                    <a:lnTo>
                      <a:pt x="164" y="279"/>
                    </a:lnTo>
                    <a:lnTo>
                      <a:pt x="162" y="280"/>
                    </a:lnTo>
                    <a:lnTo>
                      <a:pt x="69" y="280"/>
                    </a:lnTo>
                    <a:lnTo>
                      <a:pt x="69" y="279"/>
                    </a:lnTo>
                    <a:lnTo>
                      <a:pt x="66" y="275"/>
                    </a:lnTo>
                    <a:lnTo>
                      <a:pt x="62" y="275"/>
                    </a:lnTo>
                    <a:lnTo>
                      <a:pt x="58" y="277"/>
                    </a:lnTo>
                    <a:lnTo>
                      <a:pt x="56" y="280"/>
                    </a:lnTo>
                    <a:lnTo>
                      <a:pt x="60" y="286"/>
                    </a:lnTo>
                    <a:lnTo>
                      <a:pt x="58" y="290"/>
                    </a:lnTo>
                    <a:lnTo>
                      <a:pt x="54" y="292"/>
                    </a:lnTo>
                    <a:lnTo>
                      <a:pt x="50" y="292"/>
                    </a:lnTo>
                    <a:lnTo>
                      <a:pt x="45" y="294"/>
                    </a:lnTo>
                    <a:lnTo>
                      <a:pt x="39" y="292"/>
                    </a:lnTo>
                    <a:lnTo>
                      <a:pt x="31" y="290"/>
                    </a:lnTo>
                    <a:lnTo>
                      <a:pt x="25" y="288"/>
                    </a:lnTo>
                    <a:lnTo>
                      <a:pt x="18" y="288"/>
                    </a:lnTo>
                    <a:lnTo>
                      <a:pt x="18" y="292"/>
                    </a:lnTo>
                    <a:lnTo>
                      <a:pt x="16" y="298"/>
                    </a:lnTo>
                    <a:lnTo>
                      <a:pt x="16" y="309"/>
                    </a:lnTo>
                    <a:lnTo>
                      <a:pt x="14" y="315"/>
                    </a:lnTo>
                    <a:lnTo>
                      <a:pt x="8" y="317"/>
                    </a:lnTo>
                    <a:lnTo>
                      <a:pt x="4" y="317"/>
                    </a:lnTo>
                    <a:lnTo>
                      <a:pt x="2" y="321"/>
                    </a:lnTo>
                    <a:lnTo>
                      <a:pt x="2" y="329"/>
                    </a:lnTo>
                    <a:lnTo>
                      <a:pt x="4" y="332"/>
                    </a:lnTo>
                    <a:lnTo>
                      <a:pt x="6" y="338"/>
                    </a:lnTo>
                    <a:lnTo>
                      <a:pt x="2" y="348"/>
                    </a:lnTo>
                    <a:lnTo>
                      <a:pt x="0" y="353"/>
                    </a:lnTo>
                    <a:lnTo>
                      <a:pt x="0" y="355"/>
                    </a:lnTo>
                    <a:lnTo>
                      <a:pt x="4" y="363"/>
                    </a:lnTo>
                    <a:lnTo>
                      <a:pt x="14" y="373"/>
                    </a:lnTo>
                    <a:lnTo>
                      <a:pt x="14" y="388"/>
                    </a:lnTo>
                    <a:lnTo>
                      <a:pt x="16" y="392"/>
                    </a:lnTo>
                    <a:lnTo>
                      <a:pt x="16" y="403"/>
                    </a:lnTo>
                    <a:lnTo>
                      <a:pt x="22" y="403"/>
                    </a:lnTo>
                    <a:lnTo>
                      <a:pt x="23" y="402"/>
                    </a:lnTo>
                    <a:lnTo>
                      <a:pt x="31" y="398"/>
                    </a:lnTo>
                    <a:lnTo>
                      <a:pt x="35" y="402"/>
                    </a:lnTo>
                    <a:lnTo>
                      <a:pt x="39" y="403"/>
                    </a:lnTo>
                    <a:lnTo>
                      <a:pt x="41" y="403"/>
                    </a:lnTo>
                    <a:lnTo>
                      <a:pt x="45" y="402"/>
                    </a:lnTo>
                    <a:lnTo>
                      <a:pt x="46" y="398"/>
                    </a:lnTo>
                    <a:lnTo>
                      <a:pt x="48" y="396"/>
                    </a:lnTo>
                    <a:lnTo>
                      <a:pt x="48" y="398"/>
                    </a:lnTo>
                    <a:lnTo>
                      <a:pt x="54" y="400"/>
                    </a:lnTo>
                    <a:lnTo>
                      <a:pt x="62" y="400"/>
                    </a:lnTo>
                    <a:lnTo>
                      <a:pt x="68" y="398"/>
                    </a:lnTo>
                    <a:lnTo>
                      <a:pt x="71" y="402"/>
                    </a:lnTo>
                    <a:lnTo>
                      <a:pt x="71" y="403"/>
                    </a:lnTo>
                    <a:lnTo>
                      <a:pt x="75" y="415"/>
                    </a:lnTo>
                    <a:lnTo>
                      <a:pt x="73" y="423"/>
                    </a:lnTo>
                    <a:lnTo>
                      <a:pt x="69" y="428"/>
                    </a:lnTo>
                    <a:lnTo>
                      <a:pt x="71" y="432"/>
                    </a:lnTo>
                    <a:lnTo>
                      <a:pt x="75" y="434"/>
                    </a:lnTo>
                    <a:lnTo>
                      <a:pt x="77" y="440"/>
                    </a:lnTo>
                    <a:lnTo>
                      <a:pt x="77" y="446"/>
                    </a:lnTo>
                    <a:lnTo>
                      <a:pt x="81" y="448"/>
                    </a:lnTo>
                    <a:lnTo>
                      <a:pt x="85" y="448"/>
                    </a:lnTo>
                    <a:lnTo>
                      <a:pt x="89" y="446"/>
                    </a:lnTo>
                    <a:lnTo>
                      <a:pt x="69" y="457"/>
                    </a:lnTo>
                    <a:lnTo>
                      <a:pt x="69" y="459"/>
                    </a:lnTo>
                    <a:lnTo>
                      <a:pt x="71" y="461"/>
                    </a:lnTo>
                    <a:lnTo>
                      <a:pt x="75" y="463"/>
                    </a:lnTo>
                    <a:lnTo>
                      <a:pt x="79" y="461"/>
                    </a:lnTo>
                    <a:lnTo>
                      <a:pt x="81" y="459"/>
                    </a:lnTo>
                    <a:lnTo>
                      <a:pt x="85" y="463"/>
                    </a:lnTo>
                    <a:lnTo>
                      <a:pt x="89" y="465"/>
                    </a:lnTo>
                    <a:lnTo>
                      <a:pt x="93" y="465"/>
                    </a:lnTo>
                    <a:lnTo>
                      <a:pt x="96" y="469"/>
                    </a:lnTo>
                    <a:lnTo>
                      <a:pt x="100" y="476"/>
                    </a:lnTo>
                    <a:lnTo>
                      <a:pt x="104" y="480"/>
                    </a:lnTo>
                    <a:lnTo>
                      <a:pt x="116" y="48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8" name="Freeform 136"/>
              <p:cNvSpPr>
                <a:spLocks/>
              </p:cNvSpPr>
              <p:nvPr/>
            </p:nvSpPr>
            <p:spPr bwMode="gray">
              <a:xfrm>
                <a:off x="4281" y="2686"/>
                <a:ext cx="46" cy="70"/>
              </a:xfrm>
              <a:custGeom>
                <a:avLst/>
                <a:gdLst>
                  <a:gd name="T0" fmla="*/ 66 w 93"/>
                  <a:gd name="T1" fmla="*/ 140 h 140"/>
                  <a:gd name="T2" fmla="*/ 77 w 93"/>
                  <a:gd name="T3" fmla="*/ 132 h 140"/>
                  <a:gd name="T4" fmla="*/ 93 w 93"/>
                  <a:gd name="T5" fmla="*/ 136 h 140"/>
                  <a:gd name="T6" fmla="*/ 87 w 93"/>
                  <a:gd name="T7" fmla="*/ 107 h 140"/>
                  <a:gd name="T8" fmla="*/ 79 w 93"/>
                  <a:gd name="T9" fmla="*/ 107 h 140"/>
                  <a:gd name="T10" fmla="*/ 77 w 93"/>
                  <a:gd name="T11" fmla="*/ 98 h 140"/>
                  <a:gd name="T12" fmla="*/ 75 w 93"/>
                  <a:gd name="T13" fmla="*/ 86 h 140"/>
                  <a:gd name="T14" fmla="*/ 75 w 93"/>
                  <a:gd name="T15" fmla="*/ 76 h 140"/>
                  <a:gd name="T16" fmla="*/ 79 w 93"/>
                  <a:gd name="T17" fmla="*/ 76 h 140"/>
                  <a:gd name="T18" fmla="*/ 75 w 93"/>
                  <a:gd name="T19" fmla="*/ 51 h 140"/>
                  <a:gd name="T20" fmla="*/ 69 w 93"/>
                  <a:gd name="T21" fmla="*/ 30 h 140"/>
                  <a:gd name="T22" fmla="*/ 60 w 93"/>
                  <a:gd name="T23" fmla="*/ 11 h 140"/>
                  <a:gd name="T24" fmla="*/ 52 w 93"/>
                  <a:gd name="T25" fmla="*/ 7 h 140"/>
                  <a:gd name="T26" fmla="*/ 46 w 93"/>
                  <a:gd name="T27" fmla="*/ 3 h 140"/>
                  <a:gd name="T28" fmla="*/ 39 w 93"/>
                  <a:gd name="T29" fmla="*/ 0 h 140"/>
                  <a:gd name="T30" fmla="*/ 39 w 93"/>
                  <a:gd name="T31" fmla="*/ 9 h 140"/>
                  <a:gd name="T32" fmla="*/ 37 w 93"/>
                  <a:gd name="T33" fmla="*/ 19 h 140"/>
                  <a:gd name="T34" fmla="*/ 29 w 93"/>
                  <a:gd name="T35" fmla="*/ 19 h 140"/>
                  <a:gd name="T36" fmla="*/ 27 w 93"/>
                  <a:gd name="T37" fmla="*/ 25 h 140"/>
                  <a:gd name="T38" fmla="*/ 20 w 93"/>
                  <a:gd name="T39" fmla="*/ 26 h 140"/>
                  <a:gd name="T40" fmla="*/ 20 w 93"/>
                  <a:gd name="T41" fmla="*/ 13 h 140"/>
                  <a:gd name="T42" fmla="*/ 8 w 93"/>
                  <a:gd name="T43" fmla="*/ 5 h 140"/>
                  <a:gd name="T44" fmla="*/ 0 w 93"/>
                  <a:gd name="T45" fmla="*/ 7 h 140"/>
                  <a:gd name="T46" fmla="*/ 0 w 93"/>
                  <a:gd name="T47" fmla="*/ 32 h 140"/>
                  <a:gd name="T48" fmla="*/ 2 w 93"/>
                  <a:gd name="T49" fmla="*/ 46 h 140"/>
                  <a:gd name="T50" fmla="*/ 4 w 93"/>
                  <a:gd name="T51" fmla="*/ 46 h 140"/>
                  <a:gd name="T52" fmla="*/ 6 w 93"/>
                  <a:gd name="T53" fmla="*/ 57 h 140"/>
                  <a:gd name="T54" fmla="*/ 10 w 93"/>
                  <a:gd name="T55" fmla="*/ 73 h 140"/>
                  <a:gd name="T56" fmla="*/ 12 w 93"/>
                  <a:gd name="T57" fmla="*/ 84 h 140"/>
                  <a:gd name="T58" fmla="*/ 16 w 93"/>
                  <a:gd name="T59" fmla="*/ 86 h 140"/>
                  <a:gd name="T60" fmla="*/ 21 w 93"/>
                  <a:gd name="T61" fmla="*/ 90 h 140"/>
                  <a:gd name="T62" fmla="*/ 25 w 93"/>
                  <a:gd name="T63" fmla="*/ 96 h 140"/>
                  <a:gd name="T64" fmla="*/ 25 w 93"/>
                  <a:gd name="T65" fmla="*/ 99 h 140"/>
                  <a:gd name="T66" fmla="*/ 23 w 93"/>
                  <a:gd name="T67" fmla="*/ 105 h 140"/>
                  <a:gd name="T68" fmla="*/ 25 w 93"/>
                  <a:gd name="T69" fmla="*/ 111 h 140"/>
                  <a:gd name="T70" fmla="*/ 29 w 93"/>
                  <a:gd name="T71" fmla="*/ 113 h 140"/>
                  <a:gd name="T72" fmla="*/ 35 w 93"/>
                  <a:gd name="T73" fmla="*/ 115 h 140"/>
                  <a:gd name="T74" fmla="*/ 39 w 93"/>
                  <a:gd name="T75" fmla="*/ 119 h 140"/>
                  <a:gd name="T76" fmla="*/ 50 w 93"/>
                  <a:gd name="T77" fmla="*/ 128 h 140"/>
                  <a:gd name="T78" fmla="*/ 58 w 93"/>
                  <a:gd name="T79" fmla="*/ 136 h 140"/>
                  <a:gd name="T80" fmla="*/ 66 w 93"/>
                  <a:gd name="T81" fmla="*/ 140 h 14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93"/>
                  <a:gd name="T124" fmla="*/ 0 h 140"/>
                  <a:gd name="T125" fmla="*/ 93 w 93"/>
                  <a:gd name="T126" fmla="*/ 140 h 14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93" h="140">
                    <a:moveTo>
                      <a:pt x="66" y="140"/>
                    </a:moveTo>
                    <a:lnTo>
                      <a:pt x="77" y="132"/>
                    </a:lnTo>
                    <a:lnTo>
                      <a:pt x="93" y="136"/>
                    </a:lnTo>
                    <a:lnTo>
                      <a:pt x="87" y="107"/>
                    </a:lnTo>
                    <a:lnTo>
                      <a:pt x="79" y="107"/>
                    </a:lnTo>
                    <a:lnTo>
                      <a:pt x="77" y="98"/>
                    </a:lnTo>
                    <a:lnTo>
                      <a:pt x="75" y="86"/>
                    </a:lnTo>
                    <a:lnTo>
                      <a:pt x="75" y="76"/>
                    </a:lnTo>
                    <a:lnTo>
                      <a:pt x="79" y="76"/>
                    </a:lnTo>
                    <a:lnTo>
                      <a:pt x="75" y="51"/>
                    </a:lnTo>
                    <a:lnTo>
                      <a:pt x="69" y="30"/>
                    </a:lnTo>
                    <a:lnTo>
                      <a:pt x="60" y="11"/>
                    </a:lnTo>
                    <a:lnTo>
                      <a:pt x="52" y="7"/>
                    </a:lnTo>
                    <a:lnTo>
                      <a:pt x="46" y="3"/>
                    </a:lnTo>
                    <a:lnTo>
                      <a:pt x="39" y="0"/>
                    </a:lnTo>
                    <a:lnTo>
                      <a:pt x="39" y="9"/>
                    </a:lnTo>
                    <a:lnTo>
                      <a:pt x="37" y="19"/>
                    </a:lnTo>
                    <a:lnTo>
                      <a:pt x="29" y="19"/>
                    </a:lnTo>
                    <a:lnTo>
                      <a:pt x="27" y="25"/>
                    </a:lnTo>
                    <a:lnTo>
                      <a:pt x="20" y="26"/>
                    </a:lnTo>
                    <a:lnTo>
                      <a:pt x="20" y="13"/>
                    </a:lnTo>
                    <a:lnTo>
                      <a:pt x="8" y="5"/>
                    </a:lnTo>
                    <a:lnTo>
                      <a:pt x="0" y="7"/>
                    </a:lnTo>
                    <a:lnTo>
                      <a:pt x="0" y="32"/>
                    </a:lnTo>
                    <a:lnTo>
                      <a:pt x="2" y="46"/>
                    </a:lnTo>
                    <a:lnTo>
                      <a:pt x="4" y="46"/>
                    </a:lnTo>
                    <a:lnTo>
                      <a:pt x="6" y="57"/>
                    </a:lnTo>
                    <a:lnTo>
                      <a:pt x="10" y="73"/>
                    </a:lnTo>
                    <a:lnTo>
                      <a:pt x="12" y="84"/>
                    </a:lnTo>
                    <a:lnTo>
                      <a:pt x="16" y="86"/>
                    </a:lnTo>
                    <a:lnTo>
                      <a:pt x="21" y="90"/>
                    </a:lnTo>
                    <a:lnTo>
                      <a:pt x="25" y="96"/>
                    </a:lnTo>
                    <a:lnTo>
                      <a:pt x="25" y="99"/>
                    </a:lnTo>
                    <a:lnTo>
                      <a:pt x="23" y="105"/>
                    </a:lnTo>
                    <a:lnTo>
                      <a:pt x="25" y="111"/>
                    </a:lnTo>
                    <a:lnTo>
                      <a:pt x="29" y="113"/>
                    </a:lnTo>
                    <a:lnTo>
                      <a:pt x="35" y="115"/>
                    </a:lnTo>
                    <a:lnTo>
                      <a:pt x="39" y="119"/>
                    </a:lnTo>
                    <a:lnTo>
                      <a:pt x="50" y="128"/>
                    </a:lnTo>
                    <a:lnTo>
                      <a:pt x="58" y="136"/>
                    </a:lnTo>
                    <a:lnTo>
                      <a:pt x="66" y="14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49" name="Freeform 137"/>
              <p:cNvSpPr>
                <a:spLocks/>
              </p:cNvSpPr>
              <p:nvPr/>
            </p:nvSpPr>
            <p:spPr bwMode="gray">
              <a:xfrm>
                <a:off x="4395" y="2677"/>
                <a:ext cx="117" cy="92"/>
              </a:xfrm>
              <a:custGeom>
                <a:avLst/>
                <a:gdLst>
                  <a:gd name="T0" fmla="*/ 149 w 232"/>
                  <a:gd name="T1" fmla="*/ 81 h 185"/>
                  <a:gd name="T2" fmla="*/ 138 w 232"/>
                  <a:gd name="T3" fmla="*/ 79 h 185"/>
                  <a:gd name="T4" fmla="*/ 132 w 232"/>
                  <a:gd name="T5" fmla="*/ 89 h 185"/>
                  <a:gd name="T6" fmla="*/ 115 w 232"/>
                  <a:gd name="T7" fmla="*/ 81 h 185"/>
                  <a:gd name="T8" fmla="*/ 109 w 232"/>
                  <a:gd name="T9" fmla="*/ 79 h 185"/>
                  <a:gd name="T10" fmla="*/ 86 w 232"/>
                  <a:gd name="T11" fmla="*/ 123 h 185"/>
                  <a:gd name="T12" fmla="*/ 46 w 232"/>
                  <a:gd name="T13" fmla="*/ 133 h 185"/>
                  <a:gd name="T14" fmla="*/ 38 w 232"/>
                  <a:gd name="T15" fmla="*/ 168 h 185"/>
                  <a:gd name="T16" fmla="*/ 13 w 232"/>
                  <a:gd name="T17" fmla="*/ 156 h 185"/>
                  <a:gd name="T18" fmla="*/ 0 w 232"/>
                  <a:gd name="T19" fmla="*/ 162 h 185"/>
                  <a:gd name="T20" fmla="*/ 13 w 232"/>
                  <a:gd name="T21" fmla="*/ 179 h 185"/>
                  <a:gd name="T22" fmla="*/ 32 w 232"/>
                  <a:gd name="T23" fmla="*/ 185 h 185"/>
                  <a:gd name="T24" fmla="*/ 65 w 232"/>
                  <a:gd name="T25" fmla="*/ 173 h 185"/>
                  <a:gd name="T26" fmla="*/ 84 w 232"/>
                  <a:gd name="T27" fmla="*/ 175 h 185"/>
                  <a:gd name="T28" fmla="*/ 109 w 232"/>
                  <a:gd name="T29" fmla="*/ 169 h 185"/>
                  <a:gd name="T30" fmla="*/ 117 w 232"/>
                  <a:gd name="T31" fmla="*/ 150 h 185"/>
                  <a:gd name="T32" fmla="*/ 126 w 232"/>
                  <a:gd name="T33" fmla="*/ 137 h 185"/>
                  <a:gd name="T34" fmla="*/ 136 w 232"/>
                  <a:gd name="T35" fmla="*/ 121 h 185"/>
                  <a:gd name="T36" fmla="*/ 146 w 232"/>
                  <a:gd name="T37" fmla="*/ 98 h 185"/>
                  <a:gd name="T38" fmla="*/ 167 w 232"/>
                  <a:gd name="T39" fmla="*/ 93 h 185"/>
                  <a:gd name="T40" fmla="*/ 184 w 232"/>
                  <a:gd name="T41" fmla="*/ 89 h 185"/>
                  <a:gd name="T42" fmla="*/ 199 w 232"/>
                  <a:gd name="T43" fmla="*/ 87 h 185"/>
                  <a:gd name="T44" fmla="*/ 211 w 232"/>
                  <a:gd name="T45" fmla="*/ 73 h 185"/>
                  <a:gd name="T46" fmla="*/ 209 w 232"/>
                  <a:gd name="T47" fmla="*/ 62 h 185"/>
                  <a:gd name="T48" fmla="*/ 219 w 232"/>
                  <a:gd name="T49" fmla="*/ 66 h 185"/>
                  <a:gd name="T50" fmla="*/ 232 w 232"/>
                  <a:gd name="T51" fmla="*/ 58 h 185"/>
                  <a:gd name="T52" fmla="*/ 224 w 232"/>
                  <a:gd name="T53" fmla="*/ 45 h 185"/>
                  <a:gd name="T54" fmla="*/ 213 w 232"/>
                  <a:gd name="T55" fmla="*/ 35 h 185"/>
                  <a:gd name="T56" fmla="*/ 199 w 232"/>
                  <a:gd name="T57" fmla="*/ 31 h 185"/>
                  <a:gd name="T58" fmla="*/ 201 w 232"/>
                  <a:gd name="T59" fmla="*/ 21 h 185"/>
                  <a:gd name="T60" fmla="*/ 194 w 232"/>
                  <a:gd name="T61" fmla="*/ 10 h 185"/>
                  <a:gd name="T62" fmla="*/ 171 w 232"/>
                  <a:gd name="T63" fmla="*/ 0 h 185"/>
                  <a:gd name="T64" fmla="*/ 171 w 232"/>
                  <a:gd name="T65" fmla="*/ 10 h 185"/>
                  <a:gd name="T66" fmla="*/ 163 w 232"/>
                  <a:gd name="T67" fmla="*/ 20 h 185"/>
                  <a:gd name="T68" fmla="*/ 146 w 232"/>
                  <a:gd name="T69" fmla="*/ 48 h 185"/>
                  <a:gd name="T70" fmla="*/ 144 w 232"/>
                  <a:gd name="T71" fmla="*/ 66 h 18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32"/>
                  <a:gd name="T109" fmla="*/ 0 h 185"/>
                  <a:gd name="T110" fmla="*/ 232 w 232"/>
                  <a:gd name="T111" fmla="*/ 185 h 18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32" h="185">
                    <a:moveTo>
                      <a:pt x="144" y="66"/>
                    </a:moveTo>
                    <a:lnTo>
                      <a:pt x="149" y="81"/>
                    </a:lnTo>
                    <a:lnTo>
                      <a:pt x="144" y="83"/>
                    </a:lnTo>
                    <a:lnTo>
                      <a:pt x="138" y="79"/>
                    </a:lnTo>
                    <a:lnTo>
                      <a:pt x="134" y="85"/>
                    </a:lnTo>
                    <a:lnTo>
                      <a:pt x="132" y="89"/>
                    </a:lnTo>
                    <a:lnTo>
                      <a:pt x="125" y="91"/>
                    </a:lnTo>
                    <a:lnTo>
                      <a:pt x="115" y="81"/>
                    </a:lnTo>
                    <a:lnTo>
                      <a:pt x="113" y="81"/>
                    </a:lnTo>
                    <a:lnTo>
                      <a:pt x="109" y="79"/>
                    </a:lnTo>
                    <a:lnTo>
                      <a:pt x="102" y="93"/>
                    </a:lnTo>
                    <a:lnTo>
                      <a:pt x="86" y="123"/>
                    </a:lnTo>
                    <a:lnTo>
                      <a:pt x="65" y="123"/>
                    </a:lnTo>
                    <a:lnTo>
                      <a:pt x="46" y="133"/>
                    </a:lnTo>
                    <a:lnTo>
                      <a:pt x="40" y="150"/>
                    </a:lnTo>
                    <a:lnTo>
                      <a:pt x="38" y="168"/>
                    </a:lnTo>
                    <a:lnTo>
                      <a:pt x="25" y="162"/>
                    </a:lnTo>
                    <a:lnTo>
                      <a:pt x="13" y="156"/>
                    </a:lnTo>
                    <a:lnTo>
                      <a:pt x="0" y="150"/>
                    </a:lnTo>
                    <a:lnTo>
                      <a:pt x="0" y="162"/>
                    </a:lnTo>
                    <a:lnTo>
                      <a:pt x="4" y="175"/>
                    </a:lnTo>
                    <a:lnTo>
                      <a:pt x="13" y="179"/>
                    </a:lnTo>
                    <a:lnTo>
                      <a:pt x="21" y="183"/>
                    </a:lnTo>
                    <a:lnTo>
                      <a:pt x="32" y="185"/>
                    </a:lnTo>
                    <a:lnTo>
                      <a:pt x="59" y="181"/>
                    </a:lnTo>
                    <a:lnTo>
                      <a:pt x="65" y="173"/>
                    </a:lnTo>
                    <a:lnTo>
                      <a:pt x="78" y="171"/>
                    </a:lnTo>
                    <a:lnTo>
                      <a:pt x="84" y="175"/>
                    </a:lnTo>
                    <a:lnTo>
                      <a:pt x="98" y="175"/>
                    </a:lnTo>
                    <a:lnTo>
                      <a:pt x="109" y="169"/>
                    </a:lnTo>
                    <a:lnTo>
                      <a:pt x="113" y="162"/>
                    </a:lnTo>
                    <a:lnTo>
                      <a:pt x="117" y="150"/>
                    </a:lnTo>
                    <a:lnTo>
                      <a:pt x="119" y="141"/>
                    </a:lnTo>
                    <a:lnTo>
                      <a:pt x="126" y="137"/>
                    </a:lnTo>
                    <a:lnTo>
                      <a:pt x="130" y="129"/>
                    </a:lnTo>
                    <a:lnTo>
                      <a:pt x="136" y="121"/>
                    </a:lnTo>
                    <a:lnTo>
                      <a:pt x="142" y="116"/>
                    </a:lnTo>
                    <a:lnTo>
                      <a:pt x="146" y="98"/>
                    </a:lnTo>
                    <a:lnTo>
                      <a:pt x="151" y="89"/>
                    </a:lnTo>
                    <a:lnTo>
                      <a:pt x="167" y="93"/>
                    </a:lnTo>
                    <a:lnTo>
                      <a:pt x="186" y="91"/>
                    </a:lnTo>
                    <a:lnTo>
                      <a:pt x="184" y="89"/>
                    </a:lnTo>
                    <a:lnTo>
                      <a:pt x="192" y="87"/>
                    </a:lnTo>
                    <a:lnTo>
                      <a:pt x="199" y="87"/>
                    </a:lnTo>
                    <a:lnTo>
                      <a:pt x="205" y="85"/>
                    </a:lnTo>
                    <a:lnTo>
                      <a:pt x="211" y="73"/>
                    </a:lnTo>
                    <a:lnTo>
                      <a:pt x="209" y="66"/>
                    </a:lnTo>
                    <a:lnTo>
                      <a:pt x="209" y="62"/>
                    </a:lnTo>
                    <a:lnTo>
                      <a:pt x="211" y="62"/>
                    </a:lnTo>
                    <a:lnTo>
                      <a:pt x="219" y="66"/>
                    </a:lnTo>
                    <a:lnTo>
                      <a:pt x="226" y="58"/>
                    </a:lnTo>
                    <a:lnTo>
                      <a:pt x="232" y="58"/>
                    </a:lnTo>
                    <a:lnTo>
                      <a:pt x="226" y="52"/>
                    </a:lnTo>
                    <a:lnTo>
                      <a:pt x="224" y="45"/>
                    </a:lnTo>
                    <a:lnTo>
                      <a:pt x="219" y="39"/>
                    </a:lnTo>
                    <a:lnTo>
                      <a:pt x="213" y="35"/>
                    </a:lnTo>
                    <a:lnTo>
                      <a:pt x="205" y="33"/>
                    </a:lnTo>
                    <a:lnTo>
                      <a:pt x="199" y="31"/>
                    </a:lnTo>
                    <a:lnTo>
                      <a:pt x="199" y="25"/>
                    </a:lnTo>
                    <a:lnTo>
                      <a:pt x="201" y="21"/>
                    </a:lnTo>
                    <a:lnTo>
                      <a:pt x="205" y="20"/>
                    </a:lnTo>
                    <a:lnTo>
                      <a:pt x="194" y="10"/>
                    </a:lnTo>
                    <a:lnTo>
                      <a:pt x="184" y="4"/>
                    </a:lnTo>
                    <a:lnTo>
                      <a:pt x="171" y="0"/>
                    </a:lnTo>
                    <a:lnTo>
                      <a:pt x="169" y="4"/>
                    </a:lnTo>
                    <a:lnTo>
                      <a:pt x="171" y="10"/>
                    </a:lnTo>
                    <a:lnTo>
                      <a:pt x="171" y="16"/>
                    </a:lnTo>
                    <a:lnTo>
                      <a:pt x="163" y="20"/>
                    </a:lnTo>
                    <a:lnTo>
                      <a:pt x="151" y="35"/>
                    </a:lnTo>
                    <a:lnTo>
                      <a:pt x="146" y="48"/>
                    </a:lnTo>
                    <a:lnTo>
                      <a:pt x="146" y="66"/>
                    </a:lnTo>
                    <a:lnTo>
                      <a:pt x="144" y="6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0" name="Freeform 138"/>
              <p:cNvSpPr>
                <a:spLocks/>
              </p:cNvSpPr>
              <p:nvPr/>
            </p:nvSpPr>
            <p:spPr bwMode="gray">
              <a:xfrm>
                <a:off x="3433" y="2927"/>
                <a:ext cx="41" cy="120"/>
              </a:xfrm>
              <a:custGeom>
                <a:avLst/>
                <a:gdLst>
                  <a:gd name="T0" fmla="*/ 53 w 82"/>
                  <a:gd name="T1" fmla="*/ 144 h 238"/>
                  <a:gd name="T2" fmla="*/ 44 w 82"/>
                  <a:gd name="T3" fmla="*/ 142 h 238"/>
                  <a:gd name="T4" fmla="*/ 46 w 82"/>
                  <a:gd name="T5" fmla="*/ 136 h 238"/>
                  <a:gd name="T6" fmla="*/ 40 w 82"/>
                  <a:gd name="T7" fmla="*/ 123 h 238"/>
                  <a:gd name="T8" fmla="*/ 38 w 82"/>
                  <a:gd name="T9" fmla="*/ 100 h 238"/>
                  <a:gd name="T10" fmla="*/ 36 w 82"/>
                  <a:gd name="T11" fmla="*/ 90 h 238"/>
                  <a:gd name="T12" fmla="*/ 40 w 82"/>
                  <a:gd name="T13" fmla="*/ 88 h 238"/>
                  <a:gd name="T14" fmla="*/ 32 w 82"/>
                  <a:gd name="T15" fmla="*/ 73 h 238"/>
                  <a:gd name="T16" fmla="*/ 42 w 82"/>
                  <a:gd name="T17" fmla="*/ 44 h 238"/>
                  <a:gd name="T18" fmla="*/ 36 w 82"/>
                  <a:gd name="T19" fmla="*/ 11 h 238"/>
                  <a:gd name="T20" fmla="*/ 32 w 82"/>
                  <a:gd name="T21" fmla="*/ 8 h 238"/>
                  <a:gd name="T22" fmla="*/ 15 w 82"/>
                  <a:gd name="T23" fmla="*/ 0 h 238"/>
                  <a:gd name="T24" fmla="*/ 19 w 82"/>
                  <a:gd name="T25" fmla="*/ 8 h 238"/>
                  <a:gd name="T26" fmla="*/ 25 w 82"/>
                  <a:gd name="T27" fmla="*/ 17 h 238"/>
                  <a:gd name="T28" fmla="*/ 27 w 82"/>
                  <a:gd name="T29" fmla="*/ 33 h 238"/>
                  <a:gd name="T30" fmla="*/ 25 w 82"/>
                  <a:gd name="T31" fmla="*/ 40 h 238"/>
                  <a:gd name="T32" fmla="*/ 13 w 82"/>
                  <a:gd name="T33" fmla="*/ 54 h 238"/>
                  <a:gd name="T34" fmla="*/ 15 w 82"/>
                  <a:gd name="T35" fmla="*/ 69 h 238"/>
                  <a:gd name="T36" fmla="*/ 15 w 82"/>
                  <a:gd name="T37" fmla="*/ 79 h 238"/>
                  <a:gd name="T38" fmla="*/ 21 w 82"/>
                  <a:gd name="T39" fmla="*/ 83 h 238"/>
                  <a:gd name="T40" fmla="*/ 13 w 82"/>
                  <a:gd name="T41" fmla="*/ 94 h 238"/>
                  <a:gd name="T42" fmla="*/ 2 w 82"/>
                  <a:gd name="T43" fmla="*/ 104 h 238"/>
                  <a:gd name="T44" fmla="*/ 4 w 82"/>
                  <a:gd name="T45" fmla="*/ 119 h 238"/>
                  <a:gd name="T46" fmla="*/ 0 w 82"/>
                  <a:gd name="T47" fmla="*/ 131 h 238"/>
                  <a:gd name="T48" fmla="*/ 2 w 82"/>
                  <a:gd name="T49" fmla="*/ 142 h 238"/>
                  <a:gd name="T50" fmla="*/ 4 w 82"/>
                  <a:gd name="T51" fmla="*/ 152 h 238"/>
                  <a:gd name="T52" fmla="*/ 11 w 82"/>
                  <a:gd name="T53" fmla="*/ 156 h 238"/>
                  <a:gd name="T54" fmla="*/ 15 w 82"/>
                  <a:gd name="T55" fmla="*/ 171 h 238"/>
                  <a:gd name="T56" fmla="*/ 25 w 82"/>
                  <a:gd name="T57" fmla="*/ 167 h 238"/>
                  <a:gd name="T58" fmla="*/ 34 w 82"/>
                  <a:gd name="T59" fmla="*/ 163 h 238"/>
                  <a:gd name="T60" fmla="*/ 38 w 82"/>
                  <a:gd name="T61" fmla="*/ 169 h 238"/>
                  <a:gd name="T62" fmla="*/ 40 w 82"/>
                  <a:gd name="T63" fmla="*/ 188 h 238"/>
                  <a:gd name="T64" fmla="*/ 34 w 82"/>
                  <a:gd name="T65" fmla="*/ 200 h 238"/>
                  <a:gd name="T66" fmla="*/ 36 w 82"/>
                  <a:gd name="T67" fmla="*/ 207 h 238"/>
                  <a:gd name="T68" fmla="*/ 52 w 82"/>
                  <a:gd name="T69" fmla="*/ 221 h 238"/>
                  <a:gd name="T70" fmla="*/ 59 w 82"/>
                  <a:gd name="T71" fmla="*/ 225 h 238"/>
                  <a:gd name="T72" fmla="*/ 63 w 82"/>
                  <a:gd name="T73" fmla="*/ 238 h 238"/>
                  <a:gd name="T74" fmla="*/ 71 w 82"/>
                  <a:gd name="T75" fmla="*/ 229 h 238"/>
                  <a:gd name="T76" fmla="*/ 67 w 82"/>
                  <a:gd name="T77" fmla="*/ 215 h 238"/>
                  <a:gd name="T78" fmla="*/ 69 w 82"/>
                  <a:gd name="T79" fmla="*/ 200 h 238"/>
                  <a:gd name="T80" fmla="*/ 80 w 82"/>
                  <a:gd name="T81" fmla="*/ 200 h 238"/>
                  <a:gd name="T82" fmla="*/ 82 w 82"/>
                  <a:gd name="T83" fmla="*/ 188 h 238"/>
                  <a:gd name="T84" fmla="*/ 82 w 82"/>
                  <a:gd name="T85" fmla="*/ 181 h 238"/>
                  <a:gd name="T86" fmla="*/ 80 w 82"/>
                  <a:gd name="T87" fmla="*/ 163 h 238"/>
                  <a:gd name="T88" fmla="*/ 63 w 82"/>
                  <a:gd name="T89" fmla="*/ 156 h 238"/>
                  <a:gd name="T90" fmla="*/ 59 w 82"/>
                  <a:gd name="T91" fmla="*/ 146 h 23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2"/>
                  <a:gd name="T139" fmla="*/ 0 h 238"/>
                  <a:gd name="T140" fmla="*/ 82 w 82"/>
                  <a:gd name="T141" fmla="*/ 238 h 23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2" h="238">
                    <a:moveTo>
                      <a:pt x="59" y="146"/>
                    </a:moveTo>
                    <a:lnTo>
                      <a:pt x="53" y="144"/>
                    </a:lnTo>
                    <a:lnTo>
                      <a:pt x="50" y="142"/>
                    </a:lnTo>
                    <a:lnTo>
                      <a:pt x="44" y="142"/>
                    </a:lnTo>
                    <a:lnTo>
                      <a:pt x="44" y="138"/>
                    </a:lnTo>
                    <a:lnTo>
                      <a:pt x="46" y="136"/>
                    </a:lnTo>
                    <a:lnTo>
                      <a:pt x="48" y="131"/>
                    </a:lnTo>
                    <a:lnTo>
                      <a:pt x="40" y="123"/>
                    </a:lnTo>
                    <a:lnTo>
                      <a:pt x="42" y="113"/>
                    </a:lnTo>
                    <a:lnTo>
                      <a:pt x="38" y="100"/>
                    </a:lnTo>
                    <a:lnTo>
                      <a:pt x="36" y="92"/>
                    </a:lnTo>
                    <a:lnTo>
                      <a:pt x="36" y="90"/>
                    </a:lnTo>
                    <a:lnTo>
                      <a:pt x="38" y="86"/>
                    </a:lnTo>
                    <a:lnTo>
                      <a:pt x="40" y="88"/>
                    </a:lnTo>
                    <a:lnTo>
                      <a:pt x="36" y="84"/>
                    </a:lnTo>
                    <a:lnTo>
                      <a:pt x="32" y="73"/>
                    </a:lnTo>
                    <a:lnTo>
                      <a:pt x="40" y="61"/>
                    </a:lnTo>
                    <a:lnTo>
                      <a:pt x="42" y="44"/>
                    </a:lnTo>
                    <a:lnTo>
                      <a:pt x="38" y="27"/>
                    </a:lnTo>
                    <a:lnTo>
                      <a:pt x="36" y="11"/>
                    </a:lnTo>
                    <a:lnTo>
                      <a:pt x="32" y="11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15" y="0"/>
                    </a:lnTo>
                    <a:lnTo>
                      <a:pt x="17" y="2"/>
                    </a:lnTo>
                    <a:lnTo>
                      <a:pt x="19" y="8"/>
                    </a:lnTo>
                    <a:lnTo>
                      <a:pt x="23" y="13"/>
                    </a:lnTo>
                    <a:lnTo>
                      <a:pt x="25" y="17"/>
                    </a:lnTo>
                    <a:lnTo>
                      <a:pt x="25" y="25"/>
                    </a:lnTo>
                    <a:lnTo>
                      <a:pt x="27" y="33"/>
                    </a:lnTo>
                    <a:lnTo>
                      <a:pt x="28" y="36"/>
                    </a:lnTo>
                    <a:lnTo>
                      <a:pt x="25" y="40"/>
                    </a:lnTo>
                    <a:lnTo>
                      <a:pt x="21" y="46"/>
                    </a:lnTo>
                    <a:lnTo>
                      <a:pt x="13" y="54"/>
                    </a:lnTo>
                    <a:lnTo>
                      <a:pt x="13" y="63"/>
                    </a:lnTo>
                    <a:lnTo>
                      <a:pt x="15" y="69"/>
                    </a:lnTo>
                    <a:lnTo>
                      <a:pt x="13" y="75"/>
                    </a:lnTo>
                    <a:lnTo>
                      <a:pt x="15" y="79"/>
                    </a:lnTo>
                    <a:lnTo>
                      <a:pt x="19" y="79"/>
                    </a:lnTo>
                    <a:lnTo>
                      <a:pt x="21" y="83"/>
                    </a:lnTo>
                    <a:lnTo>
                      <a:pt x="19" y="90"/>
                    </a:lnTo>
                    <a:lnTo>
                      <a:pt x="13" y="94"/>
                    </a:lnTo>
                    <a:lnTo>
                      <a:pt x="5" y="98"/>
                    </a:lnTo>
                    <a:lnTo>
                      <a:pt x="2" y="104"/>
                    </a:lnTo>
                    <a:lnTo>
                      <a:pt x="2" y="111"/>
                    </a:lnTo>
                    <a:lnTo>
                      <a:pt x="4" y="119"/>
                    </a:lnTo>
                    <a:lnTo>
                      <a:pt x="4" y="125"/>
                    </a:lnTo>
                    <a:lnTo>
                      <a:pt x="0" y="131"/>
                    </a:lnTo>
                    <a:lnTo>
                      <a:pt x="0" y="136"/>
                    </a:lnTo>
                    <a:lnTo>
                      <a:pt x="2" y="142"/>
                    </a:lnTo>
                    <a:lnTo>
                      <a:pt x="2" y="148"/>
                    </a:lnTo>
                    <a:lnTo>
                      <a:pt x="4" y="152"/>
                    </a:lnTo>
                    <a:lnTo>
                      <a:pt x="5" y="152"/>
                    </a:lnTo>
                    <a:lnTo>
                      <a:pt x="11" y="156"/>
                    </a:lnTo>
                    <a:lnTo>
                      <a:pt x="15" y="159"/>
                    </a:lnTo>
                    <a:lnTo>
                      <a:pt x="15" y="171"/>
                    </a:lnTo>
                    <a:lnTo>
                      <a:pt x="19" y="171"/>
                    </a:lnTo>
                    <a:lnTo>
                      <a:pt x="25" y="167"/>
                    </a:lnTo>
                    <a:lnTo>
                      <a:pt x="32" y="165"/>
                    </a:lnTo>
                    <a:lnTo>
                      <a:pt x="34" y="163"/>
                    </a:lnTo>
                    <a:lnTo>
                      <a:pt x="36" y="165"/>
                    </a:lnTo>
                    <a:lnTo>
                      <a:pt x="38" y="169"/>
                    </a:lnTo>
                    <a:lnTo>
                      <a:pt x="40" y="175"/>
                    </a:lnTo>
                    <a:lnTo>
                      <a:pt x="40" y="188"/>
                    </a:lnTo>
                    <a:lnTo>
                      <a:pt x="36" y="194"/>
                    </a:lnTo>
                    <a:lnTo>
                      <a:pt x="34" y="200"/>
                    </a:lnTo>
                    <a:lnTo>
                      <a:pt x="34" y="204"/>
                    </a:lnTo>
                    <a:lnTo>
                      <a:pt x="36" y="207"/>
                    </a:lnTo>
                    <a:lnTo>
                      <a:pt x="46" y="217"/>
                    </a:lnTo>
                    <a:lnTo>
                      <a:pt x="52" y="221"/>
                    </a:lnTo>
                    <a:lnTo>
                      <a:pt x="55" y="225"/>
                    </a:lnTo>
                    <a:lnTo>
                      <a:pt x="59" y="225"/>
                    </a:lnTo>
                    <a:lnTo>
                      <a:pt x="59" y="234"/>
                    </a:lnTo>
                    <a:lnTo>
                      <a:pt x="63" y="238"/>
                    </a:lnTo>
                    <a:lnTo>
                      <a:pt x="69" y="232"/>
                    </a:lnTo>
                    <a:lnTo>
                      <a:pt x="71" y="229"/>
                    </a:lnTo>
                    <a:lnTo>
                      <a:pt x="69" y="223"/>
                    </a:lnTo>
                    <a:lnTo>
                      <a:pt x="67" y="215"/>
                    </a:lnTo>
                    <a:lnTo>
                      <a:pt x="65" y="206"/>
                    </a:lnTo>
                    <a:lnTo>
                      <a:pt x="69" y="200"/>
                    </a:lnTo>
                    <a:lnTo>
                      <a:pt x="75" y="202"/>
                    </a:lnTo>
                    <a:lnTo>
                      <a:pt x="80" y="200"/>
                    </a:lnTo>
                    <a:lnTo>
                      <a:pt x="82" y="194"/>
                    </a:lnTo>
                    <a:lnTo>
                      <a:pt x="82" y="188"/>
                    </a:lnTo>
                    <a:lnTo>
                      <a:pt x="80" y="186"/>
                    </a:lnTo>
                    <a:lnTo>
                      <a:pt x="82" y="181"/>
                    </a:lnTo>
                    <a:lnTo>
                      <a:pt x="82" y="171"/>
                    </a:lnTo>
                    <a:lnTo>
                      <a:pt x="80" y="163"/>
                    </a:lnTo>
                    <a:lnTo>
                      <a:pt x="75" y="159"/>
                    </a:lnTo>
                    <a:lnTo>
                      <a:pt x="63" y="156"/>
                    </a:lnTo>
                    <a:lnTo>
                      <a:pt x="59" y="150"/>
                    </a:lnTo>
                    <a:lnTo>
                      <a:pt x="59" y="14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1" name="Freeform 139"/>
              <p:cNvSpPr>
                <a:spLocks/>
              </p:cNvSpPr>
              <p:nvPr/>
            </p:nvSpPr>
            <p:spPr bwMode="gray">
              <a:xfrm>
                <a:off x="3560" y="2977"/>
                <a:ext cx="95" cy="210"/>
              </a:xfrm>
              <a:custGeom>
                <a:avLst/>
                <a:gdLst>
                  <a:gd name="T0" fmla="*/ 152 w 190"/>
                  <a:gd name="T1" fmla="*/ 15 h 419"/>
                  <a:gd name="T2" fmla="*/ 144 w 190"/>
                  <a:gd name="T3" fmla="*/ 50 h 419"/>
                  <a:gd name="T4" fmla="*/ 129 w 190"/>
                  <a:gd name="T5" fmla="*/ 52 h 419"/>
                  <a:gd name="T6" fmla="*/ 125 w 190"/>
                  <a:gd name="T7" fmla="*/ 57 h 419"/>
                  <a:gd name="T8" fmla="*/ 129 w 190"/>
                  <a:gd name="T9" fmla="*/ 63 h 419"/>
                  <a:gd name="T10" fmla="*/ 121 w 190"/>
                  <a:gd name="T11" fmla="*/ 69 h 419"/>
                  <a:gd name="T12" fmla="*/ 119 w 190"/>
                  <a:gd name="T13" fmla="*/ 81 h 419"/>
                  <a:gd name="T14" fmla="*/ 111 w 190"/>
                  <a:gd name="T15" fmla="*/ 84 h 419"/>
                  <a:gd name="T16" fmla="*/ 106 w 190"/>
                  <a:gd name="T17" fmla="*/ 104 h 419"/>
                  <a:gd name="T18" fmla="*/ 98 w 190"/>
                  <a:gd name="T19" fmla="*/ 100 h 419"/>
                  <a:gd name="T20" fmla="*/ 90 w 190"/>
                  <a:gd name="T21" fmla="*/ 104 h 419"/>
                  <a:gd name="T22" fmla="*/ 77 w 190"/>
                  <a:gd name="T23" fmla="*/ 111 h 419"/>
                  <a:gd name="T24" fmla="*/ 67 w 190"/>
                  <a:gd name="T25" fmla="*/ 107 h 419"/>
                  <a:gd name="T26" fmla="*/ 48 w 190"/>
                  <a:gd name="T27" fmla="*/ 125 h 419"/>
                  <a:gd name="T28" fmla="*/ 21 w 190"/>
                  <a:gd name="T29" fmla="*/ 157 h 419"/>
                  <a:gd name="T30" fmla="*/ 35 w 190"/>
                  <a:gd name="T31" fmla="*/ 213 h 419"/>
                  <a:gd name="T32" fmla="*/ 31 w 190"/>
                  <a:gd name="T33" fmla="*/ 248 h 419"/>
                  <a:gd name="T34" fmla="*/ 17 w 190"/>
                  <a:gd name="T35" fmla="*/ 257 h 419"/>
                  <a:gd name="T36" fmla="*/ 17 w 190"/>
                  <a:gd name="T37" fmla="*/ 271 h 419"/>
                  <a:gd name="T38" fmla="*/ 13 w 190"/>
                  <a:gd name="T39" fmla="*/ 278 h 419"/>
                  <a:gd name="T40" fmla="*/ 6 w 190"/>
                  <a:gd name="T41" fmla="*/ 284 h 419"/>
                  <a:gd name="T42" fmla="*/ 6 w 190"/>
                  <a:gd name="T43" fmla="*/ 340 h 419"/>
                  <a:gd name="T44" fmla="*/ 25 w 190"/>
                  <a:gd name="T45" fmla="*/ 388 h 419"/>
                  <a:gd name="T46" fmla="*/ 56 w 190"/>
                  <a:gd name="T47" fmla="*/ 419 h 419"/>
                  <a:gd name="T48" fmla="*/ 90 w 190"/>
                  <a:gd name="T49" fmla="*/ 407 h 419"/>
                  <a:gd name="T50" fmla="*/ 108 w 190"/>
                  <a:gd name="T51" fmla="*/ 384 h 419"/>
                  <a:gd name="T52" fmla="*/ 113 w 190"/>
                  <a:gd name="T53" fmla="*/ 350 h 419"/>
                  <a:gd name="T54" fmla="*/ 136 w 190"/>
                  <a:gd name="T55" fmla="*/ 290 h 419"/>
                  <a:gd name="T56" fmla="*/ 142 w 190"/>
                  <a:gd name="T57" fmla="*/ 252 h 419"/>
                  <a:gd name="T58" fmla="*/ 140 w 190"/>
                  <a:gd name="T59" fmla="*/ 238 h 419"/>
                  <a:gd name="T60" fmla="*/ 154 w 190"/>
                  <a:gd name="T61" fmla="*/ 215 h 419"/>
                  <a:gd name="T62" fmla="*/ 161 w 190"/>
                  <a:gd name="T63" fmla="*/ 200 h 419"/>
                  <a:gd name="T64" fmla="*/ 167 w 190"/>
                  <a:gd name="T65" fmla="*/ 184 h 419"/>
                  <a:gd name="T66" fmla="*/ 163 w 190"/>
                  <a:gd name="T67" fmla="*/ 171 h 419"/>
                  <a:gd name="T68" fmla="*/ 171 w 190"/>
                  <a:gd name="T69" fmla="*/ 161 h 419"/>
                  <a:gd name="T70" fmla="*/ 179 w 190"/>
                  <a:gd name="T71" fmla="*/ 140 h 419"/>
                  <a:gd name="T72" fmla="*/ 175 w 190"/>
                  <a:gd name="T73" fmla="*/ 121 h 419"/>
                  <a:gd name="T74" fmla="*/ 167 w 190"/>
                  <a:gd name="T75" fmla="*/ 100 h 419"/>
                  <a:gd name="T76" fmla="*/ 179 w 190"/>
                  <a:gd name="T77" fmla="*/ 111 h 419"/>
                  <a:gd name="T78" fmla="*/ 186 w 190"/>
                  <a:gd name="T79" fmla="*/ 102 h 419"/>
                  <a:gd name="T80" fmla="*/ 188 w 190"/>
                  <a:gd name="T81" fmla="*/ 73 h 419"/>
                  <a:gd name="T82" fmla="*/ 179 w 190"/>
                  <a:gd name="T83" fmla="*/ 19 h 419"/>
                  <a:gd name="T84" fmla="*/ 171 w 190"/>
                  <a:gd name="T85" fmla="*/ 17 h 419"/>
                  <a:gd name="T86" fmla="*/ 163 w 190"/>
                  <a:gd name="T87" fmla="*/ 13 h 419"/>
                  <a:gd name="T88" fmla="*/ 156 w 190"/>
                  <a:gd name="T89" fmla="*/ 0 h 41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90"/>
                  <a:gd name="T136" fmla="*/ 0 h 419"/>
                  <a:gd name="T137" fmla="*/ 190 w 190"/>
                  <a:gd name="T138" fmla="*/ 419 h 41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90" h="419">
                    <a:moveTo>
                      <a:pt x="156" y="0"/>
                    </a:moveTo>
                    <a:lnTo>
                      <a:pt x="152" y="15"/>
                    </a:lnTo>
                    <a:lnTo>
                      <a:pt x="146" y="32"/>
                    </a:lnTo>
                    <a:lnTo>
                      <a:pt x="144" y="50"/>
                    </a:lnTo>
                    <a:lnTo>
                      <a:pt x="136" y="50"/>
                    </a:lnTo>
                    <a:lnTo>
                      <a:pt x="129" y="52"/>
                    </a:lnTo>
                    <a:lnTo>
                      <a:pt x="125" y="54"/>
                    </a:lnTo>
                    <a:lnTo>
                      <a:pt x="125" y="57"/>
                    </a:lnTo>
                    <a:lnTo>
                      <a:pt x="127" y="57"/>
                    </a:lnTo>
                    <a:lnTo>
                      <a:pt x="129" y="63"/>
                    </a:lnTo>
                    <a:lnTo>
                      <a:pt x="129" y="69"/>
                    </a:lnTo>
                    <a:lnTo>
                      <a:pt x="121" y="69"/>
                    </a:lnTo>
                    <a:lnTo>
                      <a:pt x="119" y="73"/>
                    </a:lnTo>
                    <a:lnTo>
                      <a:pt x="119" y="81"/>
                    </a:lnTo>
                    <a:lnTo>
                      <a:pt x="117" y="88"/>
                    </a:lnTo>
                    <a:lnTo>
                      <a:pt x="111" y="84"/>
                    </a:lnTo>
                    <a:lnTo>
                      <a:pt x="106" y="84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0"/>
                    </a:lnTo>
                    <a:lnTo>
                      <a:pt x="94" y="100"/>
                    </a:lnTo>
                    <a:lnTo>
                      <a:pt x="90" y="104"/>
                    </a:lnTo>
                    <a:lnTo>
                      <a:pt x="86" y="111"/>
                    </a:lnTo>
                    <a:lnTo>
                      <a:pt x="77" y="111"/>
                    </a:lnTo>
                    <a:lnTo>
                      <a:pt x="71" y="109"/>
                    </a:lnTo>
                    <a:lnTo>
                      <a:pt x="67" y="107"/>
                    </a:lnTo>
                    <a:lnTo>
                      <a:pt x="67" y="115"/>
                    </a:lnTo>
                    <a:lnTo>
                      <a:pt x="48" y="125"/>
                    </a:lnTo>
                    <a:lnTo>
                      <a:pt x="31" y="138"/>
                    </a:lnTo>
                    <a:lnTo>
                      <a:pt x="21" y="157"/>
                    </a:lnTo>
                    <a:lnTo>
                      <a:pt x="23" y="184"/>
                    </a:lnTo>
                    <a:lnTo>
                      <a:pt x="35" y="213"/>
                    </a:lnTo>
                    <a:lnTo>
                      <a:pt x="37" y="242"/>
                    </a:lnTo>
                    <a:lnTo>
                      <a:pt x="31" y="248"/>
                    </a:lnTo>
                    <a:lnTo>
                      <a:pt x="21" y="253"/>
                    </a:lnTo>
                    <a:lnTo>
                      <a:pt x="17" y="257"/>
                    </a:lnTo>
                    <a:lnTo>
                      <a:pt x="15" y="263"/>
                    </a:lnTo>
                    <a:lnTo>
                      <a:pt x="17" y="271"/>
                    </a:lnTo>
                    <a:lnTo>
                      <a:pt x="17" y="277"/>
                    </a:lnTo>
                    <a:lnTo>
                      <a:pt x="13" y="278"/>
                    </a:lnTo>
                    <a:lnTo>
                      <a:pt x="8" y="282"/>
                    </a:lnTo>
                    <a:lnTo>
                      <a:pt x="6" y="284"/>
                    </a:lnTo>
                    <a:lnTo>
                      <a:pt x="0" y="315"/>
                    </a:lnTo>
                    <a:lnTo>
                      <a:pt x="6" y="340"/>
                    </a:lnTo>
                    <a:lnTo>
                      <a:pt x="17" y="365"/>
                    </a:lnTo>
                    <a:lnTo>
                      <a:pt x="25" y="388"/>
                    </a:lnTo>
                    <a:lnTo>
                      <a:pt x="37" y="405"/>
                    </a:lnTo>
                    <a:lnTo>
                      <a:pt x="56" y="419"/>
                    </a:lnTo>
                    <a:lnTo>
                      <a:pt x="63" y="419"/>
                    </a:lnTo>
                    <a:lnTo>
                      <a:pt x="90" y="407"/>
                    </a:lnTo>
                    <a:lnTo>
                      <a:pt x="102" y="400"/>
                    </a:lnTo>
                    <a:lnTo>
                      <a:pt x="108" y="384"/>
                    </a:lnTo>
                    <a:lnTo>
                      <a:pt x="109" y="367"/>
                    </a:lnTo>
                    <a:lnTo>
                      <a:pt x="113" y="350"/>
                    </a:lnTo>
                    <a:lnTo>
                      <a:pt x="123" y="321"/>
                    </a:lnTo>
                    <a:lnTo>
                      <a:pt x="136" y="290"/>
                    </a:lnTo>
                    <a:lnTo>
                      <a:pt x="144" y="261"/>
                    </a:lnTo>
                    <a:lnTo>
                      <a:pt x="142" y="252"/>
                    </a:lnTo>
                    <a:lnTo>
                      <a:pt x="140" y="244"/>
                    </a:lnTo>
                    <a:lnTo>
                      <a:pt x="140" y="238"/>
                    </a:lnTo>
                    <a:lnTo>
                      <a:pt x="144" y="230"/>
                    </a:lnTo>
                    <a:lnTo>
                      <a:pt x="154" y="215"/>
                    </a:lnTo>
                    <a:lnTo>
                      <a:pt x="159" y="207"/>
                    </a:lnTo>
                    <a:lnTo>
                      <a:pt x="161" y="200"/>
                    </a:lnTo>
                    <a:lnTo>
                      <a:pt x="165" y="190"/>
                    </a:lnTo>
                    <a:lnTo>
                      <a:pt x="167" y="184"/>
                    </a:lnTo>
                    <a:lnTo>
                      <a:pt x="165" y="179"/>
                    </a:lnTo>
                    <a:lnTo>
                      <a:pt x="163" y="171"/>
                    </a:lnTo>
                    <a:lnTo>
                      <a:pt x="163" y="169"/>
                    </a:lnTo>
                    <a:lnTo>
                      <a:pt x="171" y="161"/>
                    </a:lnTo>
                    <a:lnTo>
                      <a:pt x="171" y="144"/>
                    </a:lnTo>
                    <a:lnTo>
                      <a:pt x="179" y="140"/>
                    </a:lnTo>
                    <a:lnTo>
                      <a:pt x="179" y="131"/>
                    </a:lnTo>
                    <a:lnTo>
                      <a:pt x="175" y="121"/>
                    </a:lnTo>
                    <a:lnTo>
                      <a:pt x="171" y="109"/>
                    </a:lnTo>
                    <a:lnTo>
                      <a:pt x="167" y="100"/>
                    </a:lnTo>
                    <a:lnTo>
                      <a:pt x="179" y="100"/>
                    </a:lnTo>
                    <a:lnTo>
                      <a:pt x="179" y="111"/>
                    </a:lnTo>
                    <a:lnTo>
                      <a:pt x="186" y="111"/>
                    </a:lnTo>
                    <a:lnTo>
                      <a:pt x="186" y="102"/>
                    </a:lnTo>
                    <a:lnTo>
                      <a:pt x="190" y="100"/>
                    </a:lnTo>
                    <a:lnTo>
                      <a:pt x="188" y="73"/>
                    </a:lnTo>
                    <a:lnTo>
                      <a:pt x="184" y="42"/>
                    </a:lnTo>
                    <a:lnTo>
                      <a:pt x="179" y="19"/>
                    </a:lnTo>
                    <a:lnTo>
                      <a:pt x="175" y="17"/>
                    </a:lnTo>
                    <a:lnTo>
                      <a:pt x="171" y="17"/>
                    </a:lnTo>
                    <a:lnTo>
                      <a:pt x="167" y="19"/>
                    </a:lnTo>
                    <a:lnTo>
                      <a:pt x="163" y="13"/>
                    </a:lnTo>
                    <a:lnTo>
                      <a:pt x="159" y="6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2" name="Freeform 140"/>
              <p:cNvSpPr>
                <a:spLocks/>
              </p:cNvSpPr>
              <p:nvPr/>
            </p:nvSpPr>
            <p:spPr bwMode="gray">
              <a:xfrm>
                <a:off x="3288" y="2097"/>
                <a:ext cx="37" cy="35"/>
              </a:xfrm>
              <a:custGeom>
                <a:avLst/>
                <a:gdLst>
                  <a:gd name="T0" fmla="*/ 6 w 75"/>
                  <a:gd name="T1" fmla="*/ 26 h 69"/>
                  <a:gd name="T2" fmla="*/ 6 w 75"/>
                  <a:gd name="T3" fmla="*/ 32 h 69"/>
                  <a:gd name="T4" fmla="*/ 4 w 75"/>
                  <a:gd name="T5" fmla="*/ 40 h 69"/>
                  <a:gd name="T6" fmla="*/ 2 w 75"/>
                  <a:gd name="T7" fmla="*/ 46 h 69"/>
                  <a:gd name="T8" fmla="*/ 0 w 75"/>
                  <a:gd name="T9" fmla="*/ 49 h 69"/>
                  <a:gd name="T10" fmla="*/ 4 w 75"/>
                  <a:gd name="T11" fmla="*/ 57 h 69"/>
                  <a:gd name="T12" fmla="*/ 8 w 75"/>
                  <a:gd name="T13" fmla="*/ 63 h 69"/>
                  <a:gd name="T14" fmla="*/ 9 w 75"/>
                  <a:gd name="T15" fmla="*/ 67 h 69"/>
                  <a:gd name="T16" fmla="*/ 9 w 75"/>
                  <a:gd name="T17" fmla="*/ 69 h 69"/>
                  <a:gd name="T18" fmla="*/ 15 w 75"/>
                  <a:gd name="T19" fmla="*/ 69 h 69"/>
                  <a:gd name="T20" fmla="*/ 25 w 75"/>
                  <a:gd name="T21" fmla="*/ 65 h 69"/>
                  <a:gd name="T22" fmla="*/ 34 w 75"/>
                  <a:gd name="T23" fmla="*/ 65 h 69"/>
                  <a:gd name="T24" fmla="*/ 38 w 75"/>
                  <a:gd name="T25" fmla="*/ 63 h 69"/>
                  <a:gd name="T26" fmla="*/ 40 w 75"/>
                  <a:gd name="T27" fmla="*/ 63 h 69"/>
                  <a:gd name="T28" fmla="*/ 42 w 75"/>
                  <a:gd name="T29" fmla="*/ 57 h 69"/>
                  <a:gd name="T30" fmla="*/ 46 w 75"/>
                  <a:gd name="T31" fmla="*/ 55 h 69"/>
                  <a:gd name="T32" fmla="*/ 50 w 75"/>
                  <a:gd name="T33" fmla="*/ 55 h 69"/>
                  <a:gd name="T34" fmla="*/ 56 w 75"/>
                  <a:gd name="T35" fmla="*/ 49 h 69"/>
                  <a:gd name="T36" fmla="*/ 65 w 75"/>
                  <a:gd name="T37" fmla="*/ 49 h 69"/>
                  <a:gd name="T38" fmla="*/ 69 w 75"/>
                  <a:gd name="T39" fmla="*/ 48 h 69"/>
                  <a:gd name="T40" fmla="*/ 71 w 75"/>
                  <a:gd name="T41" fmla="*/ 44 h 69"/>
                  <a:gd name="T42" fmla="*/ 71 w 75"/>
                  <a:gd name="T43" fmla="*/ 40 h 69"/>
                  <a:gd name="T44" fmla="*/ 75 w 75"/>
                  <a:gd name="T45" fmla="*/ 36 h 69"/>
                  <a:gd name="T46" fmla="*/ 67 w 75"/>
                  <a:gd name="T47" fmla="*/ 26 h 69"/>
                  <a:gd name="T48" fmla="*/ 69 w 75"/>
                  <a:gd name="T49" fmla="*/ 23 h 69"/>
                  <a:gd name="T50" fmla="*/ 71 w 75"/>
                  <a:gd name="T51" fmla="*/ 15 h 69"/>
                  <a:gd name="T52" fmla="*/ 69 w 75"/>
                  <a:gd name="T53" fmla="*/ 9 h 69"/>
                  <a:gd name="T54" fmla="*/ 67 w 75"/>
                  <a:gd name="T55" fmla="*/ 7 h 69"/>
                  <a:gd name="T56" fmla="*/ 63 w 75"/>
                  <a:gd name="T57" fmla="*/ 0 h 69"/>
                  <a:gd name="T58" fmla="*/ 36 w 75"/>
                  <a:gd name="T59" fmla="*/ 9 h 69"/>
                  <a:gd name="T60" fmla="*/ 29 w 75"/>
                  <a:gd name="T61" fmla="*/ 19 h 69"/>
                  <a:gd name="T62" fmla="*/ 17 w 75"/>
                  <a:gd name="T63" fmla="*/ 17 h 69"/>
                  <a:gd name="T64" fmla="*/ 6 w 75"/>
                  <a:gd name="T65" fmla="*/ 26 h 6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5"/>
                  <a:gd name="T100" fmla="*/ 0 h 69"/>
                  <a:gd name="T101" fmla="*/ 75 w 75"/>
                  <a:gd name="T102" fmla="*/ 69 h 6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5" h="69">
                    <a:moveTo>
                      <a:pt x="6" y="26"/>
                    </a:moveTo>
                    <a:lnTo>
                      <a:pt x="6" y="32"/>
                    </a:lnTo>
                    <a:lnTo>
                      <a:pt x="4" y="40"/>
                    </a:lnTo>
                    <a:lnTo>
                      <a:pt x="2" y="46"/>
                    </a:lnTo>
                    <a:lnTo>
                      <a:pt x="0" y="49"/>
                    </a:lnTo>
                    <a:lnTo>
                      <a:pt x="4" y="57"/>
                    </a:lnTo>
                    <a:lnTo>
                      <a:pt x="8" y="63"/>
                    </a:lnTo>
                    <a:lnTo>
                      <a:pt x="9" y="67"/>
                    </a:lnTo>
                    <a:lnTo>
                      <a:pt x="9" y="69"/>
                    </a:lnTo>
                    <a:lnTo>
                      <a:pt x="15" y="69"/>
                    </a:lnTo>
                    <a:lnTo>
                      <a:pt x="25" y="65"/>
                    </a:lnTo>
                    <a:lnTo>
                      <a:pt x="34" y="65"/>
                    </a:lnTo>
                    <a:lnTo>
                      <a:pt x="38" y="63"/>
                    </a:lnTo>
                    <a:lnTo>
                      <a:pt x="40" y="63"/>
                    </a:lnTo>
                    <a:lnTo>
                      <a:pt x="42" y="57"/>
                    </a:lnTo>
                    <a:lnTo>
                      <a:pt x="46" y="55"/>
                    </a:lnTo>
                    <a:lnTo>
                      <a:pt x="50" y="55"/>
                    </a:lnTo>
                    <a:lnTo>
                      <a:pt x="56" y="49"/>
                    </a:lnTo>
                    <a:lnTo>
                      <a:pt x="65" y="49"/>
                    </a:lnTo>
                    <a:lnTo>
                      <a:pt x="69" y="48"/>
                    </a:lnTo>
                    <a:lnTo>
                      <a:pt x="71" y="44"/>
                    </a:lnTo>
                    <a:lnTo>
                      <a:pt x="71" y="40"/>
                    </a:lnTo>
                    <a:lnTo>
                      <a:pt x="75" y="36"/>
                    </a:lnTo>
                    <a:lnTo>
                      <a:pt x="67" y="26"/>
                    </a:lnTo>
                    <a:lnTo>
                      <a:pt x="69" y="23"/>
                    </a:lnTo>
                    <a:lnTo>
                      <a:pt x="71" y="15"/>
                    </a:lnTo>
                    <a:lnTo>
                      <a:pt x="69" y="9"/>
                    </a:lnTo>
                    <a:lnTo>
                      <a:pt x="67" y="7"/>
                    </a:lnTo>
                    <a:lnTo>
                      <a:pt x="63" y="0"/>
                    </a:lnTo>
                    <a:lnTo>
                      <a:pt x="36" y="9"/>
                    </a:lnTo>
                    <a:lnTo>
                      <a:pt x="29" y="19"/>
                    </a:lnTo>
                    <a:lnTo>
                      <a:pt x="17" y="17"/>
                    </a:lnTo>
                    <a:lnTo>
                      <a:pt x="6" y="26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3" name="Freeform 141"/>
              <p:cNvSpPr>
                <a:spLocks/>
              </p:cNvSpPr>
              <p:nvPr/>
            </p:nvSpPr>
            <p:spPr bwMode="gray">
              <a:xfrm>
                <a:off x="3103" y="1957"/>
                <a:ext cx="8" cy="14"/>
              </a:xfrm>
              <a:custGeom>
                <a:avLst/>
                <a:gdLst>
                  <a:gd name="T0" fmla="*/ 0 w 18"/>
                  <a:gd name="T1" fmla="*/ 17 h 29"/>
                  <a:gd name="T2" fmla="*/ 0 w 18"/>
                  <a:gd name="T3" fmla="*/ 10 h 29"/>
                  <a:gd name="T4" fmla="*/ 2 w 18"/>
                  <a:gd name="T5" fmla="*/ 6 h 29"/>
                  <a:gd name="T6" fmla="*/ 2 w 18"/>
                  <a:gd name="T7" fmla="*/ 2 h 29"/>
                  <a:gd name="T8" fmla="*/ 6 w 18"/>
                  <a:gd name="T9" fmla="*/ 0 h 29"/>
                  <a:gd name="T10" fmla="*/ 10 w 18"/>
                  <a:gd name="T11" fmla="*/ 0 h 29"/>
                  <a:gd name="T12" fmla="*/ 12 w 18"/>
                  <a:gd name="T13" fmla="*/ 6 h 29"/>
                  <a:gd name="T14" fmla="*/ 16 w 18"/>
                  <a:gd name="T15" fmla="*/ 10 h 29"/>
                  <a:gd name="T16" fmla="*/ 18 w 18"/>
                  <a:gd name="T17" fmla="*/ 10 h 29"/>
                  <a:gd name="T18" fmla="*/ 14 w 18"/>
                  <a:gd name="T19" fmla="*/ 15 h 29"/>
                  <a:gd name="T20" fmla="*/ 12 w 18"/>
                  <a:gd name="T21" fmla="*/ 23 h 29"/>
                  <a:gd name="T22" fmla="*/ 14 w 18"/>
                  <a:gd name="T23" fmla="*/ 27 h 29"/>
                  <a:gd name="T24" fmla="*/ 14 w 18"/>
                  <a:gd name="T25" fmla="*/ 29 h 29"/>
                  <a:gd name="T26" fmla="*/ 8 w 18"/>
                  <a:gd name="T27" fmla="*/ 27 h 29"/>
                  <a:gd name="T28" fmla="*/ 4 w 18"/>
                  <a:gd name="T29" fmla="*/ 27 h 29"/>
                  <a:gd name="T30" fmla="*/ 0 w 18"/>
                  <a:gd name="T31" fmla="*/ 23 h 29"/>
                  <a:gd name="T32" fmla="*/ 0 w 18"/>
                  <a:gd name="T33" fmla="*/ 17 h 2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"/>
                  <a:gd name="T52" fmla="*/ 0 h 29"/>
                  <a:gd name="T53" fmla="*/ 18 w 18"/>
                  <a:gd name="T54" fmla="*/ 29 h 2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" h="29">
                    <a:moveTo>
                      <a:pt x="0" y="17"/>
                    </a:moveTo>
                    <a:lnTo>
                      <a:pt x="0" y="10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2" y="6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14" y="15"/>
                    </a:lnTo>
                    <a:lnTo>
                      <a:pt x="12" y="23"/>
                    </a:lnTo>
                    <a:lnTo>
                      <a:pt x="14" y="27"/>
                    </a:lnTo>
                    <a:lnTo>
                      <a:pt x="14" y="29"/>
                    </a:lnTo>
                    <a:lnTo>
                      <a:pt x="8" y="27"/>
                    </a:lnTo>
                    <a:lnTo>
                      <a:pt x="4" y="27"/>
                    </a:lnTo>
                    <a:lnTo>
                      <a:pt x="0" y="23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4" name="Freeform 142"/>
              <p:cNvSpPr>
                <a:spLocks/>
              </p:cNvSpPr>
              <p:nvPr/>
            </p:nvSpPr>
            <p:spPr bwMode="gray">
              <a:xfrm>
                <a:off x="3292" y="1832"/>
                <a:ext cx="73" cy="58"/>
              </a:xfrm>
              <a:custGeom>
                <a:avLst/>
                <a:gdLst>
                  <a:gd name="T0" fmla="*/ 0 w 145"/>
                  <a:gd name="T1" fmla="*/ 54 h 115"/>
                  <a:gd name="T2" fmla="*/ 19 w 145"/>
                  <a:gd name="T3" fmla="*/ 73 h 115"/>
                  <a:gd name="T4" fmla="*/ 28 w 145"/>
                  <a:gd name="T5" fmla="*/ 77 h 115"/>
                  <a:gd name="T6" fmla="*/ 42 w 145"/>
                  <a:gd name="T7" fmla="*/ 79 h 115"/>
                  <a:gd name="T8" fmla="*/ 49 w 145"/>
                  <a:gd name="T9" fmla="*/ 79 h 115"/>
                  <a:gd name="T10" fmla="*/ 53 w 145"/>
                  <a:gd name="T11" fmla="*/ 104 h 115"/>
                  <a:gd name="T12" fmla="*/ 76 w 145"/>
                  <a:gd name="T13" fmla="*/ 104 h 115"/>
                  <a:gd name="T14" fmla="*/ 88 w 145"/>
                  <a:gd name="T15" fmla="*/ 106 h 115"/>
                  <a:gd name="T16" fmla="*/ 92 w 145"/>
                  <a:gd name="T17" fmla="*/ 110 h 115"/>
                  <a:gd name="T18" fmla="*/ 92 w 145"/>
                  <a:gd name="T19" fmla="*/ 115 h 115"/>
                  <a:gd name="T20" fmla="*/ 103 w 145"/>
                  <a:gd name="T21" fmla="*/ 110 h 115"/>
                  <a:gd name="T22" fmla="*/ 117 w 145"/>
                  <a:gd name="T23" fmla="*/ 110 h 115"/>
                  <a:gd name="T24" fmla="*/ 119 w 145"/>
                  <a:gd name="T25" fmla="*/ 108 h 115"/>
                  <a:gd name="T26" fmla="*/ 120 w 145"/>
                  <a:gd name="T27" fmla="*/ 102 h 115"/>
                  <a:gd name="T28" fmla="*/ 120 w 145"/>
                  <a:gd name="T29" fmla="*/ 100 h 115"/>
                  <a:gd name="T30" fmla="*/ 130 w 145"/>
                  <a:gd name="T31" fmla="*/ 100 h 115"/>
                  <a:gd name="T32" fmla="*/ 132 w 145"/>
                  <a:gd name="T33" fmla="*/ 98 h 115"/>
                  <a:gd name="T34" fmla="*/ 132 w 145"/>
                  <a:gd name="T35" fmla="*/ 92 h 115"/>
                  <a:gd name="T36" fmla="*/ 130 w 145"/>
                  <a:gd name="T37" fmla="*/ 85 h 115"/>
                  <a:gd name="T38" fmla="*/ 132 w 145"/>
                  <a:gd name="T39" fmla="*/ 75 h 115"/>
                  <a:gd name="T40" fmla="*/ 136 w 145"/>
                  <a:gd name="T41" fmla="*/ 67 h 115"/>
                  <a:gd name="T42" fmla="*/ 142 w 145"/>
                  <a:gd name="T43" fmla="*/ 62 h 115"/>
                  <a:gd name="T44" fmla="*/ 144 w 145"/>
                  <a:gd name="T45" fmla="*/ 54 h 115"/>
                  <a:gd name="T46" fmla="*/ 145 w 145"/>
                  <a:gd name="T47" fmla="*/ 50 h 115"/>
                  <a:gd name="T48" fmla="*/ 142 w 145"/>
                  <a:gd name="T49" fmla="*/ 46 h 115"/>
                  <a:gd name="T50" fmla="*/ 138 w 145"/>
                  <a:gd name="T51" fmla="*/ 44 h 115"/>
                  <a:gd name="T52" fmla="*/ 132 w 145"/>
                  <a:gd name="T53" fmla="*/ 42 h 115"/>
                  <a:gd name="T54" fmla="*/ 124 w 145"/>
                  <a:gd name="T55" fmla="*/ 39 h 115"/>
                  <a:gd name="T56" fmla="*/ 120 w 145"/>
                  <a:gd name="T57" fmla="*/ 33 h 115"/>
                  <a:gd name="T58" fmla="*/ 117 w 145"/>
                  <a:gd name="T59" fmla="*/ 31 h 115"/>
                  <a:gd name="T60" fmla="*/ 113 w 145"/>
                  <a:gd name="T61" fmla="*/ 31 h 115"/>
                  <a:gd name="T62" fmla="*/ 107 w 145"/>
                  <a:gd name="T63" fmla="*/ 29 h 115"/>
                  <a:gd name="T64" fmla="*/ 101 w 145"/>
                  <a:gd name="T65" fmla="*/ 23 h 115"/>
                  <a:gd name="T66" fmla="*/ 99 w 145"/>
                  <a:gd name="T67" fmla="*/ 17 h 115"/>
                  <a:gd name="T68" fmla="*/ 99 w 145"/>
                  <a:gd name="T69" fmla="*/ 16 h 115"/>
                  <a:gd name="T70" fmla="*/ 97 w 145"/>
                  <a:gd name="T71" fmla="*/ 16 h 115"/>
                  <a:gd name="T72" fmla="*/ 92 w 145"/>
                  <a:gd name="T73" fmla="*/ 17 h 115"/>
                  <a:gd name="T74" fmla="*/ 88 w 145"/>
                  <a:gd name="T75" fmla="*/ 17 h 115"/>
                  <a:gd name="T76" fmla="*/ 82 w 145"/>
                  <a:gd name="T77" fmla="*/ 16 h 115"/>
                  <a:gd name="T78" fmla="*/ 78 w 145"/>
                  <a:gd name="T79" fmla="*/ 14 h 115"/>
                  <a:gd name="T80" fmla="*/ 67 w 145"/>
                  <a:gd name="T81" fmla="*/ 10 h 115"/>
                  <a:gd name="T82" fmla="*/ 61 w 145"/>
                  <a:gd name="T83" fmla="*/ 10 h 115"/>
                  <a:gd name="T84" fmla="*/ 49 w 145"/>
                  <a:gd name="T85" fmla="*/ 6 h 115"/>
                  <a:gd name="T86" fmla="*/ 40 w 145"/>
                  <a:gd name="T87" fmla="*/ 4 h 115"/>
                  <a:gd name="T88" fmla="*/ 32 w 145"/>
                  <a:gd name="T89" fmla="*/ 0 h 115"/>
                  <a:gd name="T90" fmla="*/ 25 w 145"/>
                  <a:gd name="T91" fmla="*/ 0 h 115"/>
                  <a:gd name="T92" fmla="*/ 9 w 145"/>
                  <a:gd name="T93" fmla="*/ 4 h 115"/>
                  <a:gd name="T94" fmla="*/ 5 w 145"/>
                  <a:gd name="T95" fmla="*/ 6 h 115"/>
                  <a:gd name="T96" fmla="*/ 5 w 145"/>
                  <a:gd name="T97" fmla="*/ 8 h 115"/>
                  <a:gd name="T98" fmla="*/ 1 w 145"/>
                  <a:gd name="T99" fmla="*/ 25 h 115"/>
                  <a:gd name="T100" fmla="*/ 3 w 145"/>
                  <a:gd name="T101" fmla="*/ 54 h 115"/>
                  <a:gd name="T102" fmla="*/ 0 w 145"/>
                  <a:gd name="T103" fmla="*/ 54 h 11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45"/>
                  <a:gd name="T157" fmla="*/ 0 h 115"/>
                  <a:gd name="T158" fmla="*/ 145 w 145"/>
                  <a:gd name="T159" fmla="*/ 115 h 11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45" h="115">
                    <a:moveTo>
                      <a:pt x="0" y="54"/>
                    </a:moveTo>
                    <a:lnTo>
                      <a:pt x="19" y="73"/>
                    </a:lnTo>
                    <a:lnTo>
                      <a:pt x="28" y="77"/>
                    </a:lnTo>
                    <a:lnTo>
                      <a:pt x="42" y="79"/>
                    </a:lnTo>
                    <a:lnTo>
                      <a:pt x="49" y="79"/>
                    </a:lnTo>
                    <a:lnTo>
                      <a:pt x="53" y="104"/>
                    </a:lnTo>
                    <a:lnTo>
                      <a:pt x="76" y="104"/>
                    </a:lnTo>
                    <a:lnTo>
                      <a:pt x="88" y="106"/>
                    </a:lnTo>
                    <a:lnTo>
                      <a:pt x="92" y="110"/>
                    </a:lnTo>
                    <a:lnTo>
                      <a:pt x="92" y="115"/>
                    </a:lnTo>
                    <a:lnTo>
                      <a:pt x="103" y="110"/>
                    </a:lnTo>
                    <a:lnTo>
                      <a:pt x="117" y="110"/>
                    </a:lnTo>
                    <a:lnTo>
                      <a:pt x="119" y="108"/>
                    </a:lnTo>
                    <a:lnTo>
                      <a:pt x="120" y="102"/>
                    </a:lnTo>
                    <a:lnTo>
                      <a:pt x="120" y="100"/>
                    </a:lnTo>
                    <a:lnTo>
                      <a:pt x="130" y="100"/>
                    </a:lnTo>
                    <a:lnTo>
                      <a:pt x="132" y="98"/>
                    </a:lnTo>
                    <a:lnTo>
                      <a:pt x="132" y="92"/>
                    </a:lnTo>
                    <a:lnTo>
                      <a:pt x="130" y="85"/>
                    </a:lnTo>
                    <a:lnTo>
                      <a:pt x="132" y="75"/>
                    </a:lnTo>
                    <a:lnTo>
                      <a:pt x="136" y="67"/>
                    </a:lnTo>
                    <a:lnTo>
                      <a:pt x="142" y="62"/>
                    </a:lnTo>
                    <a:lnTo>
                      <a:pt x="144" y="54"/>
                    </a:lnTo>
                    <a:lnTo>
                      <a:pt x="145" y="50"/>
                    </a:lnTo>
                    <a:lnTo>
                      <a:pt x="142" y="46"/>
                    </a:lnTo>
                    <a:lnTo>
                      <a:pt x="138" y="44"/>
                    </a:lnTo>
                    <a:lnTo>
                      <a:pt x="132" y="42"/>
                    </a:lnTo>
                    <a:lnTo>
                      <a:pt x="124" y="39"/>
                    </a:lnTo>
                    <a:lnTo>
                      <a:pt x="120" y="33"/>
                    </a:lnTo>
                    <a:lnTo>
                      <a:pt x="117" y="31"/>
                    </a:lnTo>
                    <a:lnTo>
                      <a:pt x="113" y="31"/>
                    </a:lnTo>
                    <a:lnTo>
                      <a:pt x="107" y="29"/>
                    </a:lnTo>
                    <a:lnTo>
                      <a:pt x="101" y="23"/>
                    </a:lnTo>
                    <a:lnTo>
                      <a:pt x="99" y="17"/>
                    </a:lnTo>
                    <a:lnTo>
                      <a:pt x="99" y="16"/>
                    </a:lnTo>
                    <a:lnTo>
                      <a:pt x="97" y="16"/>
                    </a:lnTo>
                    <a:lnTo>
                      <a:pt x="92" y="17"/>
                    </a:lnTo>
                    <a:lnTo>
                      <a:pt x="88" y="17"/>
                    </a:lnTo>
                    <a:lnTo>
                      <a:pt x="82" y="16"/>
                    </a:lnTo>
                    <a:lnTo>
                      <a:pt x="78" y="14"/>
                    </a:lnTo>
                    <a:lnTo>
                      <a:pt x="67" y="10"/>
                    </a:lnTo>
                    <a:lnTo>
                      <a:pt x="61" y="10"/>
                    </a:lnTo>
                    <a:lnTo>
                      <a:pt x="49" y="6"/>
                    </a:lnTo>
                    <a:lnTo>
                      <a:pt x="40" y="4"/>
                    </a:lnTo>
                    <a:lnTo>
                      <a:pt x="32" y="0"/>
                    </a:lnTo>
                    <a:lnTo>
                      <a:pt x="25" y="0"/>
                    </a:lnTo>
                    <a:lnTo>
                      <a:pt x="9" y="4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1" y="25"/>
                    </a:lnTo>
                    <a:lnTo>
                      <a:pt x="3" y="54"/>
                    </a:ln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5" name="Freeform 143"/>
              <p:cNvSpPr>
                <a:spLocks/>
              </p:cNvSpPr>
              <p:nvPr/>
            </p:nvSpPr>
            <p:spPr bwMode="gray">
              <a:xfrm>
                <a:off x="3133" y="2252"/>
                <a:ext cx="212" cy="222"/>
              </a:xfrm>
              <a:custGeom>
                <a:avLst/>
                <a:gdLst>
                  <a:gd name="T0" fmla="*/ 69 w 422"/>
                  <a:gd name="T1" fmla="*/ 13 h 444"/>
                  <a:gd name="T2" fmla="*/ 54 w 422"/>
                  <a:gd name="T3" fmla="*/ 38 h 444"/>
                  <a:gd name="T4" fmla="*/ 42 w 422"/>
                  <a:gd name="T5" fmla="*/ 40 h 444"/>
                  <a:gd name="T6" fmla="*/ 36 w 422"/>
                  <a:gd name="T7" fmla="*/ 44 h 444"/>
                  <a:gd name="T8" fmla="*/ 38 w 422"/>
                  <a:gd name="T9" fmla="*/ 67 h 444"/>
                  <a:gd name="T10" fmla="*/ 34 w 422"/>
                  <a:gd name="T11" fmla="*/ 75 h 444"/>
                  <a:gd name="T12" fmla="*/ 31 w 422"/>
                  <a:gd name="T13" fmla="*/ 84 h 444"/>
                  <a:gd name="T14" fmla="*/ 21 w 422"/>
                  <a:gd name="T15" fmla="*/ 90 h 444"/>
                  <a:gd name="T16" fmla="*/ 13 w 422"/>
                  <a:gd name="T17" fmla="*/ 94 h 444"/>
                  <a:gd name="T18" fmla="*/ 17 w 422"/>
                  <a:gd name="T19" fmla="*/ 104 h 444"/>
                  <a:gd name="T20" fmla="*/ 15 w 422"/>
                  <a:gd name="T21" fmla="*/ 156 h 444"/>
                  <a:gd name="T22" fmla="*/ 21 w 422"/>
                  <a:gd name="T23" fmla="*/ 169 h 444"/>
                  <a:gd name="T24" fmla="*/ 19 w 422"/>
                  <a:gd name="T25" fmla="*/ 177 h 444"/>
                  <a:gd name="T26" fmla="*/ 17 w 422"/>
                  <a:gd name="T27" fmla="*/ 184 h 444"/>
                  <a:gd name="T28" fmla="*/ 19 w 422"/>
                  <a:gd name="T29" fmla="*/ 204 h 444"/>
                  <a:gd name="T30" fmla="*/ 11 w 422"/>
                  <a:gd name="T31" fmla="*/ 225 h 444"/>
                  <a:gd name="T32" fmla="*/ 0 w 422"/>
                  <a:gd name="T33" fmla="*/ 231 h 444"/>
                  <a:gd name="T34" fmla="*/ 13 w 422"/>
                  <a:gd name="T35" fmla="*/ 248 h 444"/>
                  <a:gd name="T36" fmla="*/ 23 w 422"/>
                  <a:gd name="T37" fmla="*/ 265 h 444"/>
                  <a:gd name="T38" fmla="*/ 25 w 422"/>
                  <a:gd name="T39" fmla="*/ 275 h 444"/>
                  <a:gd name="T40" fmla="*/ 31 w 422"/>
                  <a:gd name="T41" fmla="*/ 288 h 444"/>
                  <a:gd name="T42" fmla="*/ 48 w 422"/>
                  <a:gd name="T43" fmla="*/ 292 h 444"/>
                  <a:gd name="T44" fmla="*/ 65 w 422"/>
                  <a:gd name="T45" fmla="*/ 305 h 444"/>
                  <a:gd name="T46" fmla="*/ 79 w 422"/>
                  <a:gd name="T47" fmla="*/ 315 h 444"/>
                  <a:gd name="T48" fmla="*/ 142 w 422"/>
                  <a:gd name="T49" fmla="*/ 346 h 444"/>
                  <a:gd name="T50" fmla="*/ 184 w 422"/>
                  <a:gd name="T51" fmla="*/ 313 h 444"/>
                  <a:gd name="T52" fmla="*/ 399 w 422"/>
                  <a:gd name="T53" fmla="*/ 419 h 444"/>
                  <a:gd name="T54" fmla="*/ 422 w 422"/>
                  <a:gd name="T55" fmla="*/ 361 h 444"/>
                  <a:gd name="T56" fmla="*/ 420 w 422"/>
                  <a:gd name="T57" fmla="*/ 134 h 444"/>
                  <a:gd name="T58" fmla="*/ 414 w 422"/>
                  <a:gd name="T59" fmla="*/ 125 h 444"/>
                  <a:gd name="T60" fmla="*/ 413 w 422"/>
                  <a:gd name="T61" fmla="*/ 104 h 444"/>
                  <a:gd name="T62" fmla="*/ 416 w 422"/>
                  <a:gd name="T63" fmla="*/ 77 h 444"/>
                  <a:gd name="T64" fmla="*/ 411 w 422"/>
                  <a:gd name="T65" fmla="*/ 63 h 444"/>
                  <a:gd name="T66" fmla="*/ 403 w 422"/>
                  <a:gd name="T67" fmla="*/ 48 h 444"/>
                  <a:gd name="T68" fmla="*/ 393 w 422"/>
                  <a:gd name="T69" fmla="*/ 42 h 444"/>
                  <a:gd name="T70" fmla="*/ 374 w 422"/>
                  <a:gd name="T71" fmla="*/ 44 h 444"/>
                  <a:gd name="T72" fmla="*/ 363 w 422"/>
                  <a:gd name="T73" fmla="*/ 27 h 444"/>
                  <a:gd name="T74" fmla="*/ 332 w 422"/>
                  <a:gd name="T75" fmla="*/ 19 h 444"/>
                  <a:gd name="T76" fmla="*/ 307 w 422"/>
                  <a:gd name="T77" fmla="*/ 23 h 444"/>
                  <a:gd name="T78" fmla="*/ 282 w 422"/>
                  <a:gd name="T79" fmla="*/ 50 h 444"/>
                  <a:gd name="T80" fmla="*/ 290 w 422"/>
                  <a:gd name="T81" fmla="*/ 60 h 444"/>
                  <a:gd name="T82" fmla="*/ 294 w 422"/>
                  <a:gd name="T83" fmla="*/ 77 h 444"/>
                  <a:gd name="T84" fmla="*/ 263 w 422"/>
                  <a:gd name="T85" fmla="*/ 98 h 444"/>
                  <a:gd name="T86" fmla="*/ 255 w 422"/>
                  <a:gd name="T87" fmla="*/ 88 h 444"/>
                  <a:gd name="T88" fmla="*/ 209 w 422"/>
                  <a:gd name="T89" fmla="*/ 79 h 444"/>
                  <a:gd name="T90" fmla="*/ 178 w 422"/>
                  <a:gd name="T91" fmla="*/ 58 h 444"/>
                  <a:gd name="T92" fmla="*/ 155 w 422"/>
                  <a:gd name="T93" fmla="*/ 31 h 444"/>
                  <a:gd name="T94" fmla="*/ 121 w 422"/>
                  <a:gd name="T95" fmla="*/ 27 h 444"/>
                  <a:gd name="T96" fmla="*/ 98 w 422"/>
                  <a:gd name="T97" fmla="*/ 15 h 444"/>
                  <a:gd name="T98" fmla="*/ 79 w 422"/>
                  <a:gd name="T99" fmla="*/ 13 h 444"/>
                  <a:gd name="T100" fmla="*/ 75 w 422"/>
                  <a:gd name="T101" fmla="*/ 0 h 44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22"/>
                  <a:gd name="T154" fmla="*/ 0 h 444"/>
                  <a:gd name="T155" fmla="*/ 422 w 422"/>
                  <a:gd name="T156" fmla="*/ 444 h 44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422" h="444">
                    <a:moveTo>
                      <a:pt x="75" y="0"/>
                    </a:moveTo>
                    <a:lnTo>
                      <a:pt x="69" y="13"/>
                    </a:lnTo>
                    <a:lnTo>
                      <a:pt x="69" y="23"/>
                    </a:lnTo>
                    <a:lnTo>
                      <a:pt x="54" y="38"/>
                    </a:lnTo>
                    <a:lnTo>
                      <a:pt x="48" y="40"/>
                    </a:lnTo>
                    <a:lnTo>
                      <a:pt x="42" y="40"/>
                    </a:lnTo>
                    <a:lnTo>
                      <a:pt x="38" y="44"/>
                    </a:lnTo>
                    <a:lnTo>
                      <a:pt x="36" y="44"/>
                    </a:lnTo>
                    <a:lnTo>
                      <a:pt x="36" y="58"/>
                    </a:lnTo>
                    <a:lnTo>
                      <a:pt x="38" y="67"/>
                    </a:lnTo>
                    <a:lnTo>
                      <a:pt x="38" y="73"/>
                    </a:lnTo>
                    <a:lnTo>
                      <a:pt x="34" y="75"/>
                    </a:lnTo>
                    <a:lnTo>
                      <a:pt x="32" y="81"/>
                    </a:lnTo>
                    <a:lnTo>
                      <a:pt x="31" y="84"/>
                    </a:lnTo>
                    <a:lnTo>
                      <a:pt x="25" y="88"/>
                    </a:lnTo>
                    <a:lnTo>
                      <a:pt x="21" y="90"/>
                    </a:lnTo>
                    <a:lnTo>
                      <a:pt x="17" y="90"/>
                    </a:lnTo>
                    <a:lnTo>
                      <a:pt x="13" y="94"/>
                    </a:lnTo>
                    <a:lnTo>
                      <a:pt x="13" y="98"/>
                    </a:lnTo>
                    <a:lnTo>
                      <a:pt x="17" y="104"/>
                    </a:lnTo>
                    <a:lnTo>
                      <a:pt x="17" y="106"/>
                    </a:lnTo>
                    <a:lnTo>
                      <a:pt x="15" y="156"/>
                    </a:lnTo>
                    <a:lnTo>
                      <a:pt x="25" y="167"/>
                    </a:lnTo>
                    <a:lnTo>
                      <a:pt x="21" y="169"/>
                    </a:lnTo>
                    <a:lnTo>
                      <a:pt x="15" y="175"/>
                    </a:lnTo>
                    <a:lnTo>
                      <a:pt x="19" y="177"/>
                    </a:lnTo>
                    <a:lnTo>
                      <a:pt x="19" y="182"/>
                    </a:lnTo>
                    <a:lnTo>
                      <a:pt x="17" y="184"/>
                    </a:lnTo>
                    <a:lnTo>
                      <a:pt x="19" y="190"/>
                    </a:lnTo>
                    <a:lnTo>
                      <a:pt x="19" y="204"/>
                    </a:lnTo>
                    <a:lnTo>
                      <a:pt x="17" y="217"/>
                    </a:lnTo>
                    <a:lnTo>
                      <a:pt x="11" y="225"/>
                    </a:lnTo>
                    <a:lnTo>
                      <a:pt x="6" y="231"/>
                    </a:lnTo>
                    <a:lnTo>
                      <a:pt x="0" y="231"/>
                    </a:lnTo>
                    <a:lnTo>
                      <a:pt x="9" y="240"/>
                    </a:lnTo>
                    <a:lnTo>
                      <a:pt x="13" y="248"/>
                    </a:lnTo>
                    <a:lnTo>
                      <a:pt x="15" y="254"/>
                    </a:lnTo>
                    <a:lnTo>
                      <a:pt x="23" y="265"/>
                    </a:lnTo>
                    <a:lnTo>
                      <a:pt x="25" y="269"/>
                    </a:lnTo>
                    <a:lnTo>
                      <a:pt x="25" y="275"/>
                    </a:lnTo>
                    <a:lnTo>
                      <a:pt x="27" y="282"/>
                    </a:lnTo>
                    <a:lnTo>
                      <a:pt x="31" y="288"/>
                    </a:lnTo>
                    <a:lnTo>
                      <a:pt x="36" y="292"/>
                    </a:lnTo>
                    <a:lnTo>
                      <a:pt x="48" y="292"/>
                    </a:lnTo>
                    <a:lnTo>
                      <a:pt x="54" y="294"/>
                    </a:lnTo>
                    <a:lnTo>
                      <a:pt x="65" y="305"/>
                    </a:lnTo>
                    <a:lnTo>
                      <a:pt x="71" y="307"/>
                    </a:lnTo>
                    <a:lnTo>
                      <a:pt x="79" y="315"/>
                    </a:lnTo>
                    <a:lnTo>
                      <a:pt x="138" y="352"/>
                    </a:lnTo>
                    <a:lnTo>
                      <a:pt x="142" y="346"/>
                    </a:lnTo>
                    <a:lnTo>
                      <a:pt x="159" y="332"/>
                    </a:lnTo>
                    <a:lnTo>
                      <a:pt x="184" y="313"/>
                    </a:lnTo>
                    <a:lnTo>
                      <a:pt x="399" y="444"/>
                    </a:lnTo>
                    <a:lnTo>
                      <a:pt x="399" y="419"/>
                    </a:lnTo>
                    <a:lnTo>
                      <a:pt x="422" y="419"/>
                    </a:lnTo>
                    <a:lnTo>
                      <a:pt x="422" y="361"/>
                    </a:lnTo>
                    <a:lnTo>
                      <a:pt x="420" y="136"/>
                    </a:lnTo>
                    <a:lnTo>
                      <a:pt x="420" y="134"/>
                    </a:lnTo>
                    <a:lnTo>
                      <a:pt x="418" y="133"/>
                    </a:lnTo>
                    <a:lnTo>
                      <a:pt x="414" y="125"/>
                    </a:lnTo>
                    <a:lnTo>
                      <a:pt x="413" y="119"/>
                    </a:lnTo>
                    <a:lnTo>
                      <a:pt x="413" y="104"/>
                    </a:lnTo>
                    <a:lnTo>
                      <a:pt x="418" y="86"/>
                    </a:lnTo>
                    <a:lnTo>
                      <a:pt x="416" y="77"/>
                    </a:lnTo>
                    <a:lnTo>
                      <a:pt x="413" y="69"/>
                    </a:lnTo>
                    <a:lnTo>
                      <a:pt x="411" y="63"/>
                    </a:lnTo>
                    <a:lnTo>
                      <a:pt x="411" y="54"/>
                    </a:lnTo>
                    <a:lnTo>
                      <a:pt x="403" y="48"/>
                    </a:lnTo>
                    <a:lnTo>
                      <a:pt x="395" y="44"/>
                    </a:lnTo>
                    <a:lnTo>
                      <a:pt x="393" y="42"/>
                    </a:lnTo>
                    <a:lnTo>
                      <a:pt x="384" y="42"/>
                    </a:lnTo>
                    <a:lnTo>
                      <a:pt x="374" y="44"/>
                    </a:lnTo>
                    <a:lnTo>
                      <a:pt x="366" y="42"/>
                    </a:lnTo>
                    <a:lnTo>
                      <a:pt x="363" y="27"/>
                    </a:lnTo>
                    <a:lnTo>
                      <a:pt x="349" y="23"/>
                    </a:lnTo>
                    <a:lnTo>
                      <a:pt x="332" y="19"/>
                    </a:lnTo>
                    <a:lnTo>
                      <a:pt x="324" y="15"/>
                    </a:lnTo>
                    <a:lnTo>
                      <a:pt x="307" y="23"/>
                    </a:lnTo>
                    <a:lnTo>
                      <a:pt x="294" y="36"/>
                    </a:lnTo>
                    <a:lnTo>
                      <a:pt x="282" y="50"/>
                    </a:lnTo>
                    <a:lnTo>
                      <a:pt x="286" y="54"/>
                    </a:lnTo>
                    <a:lnTo>
                      <a:pt x="290" y="60"/>
                    </a:lnTo>
                    <a:lnTo>
                      <a:pt x="294" y="61"/>
                    </a:lnTo>
                    <a:lnTo>
                      <a:pt x="294" y="77"/>
                    </a:lnTo>
                    <a:lnTo>
                      <a:pt x="267" y="100"/>
                    </a:lnTo>
                    <a:lnTo>
                      <a:pt x="263" y="98"/>
                    </a:lnTo>
                    <a:lnTo>
                      <a:pt x="257" y="92"/>
                    </a:lnTo>
                    <a:lnTo>
                      <a:pt x="255" y="88"/>
                    </a:lnTo>
                    <a:lnTo>
                      <a:pt x="232" y="83"/>
                    </a:lnTo>
                    <a:lnTo>
                      <a:pt x="209" y="79"/>
                    </a:lnTo>
                    <a:lnTo>
                      <a:pt x="190" y="69"/>
                    </a:lnTo>
                    <a:lnTo>
                      <a:pt x="178" y="58"/>
                    </a:lnTo>
                    <a:lnTo>
                      <a:pt x="167" y="42"/>
                    </a:lnTo>
                    <a:lnTo>
                      <a:pt x="155" y="31"/>
                    </a:lnTo>
                    <a:lnTo>
                      <a:pt x="138" y="27"/>
                    </a:lnTo>
                    <a:lnTo>
                      <a:pt x="121" y="27"/>
                    </a:lnTo>
                    <a:lnTo>
                      <a:pt x="98" y="23"/>
                    </a:lnTo>
                    <a:lnTo>
                      <a:pt x="98" y="15"/>
                    </a:lnTo>
                    <a:lnTo>
                      <a:pt x="84" y="15"/>
                    </a:lnTo>
                    <a:lnTo>
                      <a:pt x="79" y="13"/>
                    </a:lnTo>
                    <a:lnTo>
                      <a:pt x="77" y="10"/>
                    </a:lnTo>
                    <a:lnTo>
                      <a:pt x="7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6" name="Freeform 144"/>
              <p:cNvSpPr>
                <a:spLocks/>
              </p:cNvSpPr>
              <p:nvPr/>
            </p:nvSpPr>
            <p:spPr bwMode="gray">
              <a:xfrm>
                <a:off x="2884" y="2644"/>
                <a:ext cx="54" cy="73"/>
              </a:xfrm>
              <a:custGeom>
                <a:avLst/>
                <a:gdLst>
                  <a:gd name="T0" fmla="*/ 0 w 107"/>
                  <a:gd name="T1" fmla="*/ 65 h 146"/>
                  <a:gd name="T2" fmla="*/ 2 w 107"/>
                  <a:gd name="T3" fmla="*/ 71 h 146"/>
                  <a:gd name="T4" fmla="*/ 4 w 107"/>
                  <a:gd name="T5" fmla="*/ 75 h 146"/>
                  <a:gd name="T6" fmla="*/ 6 w 107"/>
                  <a:gd name="T7" fmla="*/ 81 h 146"/>
                  <a:gd name="T8" fmla="*/ 15 w 107"/>
                  <a:gd name="T9" fmla="*/ 88 h 146"/>
                  <a:gd name="T10" fmla="*/ 25 w 107"/>
                  <a:gd name="T11" fmla="*/ 92 h 146"/>
                  <a:gd name="T12" fmla="*/ 36 w 107"/>
                  <a:gd name="T13" fmla="*/ 98 h 146"/>
                  <a:gd name="T14" fmla="*/ 54 w 107"/>
                  <a:gd name="T15" fmla="*/ 117 h 146"/>
                  <a:gd name="T16" fmla="*/ 75 w 107"/>
                  <a:gd name="T17" fmla="*/ 138 h 146"/>
                  <a:gd name="T18" fmla="*/ 103 w 107"/>
                  <a:gd name="T19" fmla="*/ 146 h 146"/>
                  <a:gd name="T20" fmla="*/ 103 w 107"/>
                  <a:gd name="T21" fmla="*/ 144 h 146"/>
                  <a:gd name="T22" fmla="*/ 100 w 107"/>
                  <a:gd name="T23" fmla="*/ 133 h 146"/>
                  <a:gd name="T24" fmla="*/ 100 w 107"/>
                  <a:gd name="T25" fmla="*/ 129 h 146"/>
                  <a:gd name="T26" fmla="*/ 98 w 107"/>
                  <a:gd name="T27" fmla="*/ 125 h 146"/>
                  <a:gd name="T28" fmla="*/ 100 w 107"/>
                  <a:gd name="T29" fmla="*/ 121 h 146"/>
                  <a:gd name="T30" fmla="*/ 103 w 107"/>
                  <a:gd name="T31" fmla="*/ 117 h 146"/>
                  <a:gd name="T32" fmla="*/ 105 w 107"/>
                  <a:gd name="T33" fmla="*/ 111 h 146"/>
                  <a:gd name="T34" fmla="*/ 105 w 107"/>
                  <a:gd name="T35" fmla="*/ 106 h 146"/>
                  <a:gd name="T36" fmla="*/ 107 w 107"/>
                  <a:gd name="T37" fmla="*/ 102 h 146"/>
                  <a:gd name="T38" fmla="*/ 107 w 107"/>
                  <a:gd name="T39" fmla="*/ 100 h 146"/>
                  <a:gd name="T40" fmla="*/ 105 w 107"/>
                  <a:gd name="T41" fmla="*/ 98 h 146"/>
                  <a:gd name="T42" fmla="*/ 102 w 107"/>
                  <a:gd name="T43" fmla="*/ 96 h 146"/>
                  <a:gd name="T44" fmla="*/ 98 w 107"/>
                  <a:gd name="T45" fmla="*/ 90 h 146"/>
                  <a:gd name="T46" fmla="*/ 96 w 107"/>
                  <a:gd name="T47" fmla="*/ 85 h 146"/>
                  <a:gd name="T48" fmla="*/ 92 w 107"/>
                  <a:gd name="T49" fmla="*/ 79 h 146"/>
                  <a:gd name="T50" fmla="*/ 90 w 107"/>
                  <a:gd name="T51" fmla="*/ 73 h 146"/>
                  <a:gd name="T52" fmla="*/ 86 w 107"/>
                  <a:gd name="T53" fmla="*/ 69 h 146"/>
                  <a:gd name="T54" fmla="*/ 80 w 107"/>
                  <a:gd name="T55" fmla="*/ 67 h 146"/>
                  <a:gd name="T56" fmla="*/ 73 w 107"/>
                  <a:gd name="T57" fmla="*/ 65 h 146"/>
                  <a:gd name="T58" fmla="*/ 71 w 107"/>
                  <a:gd name="T59" fmla="*/ 63 h 146"/>
                  <a:gd name="T60" fmla="*/ 77 w 107"/>
                  <a:gd name="T61" fmla="*/ 52 h 146"/>
                  <a:gd name="T62" fmla="*/ 82 w 107"/>
                  <a:gd name="T63" fmla="*/ 46 h 146"/>
                  <a:gd name="T64" fmla="*/ 84 w 107"/>
                  <a:gd name="T65" fmla="*/ 38 h 146"/>
                  <a:gd name="T66" fmla="*/ 82 w 107"/>
                  <a:gd name="T67" fmla="*/ 31 h 146"/>
                  <a:gd name="T68" fmla="*/ 80 w 107"/>
                  <a:gd name="T69" fmla="*/ 27 h 146"/>
                  <a:gd name="T70" fmla="*/ 77 w 107"/>
                  <a:gd name="T71" fmla="*/ 23 h 146"/>
                  <a:gd name="T72" fmla="*/ 71 w 107"/>
                  <a:gd name="T73" fmla="*/ 25 h 146"/>
                  <a:gd name="T74" fmla="*/ 65 w 107"/>
                  <a:gd name="T75" fmla="*/ 33 h 146"/>
                  <a:gd name="T76" fmla="*/ 61 w 107"/>
                  <a:gd name="T77" fmla="*/ 38 h 146"/>
                  <a:gd name="T78" fmla="*/ 61 w 107"/>
                  <a:gd name="T79" fmla="*/ 40 h 146"/>
                  <a:gd name="T80" fmla="*/ 55 w 107"/>
                  <a:gd name="T81" fmla="*/ 35 h 146"/>
                  <a:gd name="T82" fmla="*/ 57 w 107"/>
                  <a:gd name="T83" fmla="*/ 31 h 146"/>
                  <a:gd name="T84" fmla="*/ 59 w 107"/>
                  <a:gd name="T85" fmla="*/ 25 h 146"/>
                  <a:gd name="T86" fmla="*/ 59 w 107"/>
                  <a:gd name="T87" fmla="*/ 15 h 146"/>
                  <a:gd name="T88" fmla="*/ 57 w 107"/>
                  <a:gd name="T89" fmla="*/ 8 h 146"/>
                  <a:gd name="T90" fmla="*/ 54 w 107"/>
                  <a:gd name="T91" fmla="*/ 2 h 146"/>
                  <a:gd name="T92" fmla="*/ 54 w 107"/>
                  <a:gd name="T93" fmla="*/ 0 h 146"/>
                  <a:gd name="T94" fmla="*/ 50 w 107"/>
                  <a:gd name="T95" fmla="*/ 8 h 146"/>
                  <a:gd name="T96" fmla="*/ 36 w 107"/>
                  <a:gd name="T97" fmla="*/ 8 h 146"/>
                  <a:gd name="T98" fmla="*/ 36 w 107"/>
                  <a:gd name="T99" fmla="*/ 13 h 146"/>
                  <a:gd name="T100" fmla="*/ 32 w 107"/>
                  <a:gd name="T101" fmla="*/ 17 h 146"/>
                  <a:gd name="T102" fmla="*/ 27 w 107"/>
                  <a:gd name="T103" fmla="*/ 21 h 146"/>
                  <a:gd name="T104" fmla="*/ 23 w 107"/>
                  <a:gd name="T105" fmla="*/ 25 h 146"/>
                  <a:gd name="T106" fmla="*/ 23 w 107"/>
                  <a:gd name="T107" fmla="*/ 27 h 146"/>
                  <a:gd name="T108" fmla="*/ 15 w 107"/>
                  <a:gd name="T109" fmla="*/ 35 h 146"/>
                  <a:gd name="T110" fmla="*/ 11 w 107"/>
                  <a:gd name="T111" fmla="*/ 44 h 146"/>
                  <a:gd name="T112" fmla="*/ 6 w 107"/>
                  <a:gd name="T113" fmla="*/ 54 h 146"/>
                  <a:gd name="T114" fmla="*/ 0 w 107"/>
                  <a:gd name="T115" fmla="*/ 61 h 146"/>
                  <a:gd name="T116" fmla="*/ 0 w 107"/>
                  <a:gd name="T117" fmla="*/ 65 h 14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07"/>
                  <a:gd name="T178" fmla="*/ 0 h 146"/>
                  <a:gd name="T179" fmla="*/ 107 w 107"/>
                  <a:gd name="T180" fmla="*/ 146 h 14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07" h="146">
                    <a:moveTo>
                      <a:pt x="0" y="65"/>
                    </a:moveTo>
                    <a:lnTo>
                      <a:pt x="2" y="71"/>
                    </a:lnTo>
                    <a:lnTo>
                      <a:pt x="4" y="75"/>
                    </a:lnTo>
                    <a:lnTo>
                      <a:pt x="6" y="81"/>
                    </a:lnTo>
                    <a:lnTo>
                      <a:pt x="15" y="88"/>
                    </a:lnTo>
                    <a:lnTo>
                      <a:pt x="25" y="92"/>
                    </a:lnTo>
                    <a:lnTo>
                      <a:pt x="36" y="98"/>
                    </a:lnTo>
                    <a:lnTo>
                      <a:pt x="54" y="117"/>
                    </a:lnTo>
                    <a:lnTo>
                      <a:pt x="75" y="138"/>
                    </a:lnTo>
                    <a:lnTo>
                      <a:pt x="103" y="146"/>
                    </a:lnTo>
                    <a:lnTo>
                      <a:pt x="103" y="144"/>
                    </a:lnTo>
                    <a:lnTo>
                      <a:pt x="100" y="133"/>
                    </a:lnTo>
                    <a:lnTo>
                      <a:pt x="100" y="129"/>
                    </a:lnTo>
                    <a:lnTo>
                      <a:pt x="98" y="125"/>
                    </a:lnTo>
                    <a:lnTo>
                      <a:pt x="100" y="121"/>
                    </a:lnTo>
                    <a:lnTo>
                      <a:pt x="103" y="117"/>
                    </a:lnTo>
                    <a:lnTo>
                      <a:pt x="105" y="111"/>
                    </a:lnTo>
                    <a:lnTo>
                      <a:pt x="105" y="106"/>
                    </a:lnTo>
                    <a:lnTo>
                      <a:pt x="107" y="102"/>
                    </a:lnTo>
                    <a:lnTo>
                      <a:pt x="107" y="100"/>
                    </a:lnTo>
                    <a:lnTo>
                      <a:pt x="105" y="98"/>
                    </a:lnTo>
                    <a:lnTo>
                      <a:pt x="102" y="96"/>
                    </a:lnTo>
                    <a:lnTo>
                      <a:pt x="98" y="90"/>
                    </a:lnTo>
                    <a:lnTo>
                      <a:pt x="96" y="85"/>
                    </a:lnTo>
                    <a:lnTo>
                      <a:pt x="92" y="79"/>
                    </a:lnTo>
                    <a:lnTo>
                      <a:pt x="90" y="73"/>
                    </a:lnTo>
                    <a:lnTo>
                      <a:pt x="86" y="69"/>
                    </a:lnTo>
                    <a:lnTo>
                      <a:pt x="80" y="67"/>
                    </a:lnTo>
                    <a:lnTo>
                      <a:pt x="73" y="65"/>
                    </a:lnTo>
                    <a:lnTo>
                      <a:pt x="71" y="63"/>
                    </a:lnTo>
                    <a:lnTo>
                      <a:pt x="77" y="52"/>
                    </a:lnTo>
                    <a:lnTo>
                      <a:pt x="82" y="46"/>
                    </a:lnTo>
                    <a:lnTo>
                      <a:pt x="84" y="38"/>
                    </a:lnTo>
                    <a:lnTo>
                      <a:pt x="82" y="31"/>
                    </a:lnTo>
                    <a:lnTo>
                      <a:pt x="80" y="27"/>
                    </a:lnTo>
                    <a:lnTo>
                      <a:pt x="77" y="23"/>
                    </a:lnTo>
                    <a:lnTo>
                      <a:pt x="71" y="25"/>
                    </a:lnTo>
                    <a:lnTo>
                      <a:pt x="65" y="33"/>
                    </a:lnTo>
                    <a:lnTo>
                      <a:pt x="61" y="38"/>
                    </a:lnTo>
                    <a:lnTo>
                      <a:pt x="61" y="40"/>
                    </a:lnTo>
                    <a:lnTo>
                      <a:pt x="55" y="35"/>
                    </a:lnTo>
                    <a:lnTo>
                      <a:pt x="57" y="31"/>
                    </a:lnTo>
                    <a:lnTo>
                      <a:pt x="59" y="25"/>
                    </a:lnTo>
                    <a:lnTo>
                      <a:pt x="59" y="15"/>
                    </a:lnTo>
                    <a:lnTo>
                      <a:pt x="57" y="8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0" y="8"/>
                    </a:lnTo>
                    <a:lnTo>
                      <a:pt x="36" y="8"/>
                    </a:lnTo>
                    <a:lnTo>
                      <a:pt x="36" y="13"/>
                    </a:lnTo>
                    <a:lnTo>
                      <a:pt x="32" y="17"/>
                    </a:lnTo>
                    <a:lnTo>
                      <a:pt x="27" y="21"/>
                    </a:lnTo>
                    <a:lnTo>
                      <a:pt x="23" y="25"/>
                    </a:lnTo>
                    <a:lnTo>
                      <a:pt x="23" y="27"/>
                    </a:lnTo>
                    <a:lnTo>
                      <a:pt x="15" y="35"/>
                    </a:lnTo>
                    <a:lnTo>
                      <a:pt x="11" y="44"/>
                    </a:lnTo>
                    <a:lnTo>
                      <a:pt x="6" y="54"/>
                    </a:lnTo>
                    <a:lnTo>
                      <a:pt x="0" y="61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7" name="Freeform 145"/>
              <p:cNvSpPr>
                <a:spLocks/>
              </p:cNvSpPr>
              <p:nvPr/>
            </p:nvSpPr>
            <p:spPr bwMode="gray">
              <a:xfrm>
                <a:off x="3364" y="3240"/>
                <a:ext cx="24" cy="22"/>
              </a:xfrm>
              <a:custGeom>
                <a:avLst/>
                <a:gdLst>
                  <a:gd name="T0" fmla="*/ 23 w 47"/>
                  <a:gd name="T1" fmla="*/ 41 h 45"/>
                  <a:gd name="T2" fmla="*/ 30 w 47"/>
                  <a:gd name="T3" fmla="*/ 33 h 45"/>
                  <a:gd name="T4" fmla="*/ 34 w 47"/>
                  <a:gd name="T5" fmla="*/ 31 h 45"/>
                  <a:gd name="T6" fmla="*/ 36 w 47"/>
                  <a:gd name="T7" fmla="*/ 31 h 45"/>
                  <a:gd name="T8" fmla="*/ 40 w 47"/>
                  <a:gd name="T9" fmla="*/ 29 h 45"/>
                  <a:gd name="T10" fmla="*/ 44 w 47"/>
                  <a:gd name="T11" fmla="*/ 29 h 45"/>
                  <a:gd name="T12" fmla="*/ 46 w 47"/>
                  <a:gd name="T13" fmla="*/ 27 h 45"/>
                  <a:gd name="T14" fmla="*/ 47 w 47"/>
                  <a:gd name="T15" fmla="*/ 24 h 45"/>
                  <a:gd name="T16" fmla="*/ 42 w 47"/>
                  <a:gd name="T17" fmla="*/ 12 h 45"/>
                  <a:gd name="T18" fmla="*/ 30 w 47"/>
                  <a:gd name="T19" fmla="*/ 0 h 45"/>
                  <a:gd name="T20" fmla="*/ 28 w 47"/>
                  <a:gd name="T21" fmla="*/ 2 h 45"/>
                  <a:gd name="T22" fmla="*/ 23 w 47"/>
                  <a:gd name="T23" fmla="*/ 6 h 45"/>
                  <a:gd name="T24" fmla="*/ 15 w 47"/>
                  <a:gd name="T25" fmla="*/ 12 h 45"/>
                  <a:gd name="T26" fmla="*/ 11 w 47"/>
                  <a:gd name="T27" fmla="*/ 16 h 45"/>
                  <a:gd name="T28" fmla="*/ 5 w 47"/>
                  <a:gd name="T29" fmla="*/ 16 h 45"/>
                  <a:gd name="T30" fmla="*/ 3 w 47"/>
                  <a:gd name="T31" fmla="*/ 18 h 45"/>
                  <a:gd name="T32" fmla="*/ 0 w 47"/>
                  <a:gd name="T33" fmla="*/ 24 h 45"/>
                  <a:gd name="T34" fmla="*/ 3 w 47"/>
                  <a:gd name="T35" fmla="*/ 27 h 45"/>
                  <a:gd name="T36" fmla="*/ 3 w 47"/>
                  <a:gd name="T37" fmla="*/ 29 h 45"/>
                  <a:gd name="T38" fmla="*/ 7 w 47"/>
                  <a:gd name="T39" fmla="*/ 35 h 45"/>
                  <a:gd name="T40" fmla="*/ 7 w 47"/>
                  <a:gd name="T41" fmla="*/ 41 h 45"/>
                  <a:gd name="T42" fmla="*/ 9 w 47"/>
                  <a:gd name="T43" fmla="*/ 43 h 45"/>
                  <a:gd name="T44" fmla="*/ 15 w 47"/>
                  <a:gd name="T45" fmla="*/ 45 h 45"/>
                  <a:gd name="T46" fmla="*/ 19 w 47"/>
                  <a:gd name="T47" fmla="*/ 45 h 45"/>
                  <a:gd name="T48" fmla="*/ 23 w 47"/>
                  <a:gd name="T49" fmla="*/ 41 h 4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7"/>
                  <a:gd name="T76" fmla="*/ 0 h 45"/>
                  <a:gd name="T77" fmla="*/ 47 w 47"/>
                  <a:gd name="T78" fmla="*/ 45 h 4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7" h="45">
                    <a:moveTo>
                      <a:pt x="23" y="41"/>
                    </a:moveTo>
                    <a:lnTo>
                      <a:pt x="30" y="33"/>
                    </a:lnTo>
                    <a:lnTo>
                      <a:pt x="34" y="31"/>
                    </a:lnTo>
                    <a:lnTo>
                      <a:pt x="36" y="31"/>
                    </a:lnTo>
                    <a:lnTo>
                      <a:pt x="40" y="29"/>
                    </a:lnTo>
                    <a:lnTo>
                      <a:pt x="44" y="29"/>
                    </a:lnTo>
                    <a:lnTo>
                      <a:pt x="46" y="27"/>
                    </a:lnTo>
                    <a:lnTo>
                      <a:pt x="47" y="24"/>
                    </a:lnTo>
                    <a:lnTo>
                      <a:pt x="42" y="12"/>
                    </a:lnTo>
                    <a:lnTo>
                      <a:pt x="30" y="0"/>
                    </a:lnTo>
                    <a:lnTo>
                      <a:pt x="28" y="2"/>
                    </a:lnTo>
                    <a:lnTo>
                      <a:pt x="23" y="6"/>
                    </a:lnTo>
                    <a:lnTo>
                      <a:pt x="15" y="12"/>
                    </a:lnTo>
                    <a:lnTo>
                      <a:pt x="11" y="16"/>
                    </a:lnTo>
                    <a:lnTo>
                      <a:pt x="5" y="16"/>
                    </a:lnTo>
                    <a:lnTo>
                      <a:pt x="3" y="18"/>
                    </a:lnTo>
                    <a:lnTo>
                      <a:pt x="0" y="24"/>
                    </a:lnTo>
                    <a:lnTo>
                      <a:pt x="3" y="27"/>
                    </a:lnTo>
                    <a:lnTo>
                      <a:pt x="3" y="29"/>
                    </a:lnTo>
                    <a:lnTo>
                      <a:pt x="7" y="35"/>
                    </a:lnTo>
                    <a:lnTo>
                      <a:pt x="7" y="41"/>
                    </a:lnTo>
                    <a:lnTo>
                      <a:pt x="9" y="43"/>
                    </a:lnTo>
                    <a:lnTo>
                      <a:pt x="15" y="45"/>
                    </a:lnTo>
                    <a:lnTo>
                      <a:pt x="19" y="45"/>
                    </a:lnTo>
                    <a:lnTo>
                      <a:pt x="23" y="4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8" name="Freeform 146"/>
              <p:cNvSpPr>
                <a:spLocks/>
              </p:cNvSpPr>
              <p:nvPr/>
            </p:nvSpPr>
            <p:spPr bwMode="gray">
              <a:xfrm>
                <a:off x="3469" y="2230"/>
                <a:ext cx="24" cy="32"/>
              </a:xfrm>
              <a:custGeom>
                <a:avLst/>
                <a:gdLst>
                  <a:gd name="T0" fmla="*/ 5 w 48"/>
                  <a:gd name="T1" fmla="*/ 63 h 63"/>
                  <a:gd name="T2" fmla="*/ 9 w 48"/>
                  <a:gd name="T3" fmla="*/ 61 h 63"/>
                  <a:gd name="T4" fmla="*/ 17 w 48"/>
                  <a:gd name="T5" fmla="*/ 59 h 63"/>
                  <a:gd name="T6" fmla="*/ 21 w 48"/>
                  <a:gd name="T7" fmla="*/ 57 h 63"/>
                  <a:gd name="T8" fmla="*/ 23 w 48"/>
                  <a:gd name="T9" fmla="*/ 57 h 63"/>
                  <a:gd name="T10" fmla="*/ 23 w 48"/>
                  <a:gd name="T11" fmla="*/ 54 h 63"/>
                  <a:gd name="T12" fmla="*/ 25 w 48"/>
                  <a:gd name="T13" fmla="*/ 50 h 63"/>
                  <a:gd name="T14" fmla="*/ 28 w 48"/>
                  <a:gd name="T15" fmla="*/ 48 h 63"/>
                  <a:gd name="T16" fmla="*/ 30 w 48"/>
                  <a:gd name="T17" fmla="*/ 46 h 63"/>
                  <a:gd name="T18" fmla="*/ 34 w 48"/>
                  <a:gd name="T19" fmla="*/ 44 h 63"/>
                  <a:gd name="T20" fmla="*/ 34 w 48"/>
                  <a:gd name="T21" fmla="*/ 38 h 63"/>
                  <a:gd name="T22" fmla="*/ 36 w 48"/>
                  <a:gd name="T23" fmla="*/ 30 h 63"/>
                  <a:gd name="T24" fmla="*/ 36 w 48"/>
                  <a:gd name="T25" fmla="*/ 27 h 63"/>
                  <a:gd name="T26" fmla="*/ 42 w 48"/>
                  <a:gd name="T27" fmla="*/ 19 h 63"/>
                  <a:gd name="T28" fmla="*/ 46 w 48"/>
                  <a:gd name="T29" fmla="*/ 9 h 63"/>
                  <a:gd name="T30" fmla="*/ 48 w 48"/>
                  <a:gd name="T31" fmla="*/ 2 h 63"/>
                  <a:gd name="T32" fmla="*/ 46 w 48"/>
                  <a:gd name="T33" fmla="*/ 0 h 63"/>
                  <a:gd name="T34" fmla="*/ 32 w 48"/>
                  <a:gd name="T35" fmla="*/ 0 h 63"/>
                  <a:gd name="T36" fmla="*/ 27 w 48"/>
                  <a:gd name="T37" fmla="*/ 2 h 63"/>
                  <a:gd name="T38" fmla="*/ 23 w 48"/>
                  <a:gd name="T39" fmla="*/ 7 h 63"/>
                  <a:gd name="T40" fmla="*/ 21 w 48"/>
                  <a:gd name="T41" fmla="*/ 11 h 63"/>
                  <a:gd name="T42" fmla="*/ 15 w 48"/>
                  <a:gd name="T43" fmla="*/ 27 h 63"/>
                  <a:gd name="T44" fmla="*/ 7 w 48"/>
                  <a:gd name="T45" fmla="*/ 42 h 63"/>
                  <a:gd name="T46" fmla="*/ 2 w 48"/>
                  <a:gd name="T47" fmla="*/ 52 h 63"/>
                  <a:gd name="T48" fmla="*/ 0 w 48"/>
                  <a:gd name="T49" fmla="*/ 57 h 63"/>
                  <a:gd name="T50" fmla="*/ 3 w 48"/>
                  <a:gd name="T51" fmla="*/ 59 h 63"/>
                  <a:gd name="T52" fmla="*/ 5 w 48"/>
                  <a:gd name="T53" fmla="*/ 63 h 6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48"/>
                  <a:gd name="T82" fmla="*/ 0 h 63"/>
                  <a:gd name="T83" fmla="*/ 48 w 48"/>
                  <a:gd name="T84" fmla="*/ 63 h 63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48" h="63">
                    <a:moveTo>
                      <a:pt x="5" y="63"/>
                    </a:moveTo>
                    <a:lnTo>
                      <a:pt x="9" y="61"/>
                    </a:lnTo>
                    <a:lnTo>
                      <a:pt x="17" y="59"/>
                    </a:lnTo>
                    <a:lnTo>
                      <a:pt x="21" y="57"/>
                    </a:lnTo>
                    <a:lnTo>
                      <a:pt x="23" y="57"/>
                    </a:lnTo>
                    <a:lnTo>
                      <a:pt x="23" y="54"/>
                    </a:lnTo>
                    <a:lnTo>
                      <a:pt x="25" y="50"/>
                    </a:lnTo>
                    <a:lnTo>
                      <a:pt x="28" y="48"/>
                    </a:lnTo>
                    <a:lnTo>
                      <a:pt x="30" y="46"/>
                    </a:lnTo>
                    <a:lnTo>
                      <a:pt x="34" y="44"/>
                    </a:lnTo>
                    <a:lnTo>
                      <a:pt x="34" y="38"/>
                    </a:lnTo>
                    <a:lnTo>
                      <a:pt x="36" y="30"/>
                    </a:lnTo>
                    <a:lnTo>
                      <a:pt x="36" y="27"/>
                    </a:lnTo>
                    <a:lnTo>
                      <a:pt x="42" y="19"/>
                    </a:lnTo>
                    <a:lnTo>
                      <a:pt x="46" y="9"/>
                    </a:lnTo>
                    <a:lnTo>
                      <a:pt x="48" y="2"/>
                    </a:lnTo>
                    <a:lnTo>
                      <a:pt x="46" y="0"/>
                    </a:lnTo>
                    <a:lnTo>
                      <a:pt x="32" y="0"/>
                    </a:lnTo>
                    <a:lnTo>
                      <a:pt x="27" y="2"/>
                    </a:lnTo>
                    <a:lnTo>
                      <a:pt x="23" y="7"/>
                    </a:lnTo>
                    <a:lnTo>
                      <a:pt x="21" y="11"/>
                    </a:lnTo>
                    <a:lnTo>
                      <a:pt x="15" y="27"/>
                    </a:lnTo>
                    <a:lnTo>
                      <a:pt x="7" y="42"/>
                    </a:lnTo>
                    <a:lnTo>
                      <a:pt x="2" y="52"/>
                    </a:lnTo>
                    <a:lnTo>
                      <a:pt x="0" y="57"/>
                    </a:lnTo>
                    <a:lnTo>
                      <a:pt x="3" y="59"/>
                    </a:lnTo>
                    <a:lnTo>
                      <a:pt x="5" y="6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59" name="Freeform 147"/>
              <p:cNvSpPr>
                <a:spLocks/>
              </p:cNvSpPr>
              <p:nvPr/>
            </p:nvSpPr>
            <p:spPr bwMode="gray">
              <a:xfrm>
                <a:off x="3295" y="1797"/>
                <a:ext cx="94" cy="59"/>
              </a:xfrm>
              <a:custGeom>
                <a:avLst/>
                <a:gdLst>
                  <a:gd name="T0" fmla="*/ 79 w 188"/>
                  <a:gd name="T1" fmla="*/ 21 h 117"/>
                  <a:gd name="T2" fmla="*/ 71 w 188"/>
                  <a:gd name="T3" fmla="*/ 42 h 117"/>
                  <a:gd name="T4" fmla="*/ 37 w 188"/>
                  <a:gd name="T5" fmla="*/ 23 h 117"/>
                  <a:gd name="T6" fmla="*/ 18 w 188"/>
                  <a:gd name="T7" fmla="*/ 19 h 117"/>
                  <a:gd name="T8" fmla="*/ 18 w 188"/>
                  <a:gd name="T9" fmla="*/ 35 h 117"/>
                  <a:gd name="T10" fmla="*/ 6 w 188"/>
                  <a:gd name="T11" fmla="*/ 58 h 117"/>
                  <a:gd name="T12" fmla="*/ 0 w 188"/>
                  <a:gd name="T13" fmla="*/ 75 h 117"/>
                  <a:gd name="T14" fmla="*/ 14 w 188"/>
                  <a:gd name="T15" fmla="*/ 69 h 117"/>
                  <a:gd name="T16" fmla="*/ 35 w 188"/>
                  <a:gd name="T17" fmla="*/ 73 h 117"/>
                  <a:gd name="T18" fmla="*/ 56 w 188"/>
                  <a:gd name="T19" fmla="*/ 79 h 117"/>
                  <a:gd name="T20" fmla="*/ 73 w 188"/>
                  <a:gd name="T21" fmla="*/ 83 h 117"/>
                  <a:gd name="T22" fmla="*/ 83 w 188"/>
                  <a:gd name="T23" fmla="*/ 86 h 117"/>
                  <a:gd name="T24" fmla="*/ 92 w 188"/>
                  <a:gd name="T25" fmla="*/ 85 h 117"/>
                  <a:gd name="T26" fmla="*/ 94 w 188"/>
                  <a:gd name="T27" fmla="*/ 86 h 117"/>
                  <a:gd name="T28" fmla="*/ 102 w 188"/>
                  <a:gd name="T29" fmla="*/ 98 h 117"/>
                  <a:gd name="T30" fmla="*/ 112 w 188"/>
                  <a:gd name="T31" fmla="*/ 100 h 117"/>
                  <a:gd name="T32" fmla="*/ 119 w 188"/>
                  <a:gd name="T33" fmla="*/ 108 h 117"/>
                  <a:gd name="T34" fmla="*/ 133 w 188"/>
                  <a:gd name="T35" fmla="*/ 113 h 117"/>
                  <a:gd name="T36" fmla="*/ 139 w 188"/>
                  <a:gd name="T37" fmla="*/ 117 h 117"/>
                  <a:gd name="T38" fmla="*/ 148 w 188"/>
                  <a:gd name="T39" fmla="*/ 104 h 117"/>
                  <a:gd name="T40" fmla="*/ 163 w 188"/>
                  <a:gd name="T41" fmla="*/ 108 h 117"/>
                  <a:gd name="T42" fmla="*/ 165 w 188"/>
                  <a:gd name="T43" fmla="*/ 94 h 117"/>
                  <a:gd name="T44" fmla="*/ 171 w 188"/>
                  <a:gd name="T45" fmla="*/ 79 h 117"/>
                  <a:gd name="T46" fmla="*/ 175 w 188"/>
                  <a:gd name="T47" fmla="*/ 79 h 117"/>
                  <a:gd name="T48" fmla="*/ 188 w 188"/>
                  <a:gd name="T49" fmla="*/ 77 h 117"/>
                  <a:gd name="T50" fmla="*/ 186 w 188"/>
                  <a:gd name="T51" fmla="*/ 65 h 117"/>
                  <a:gd name="T52" fmla="*/ 179 w 188"/>
                  <a:gd name="T53" fmla="*/ 56 h 117"/>
                  <a:gd name="T54" fmla="*/ 171 w 188"/>
                  <a:gd name="T55" fmla="*/ 52 h 117"/>
                  <a:gd name="T56" fmla="*/ 169 w 188"/>
                  <a:gd name="T57" fmla="*/ 42 h 117"/>
                  <a:gd name="T58" fmla="*/ 163 w 188"/>
                  <a:gd name="T59" fmla="*/ 31 h 117"/>
                  <a:gd name="T60" fmla="*/ 154 w 188"/>
                  <a:gd name="T61" fmla="*/ 29 h 117"/>
                  <a:gd name="T62" fmla="*/ 137 w 188"/>
                  <a:gd name="T63" fmla="*/ 25 h 117"/>
                  <a:gd name="T64" fmla="*/ 123 w 188"/>
                  <a:gd name="T65" fmla="*/ 11 h 117"/>
                  <a:gd name="T66" fmla="*/ 121 w 188"/>
                  <a:gd name="T67" fmla="*/ 6 h 117"/>
                  <a:gd name="T68" fmla="*/ 108 w 188"/>
                  <a:gd name="T69" fmla="*/ 0 h 117"/>
                  <a:gd name="T70" fmla="*/ 94 w 188"/>
                  <a:gd name="T71" fmla="*/ 4 h 11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88"/>
                  <a:gd name="T109" fmla="*/ 0 h 117"/>
                  <a:gd name="T110" fmla="*/ 188 w 188"/>
                  <a:gd name="T111" fmla="*/ 117 h 11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88" h="117">
                    <a:moveTo>
                      <a:pt x="81" y="4"/>
                    </a:moveTo>
                    <a:lnTo>
                      <a:pt x="79" y="21"/>
                    </a:lnTo>
                    <a:lnTo>
                      <a:pt x="75" y="33"/>
                    </a:lnTo>
                    <a:lnTo>
                      <a:pt x="71" y="42"/>
                    </a:lnTo>
                    <a:lnTo>
                      <a:pt x="48" y="42"/>
                    </a:lnTo>
                    <a:lnTo>
                      <a:pt x="37" y="23"/>
                    </a:lnTo>
                    <a:lnTo>
                      <a:pt x="33" y="11"/>
                    </a:lnTo>
                    <a:lnTo>
                      <a:pt x="18" y="19"/>
                    </a:lnTo>
                    <a:lnTo>
                      <a:pt x="16" y="27"/>
                    </a:lnTo>
                    <a:lnTo>
                      <a:pt x="18" y="35"/>
                    </a:lnTo>
                    <a:lnTo>
                      <a:pt x="18" y="42"/>
                    </a:lnTo>
                    <a:lnTo>
                      <a:pt x="6" y="58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6" y="73"/>
                    </a:lnTo>
                    <a:lnTo>
                      <a:pt x="14" y="69"/>
                    </a:lnTo>
                    <a:lnTo>
                      <a:pt x="27" y="69"/>
                    </a:lnTo>
                    <a:lnTo>
                      <a:pt x="35" y="73"/>
                    </a:lnTo>
                    <a:lnTo>
                      <a:pt x="44" y="75"/>
                    </a:lnTo>
                    <a:lnTo>
                      <a:pt x="56" y="79"/>
                    </a:lnTo>
                    <a:lnTo>
                      <a:pt x="62" y="79"/>
                    </a:lnTo>
                    <a:lnTo>
                      <a:pt x="73" y="83"/>
                    </a:lnTo>
                    <a:lnTo>
                      <a:pt x="77" y="85"/>
                    </a:lnTo>
                    <a:lnTo>
                      <a:pt x="83" y="86"/>
                    </a:lnTo>
                    <a:lnTo>
                      <a:pt x="87" y="86"/>
                    </a:lnTo>
                    <a:lnTo>
                      <a:pt x="92" y="85"/>
                    </a:lnTo>
                    <a:lnTo>
                      <a:pt x="94" y="85"/>
                    </a:lnTo>
                    <a:lnTo>
                      <a:pt x="94" y="86"/>
                    </a:lnTo>
                    <a:lnTo>
                      <a:pt x="96" y="92"/>
                    </a:lnTo>
                    <a:lnTo>
                      <a:pt x="102" y="98"/>
                    </a:lnTo>
                    <a:lnTo>
                      <a:pt x="108" y="100"/>
                    </a:lnTo>
                    <a:lnTo>
                      <a:pt x="112" y="100"/>
                    </a:lnTo>
                    <a:lnTo>
                      <a:pt x="115" y="102"/>
                    </a:lnTo>
                    <a:lnTo>
                      <a:pt x="119" y="108"/>
                    </a:lnTo>
                    <a:lnTo>
                      <a:pt x="127" y="111"/>
                    </a:lnTo>
                    <a:lnTo>
                      <a:pt x="133" y="113"/>
                    </a:lnTo>
                    <a:lnTo>
                      <a:pt x="137" y="115"/>
                    </a:lnTo>
                    <a:lnTo>
                      <a:pt x="139" y="117"/>
                    </a:lnTo>
                    <a:lnTo>
                      <a:pt x="142" y="111"/>
                    </a:lnTo>
                    <a:lnTo>
                      <a:pt x="148" y="104"/>
                    </a:lnTo>
                    <a:lnTo>
                      <a:pt x="158" y="104"/>
                    </a:lnTo>
                    <a:lnTo>
                      <a:pt x="163" y="108"/>
                    </a:lnTo>
                    <a:lnTo>
                      <a:pt x="165" y="104"/>
                    </a:lnTo>
                    <a:lnTo>
                      <a:pt x="165" y="94"/>
                    </a:lnTo>
                    <a:lnTo>
                      <a:pt x="167" y="85"/>
                    </a:lnTo>
                    <a:lnTo>
                      <a:pt x="171" y="79"/>
                    </a:lnTo>
                    <a:lnTo>
                      <a:pt x="171" y="77"/>
                    </a:lnTo>
                    <a:lnTo>
                      <a:pt x="175" y="79"/>
                    </a:lnTo>
                    <a:lnTo>
                      <a:pt x="183" y="81"/>
                    </a:lnTo>
                    <a:lnTo>
                      <a:pt x="188" y="77"/>
                    </a:lnTo>
                    <a:lnTo>
                      <a:pt x="186" y="67"/>
                    </a:lnTo>
                    <a:lnTo>
                      <a:pt x="186" y="65"/>
                    </a:lnTo>
                    <a:lnTo>
                      <a:pt x="183" y="61"/>
                    </a:lnTo>
                    <a:lnTo>
                      <a:pt x="179" y="56"/>
                    </a:lnTo>
                    <a:lnTo>
                      <a:pt x="175" y="52"/>
                    </a:lnTo>
                    <a:lnTo>
                      <a:pt x="171" y="52"/>
                    </a:lnTo>
                    <a:lnTo>
                      <a:pt x="169" y="50"/>
                    </a:lnTo>
                    <a:lnTo>
                      <a:pt x="169" y="42"/>
                    </a:lnTo>
                    <a:lnTo>
                      <a:pt x="167" y="29"/>
                    </a:lnTo>
                    <a:lnTo>
                      <a:pt x="163" y="31"/>
                    </a:lnTo>
                    <a:lnTo>
                      <a:pt x="158" y="33"/>
                    </a:lnTo>
                    <a:lnTo>
                      <a:pt x="154" y="29"/>
                    </a:lnTo>
                    <a:lnTo>
                      <a:pt x="150" y="21"/>
                    </a:lnTo>
                    <a:lnTo>
                      <a:pt x="137" y="25"/>
                    </a:lnTo>
                    <a:lnTo>
                      <a:pt x="131" y="11"/>
                    </a:lnTo>
                    <a:lnTo>
                      <a:pt x="123" y="11"/>
                    </a:lnTo>
                    <a:lnTo>
                      <a:pt x="123" y="10"/>
                    </a:lnTo>
                    <a:lnTo>
                      <a:pt x="121" y="6"/>
                    </a:lnTo>
                    <a:lnTo>
                      <a:pt x="115" y="2"/>
                    </a:lnTo>
                    <a:lnTo>
                      <a:pt x="108" y="0"/>
                    </a:lnTo>
                    <a:lnTo>
                      <a:pt x="98" y="0"/>
                    </a:lnTo>
                    <a:lnTo>
                      <a:pt x="94" y="4"/>
                    </a:lnTo>
                    <a:lnTo>
                      <a:pt x="81" y="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0" name="Freeform 148"/>
              <p:cNvSpPr>
                <a:spLocks/>
              </p:cNvSpPr>
              <p:nvPr/>
            </p:nvSpPr>
            <p:spPr bwMode="gray">
              <a:xfrm>
                <a:off x="4282" y="2425"/>
                <a:ext cx="86" cy="138"/>
              </a:xfrm>
              <a:custGeom>
                <a:avLst/>
                <a:gdLst>
                  <a:gd name="T0" fmla="*/ 127 w 171"/>
                  <a:gd name="T1" fmla="*/ 255 h 277"/>
                  <a:gd name="T2" fmla="*/ 129 w 171"/>
                  <a:gd name="T3" fmla="*/ 240 h 277"/>
                  <a:gd name="T4" fmla="*/ 123 w 171"/>
                  <a:gd name="T5" fmla="*/ 217 h 277"/>
                  <a:gd name="T6" fmla="*/ 112 w 171"/>
                  <a:gd name="T7" fmla="*/ 204 h 277"/>
                  <a:gd name="T8" fmla="*/ 106 w 171"/>
                  <a:gd name="T9" fmla="*/ 169 h 277"/>
                  <a:gd name="T10" fmla="*/ 87 w 171"/>
                  <a:gd name="T11" fmla="*/ 152 h 277"/>
                  <a:gd name="T12" fmla="*/ 71 w 171"/>
                  <a:gd name="T13" fmla="*/ 134 h 277"/>
                  <a:gd name="T14" fmla="*/ 56 w 171"/>
                  <a:gd name="T15" fmla="*/ 140 h 277"/>
                  <a:gd name="T16" fmla="*/ 43 w 171"/>
                  <a:gd name="T17" fmla="*/ 152 h 277"/>
                  <a:gd name="T18" fmla="*/ 31 w 171"/>
                  <a:gd name="T19" fmla="*/ 150 h 277"/>
                  <a:gd name="T20" fmla="*/ 10 w 171"/>
                  <a:gd name="T21" fmla="*/ 134 h 277"/>
                  <a:gd name="T22" fmla="*/ 8 w 171"/>
                  <a:gd name="T23" fmla="*/ 121 h 277"/>
                  <a:gd name="T24" fmla="*/ 16 w 171"/>
                  <a:gd name="T25" fmla="*/ 100 h 277"/>
                  <a:gd name="T26" fmla="*/ 0 w 171"/>
                  <a:gd name="T27" fmla="*/ 102 h 277"/>
                  <a:gd name="T28" fmla="*/ 8 w 171"/>
                  <a:gd name="T29" fmla="*/ 81 h 277"/>
                  <a:gd name="T30" fmla="*/ 18 w 171"/>
                  <a:gd name="T31" fmla="*/ 56 h 277"/>
                  <a:gd name="T32" fmla="*/ 23 w 171"/>
                  <a:gd name="T33" fmla="*/ 57 h 277"/>
                  <a:gd name="T34" fmla="*/ 37 w 171"/>
                  <a:gd name="T35" fmla="*/ 36 h 277"/>
                  <a:gd name="T36" fmla="*/ 31 w 171"/>
                  <a:gd name="T37" fmla="*/ 2 h 277"/>
                  <a:gd name="T38" fmla="*/ 58 w 171"/>
                  <a:gd name="T39" fmla="*/ 11 h 277"/>
                  <a:gd name="T40" fmla="*/ 64 w 171"/>
                  <a:gd name="T41" fmla="*/ 29 h 277"/>
                  <a:gd name="T42" fmla="*/ 77 w 171"/>
                  <a:gd name="T43" fmla="*/ 40 h 277"/>
                  <a:gd name="T44" fmla="*/ 94 w 171"/>
                  <a:gd name="T45" fmla="*/ 36 h 277"/>
                  <a:gd name="T46" fmla="*/ 115 w 171"/>
                  <a:gd name="T47" fmla="*/ 50 h 277"/>
                  <a:gd name="T48" fmla="*/ 108 w 171"/>
                  <a:gd name="T49" fmla="*/ 69 h 277"/>
                  <a:gd name="T50" fmla="*/ 104 w 171"/>
                  <a:gd name="T51" fmla="*/ 98 h 277"/>
                  <a:gd name="T52" fmla="*/ 83 w 171"/>
                  <a:gd name="T53" fmla="*/ 104 h 277"/>
                  <a:gd name="T54" fmla="*/ 104 w 171"/>
                  <a:gd name="T55" fmla="*/ 125 h 277"/>
                  <a:gd name="T56" fmla="*/ 119 w 171"/>
                  <a:gd name="T57" fmla="*/ 157 h 277"/>
                  <a:gd name="T58" fmla="*/ 129 w 171"/>
                  <a:gd name="T59" fmla="*/ 173 h 277"/>
                  <a:gd name="T60" fmla="*/ 148 w 171"/>
                  <a:gd name="T61" fmla="*/ 192 h 277"/>
                  <a:gd name="T62" fmla="*/ 158 w 171"/>
                  <a:gd name="T63" fmla="*/ 215 h 277"/>
                  <a:gd name="T64" fmla="*/ 169 w 171"/>
                  <a:gd name="T65" fmla="*/ 232 h 277"/>
                  <a:gd name="T66" fmla="*/ 169 w 171"/>
                  <a:gd name="T67" fmla="*/ 259 h 277"/>
                  <a:gd name="T68" fmla="*/ 152 w 171"/>
                  <a:gd name="T69" fmla="*/ 255 h 277"/>
                  <a:gd name="T70" fmla="*/ 137 w 171"/>
                  <a:gd name="T71" fmla="*/ 261 h 277"/>
                  <a:gd name="T72" fmla="*/ 131 w 171"/>
                  <a:gd name="T73" fmla="*/ 277 h 277"/>
                  <a:gd name="T74" fmla="*/ 119 w 171"/>
                  <a:gd name="T75" fmla="*/ 261 h 27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71"/>
                  <a:gd name="T115" fmla="*/ 0 h 277"/>
                  <a:gd name="T116" fmla="*/ 171 w 171"/>
                  <a:gd name="T117" fmla="*/ 277 h 27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71" h="277">
                    <a:moveTo>
                      <a:pt x="119" y="261"/>
                    </a:moveTo>
                    <a:lnTo>
                      <a:pt x="127" y="255"/>
                    </a:lnTo>
                    <a:lnTo>
                      <a:pt x="131" y="244"/>
                    </a:lnTo>
                    <a:lnTo>
                      <a:pt x="129" y="240"/>
                    </a:lnTo>
                    <a:lnTo>
                      <a:pt x="125" y="227"/>
                    </a:lnTo>
                    <a:lnTo>
                      <a:pt x="123" y="217"/>
                    </a:lnTo>
                    <a:lnTo>
                      <a:pt x="119" y="209"/>
                    </a:lnTo>
                    <a:lnTo>
                      <a:pt x="112" y="204"/>
                    </a:lnTo>
                    <a:lnTo>
                      <a:pt x="106" y="194"/>
                    </a:lnTo>
                    <a:lnTo>
                      <a:pt x="106" y="169"/>
                    </a:lnTo>
                    <a:lnTo>
                      <a:pt x="94" y="150"/>
                    </a:lnTo>
                    <a:lnTo>
                      <a:pt x="87" y="152"/>
                    </a:lnTo>
                    <a:lnTo>
                      <a:pt x="79" y="144"/>
                    </a:lnTo>
                    <a:lnTo>
                      <a:pt x="71" y="134"/>
                    </a:lnTo>
                    <a:lnTo>
                      <a:pt x="60" y="134"/>
                    </a:lnTo>
                    <a:lnTo>
                      <a:pt x="56" y="140"/>
                    </a:lnTo>
                    <a:lnTo>
                      <a:pt x="44" y="142"/>
                    </a:lnTo>
                    <a:lnTo>
                      <a:pt x="43" y="152"/>
                    </a:lnTo>
                    <a:lnTo>
                      <a:pt x="35" y="155"/>
                    </a:lnTo>
                    <a:lnTo>
                      <a:pt x="31" y="150"/>
                    </a:lnTo>
                    <a:lnTo>
                      <a:pt x="12" y="146"/>
                    </a:lnTo>
                    <a:lnTo>
                      <a:pt x="10" y="134"/>
                    </a:lnTo>
                    <a:lnTo>
                      <a:pt x="6" y="129"/>
                    </a:lnTo>
                    <a:lnTo>
                      <a:pt x="8" y="121"/>
                    </a:lnTo>
                    <a:lnTo>
                      <a:pt x="18" y="109"/>
                    </a:lnTo>
                    <a:lnTo>
                      <a:pt x="16" y="100"/>
                    </a:lnTo>
                    <a:lnTo>
                      <a:pt x="6" y="102"/>
                    </a:lnTo>
                    <a:lnTo>
                      <a:pt x="0" y="102"/>
                    </a:lnTo>
                    <a:lnTo>
                      <a:pt x="0" y="92"/>
                    </a:lnTo>
                    <a:lnTo>
                      <a:pt x="8" y="81"/>
                    </a:lnTo>
                    <a:lnTo>
                      <a:pt x="6" y="67"/>
                    </a:lnTo>
                    <a:lnTo>
                      <a:pt x="18" y="56"/>
                    </a:lnTo>
                    <a:lnTo>
                      <a:pt x="21" y="56"/>
                    </a:lnTo>
                    <a:lnTo>
                      <a:pt x="23" y="57"/>
                    </a:lnTo>
                    <a:lnTo>
                      <a:pt x="33" y="50"/>
                    </a:lnTo>
                    <a:lnTo>
                      <a:pt x="37" y="36"/>
                    </a:lnTo>
                    <a:lnTo>
                      <a:pt x="27" y="11"/>
                    </a:lnTo>
                    <a:lnTo>
                      <a:pt x="31" y="2"/>
                    </a:lnTo>
                    <a:lnTo>
                      <a:pt x="44" y="0"/>
                    </a:lnTo>
                    <a:lnTo>
                      <a:pt x="58" y="11"/>
                    </a:lnTo>
                    <a:lnTo>
                      <a:pt x="56" y="19"/>
                    </a:lnTo>
                    <a:lnTo>
                      <a:pt x="64" y="29"/>
                    </a:lnTo>
                    <a:lnTo>
                      <a:pt x="73" y="34"/>
                    </a:lnTo>
                    <a:lnTo>
                      <a:pt x="77" y="40"/>
                    </a:lnTo>
                    <a:lnTo>
                      <a:pt x="87" y="44"/>
                    </a:lnTo>
                    <a:lnTo>
                      <a:pt x="94" y="36"/>
                    </a:lnTo>
                    <a:lnTo>
                      <a:pt x="106" y="40"/>
                    </a:lnTo>
                    <a:lnTo>
                      <a:pt x="115" y="50"/>
                    </a:lnTo>
                    <a:lnTo>
                      <a:pt x="115" y="65"/>
                    </a:lnTo>
                    <a:lnTo>
                      <a:pt x="108" y="69"/>
                    </a:lnTo>
                    <a:lnTo>
                      <a:pt x="108" y="92"/>
                    </a:lnTo>
                    <a:lnTo>
                      <a:pt x="104" y="98"/>
                    </a:lnTo>
                    <a:lnTo>
                      <a:pt x="91" y="98"/>
                    </a:lnTo>
                    <a:lnTo>
                      <a:pt x="83" y="104"/>
                    </a:lnTo>
                    <a:lnTo>
                      <a:pt x="89" y="115"/>
                    </a:lnTo>
                    <a:lnTo>
                      <a:pt x="104" y="125"/>
                    </a:lnTo>
                    <a:lnTo>
                      <a:pt x="110" y="142"/>
                    </a:lnTo>
                    <a:lnTo>
                      <a:pt x="119" y="157"/>
                    </a:lnTo>
                    <a:lnTo>
                      <a:pt x="127" y="165"/>
                    </a:lnTo>
                    <a:lnTo>
                      <a:pt x="129" y="173"/>
                    </a:lnTo>
                    <a:lnTo>
                      <a:pt x="137" y="184"/>
                    </a:lnTo>
                    <a:lnTo>
                      <a:pt x="148" y="192"/>
                    </a:lnTo>
                    <a:lnTo>
                      <a:pt x="154" y="204"/>
                    </a:lnTo>
                    <a:lnTo>
                      <a:pt x="158" y="215"/>
                    </a:lnTo>
                    <a:lnTo>
                      <a:pt x="167" y="221"/>
                    </a:lnTo>
                    <a:lnTo>
                      <a:pt x="169" y="232"/>
                    </a:lnTo>
                    <a:lnTo>
                      <a:pt x="171" y="250"/>
                    </a:lnTo>
                    <a:lnTo>
                      <a:pt x="169" y="259"/>
                    </a:lnTo>
                    <a:lnTo>
                      <a:pt x="158" y="261"/>
                    </a:lnTo>
                    <a:lnTo>
                      <a:pt x="152" y="255"/>
                    </a:lnTo>
                    <a:lnTo>
                      <a:pt x="144" y="252"/>
                    </a:lnTo>
                    <a:lnTo>
                      <a:pt x="137" y="261"/>
                    </a:lnTo>
                    <a:lnTo>
                      <a:pt x="137" y="275"/>
                    </a:lnTo>
                    <a:lnTo>
                      <a:pt x="131" y="277"/>
                    </a:lnTo>
                    <a:lnTo>
                      <a:pt x="121" y="267"/>
                    </a:lnTo>
                    <a:lnTo>
                      <a:pt x="119" y="26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1" name="Freeform 149"/>
              <p:cNvSpPr>
                <a:spLocks/>
              </p:cNvSpPr>
              <p:nvPr/>
            </p:nvSpPr>
            <p:spPr bwMode="gray">
              <a:xfrm>
                <a:off x="3893" y="2083"/>
                <a:ext cx="136" cy="67"/>
              </a:xfrm>
              <a:custGeom>
                <a:avLst/>
                <a:gdLst>
                  <a:gd name="T0" fmla="*/ 84 w 271"/>
                  <a:gd name="T1" fmla="*/ 128 h 134"/>
                  <a:gd name="T2" fmla="*/ 61 w 271"/>
                  <a:gd name="T3" fmla="*/ 132 h 134"/>
                  <a:gd name="T4" fmla="*/ 48 w 271"/>
                  <a:gd name="T5" fmla="*/ 128 h 134"/>
                  <a:gd name="T6" fmla="*/ 38 w 271"/>
                  <a:gd name="T7" fmla="*/ 128 h 134"/>
                  <a:gd name="T8" fmla="*/ 27 w 271"/>
                  <a:gd name="T9" fmla="*/ 128 h 134"/>
                  <a:gd name="T10" fmla="*/ 23 w 271"/>
                  <a:gd name="T11" fmla="*/ 123 h 134"/>
                  <a:gd name="T12" fmla="*/ 0 w 271"/>
                  <a:gd name="T13" fmla="*/ 113 h 134"/>
                  <a:gd name="T14" fmla="*/ 23 w 271"/>
                  <a:gd name="T15" fmla="*/ 113 h 134"/>
                  <a:gd name="T16" fmla="*/ 31 w 271"/>
                  <a:gd name="T17" fmla="*/ 105 h 134"/>
                  <a:gd name="T18" fmla="*/ 35 w 271"/>
                  <a:gd name="T19" fmla="*/ 111 h 134"/>
                  <a:gd name="T20" fmla="*/ 40 w 271"/>
                  <a:gd name="T21" fmla="*/ 103 h 134"/>
                  <a:gd name="T22" fmla="*/ 46 w 271"/>
                  <a:gd name="T23" fmla="*/ 102 h 134"/>
                  <a:gd name="T24" fmla="*/ 58 w 271"/>
                  <a:gd name="T25" fmla="*/ 103 h 134"/>
                  <a:gd name="T26" fmla="*/ 73 w 271"/>
                  <a:gd name="T27" fmla="*/ 88 h 134"/>
                  <a:gd name="T28" fmla="*/ 81 w 271"/>
                  <a:gd name="T29" fmla="*/ 78 h 134"/>
                  <a:gd name="T30" fmla="*/ 83 w 271"/>
                  <a:gd name="T31" fmla="*/ 77 h 134"/>
                  <a:gd name="T32" fmla="*/ 71 w 271"/>
                  <a:gd name="T33" fmla="*/ 75 h 134"/>
                  <a:gd name="T34" fmla="*/ 54 w 271"/>
                  <a:gd name="T35" fmla="*/ 69 h 134"/>
                  <a:gd name="T36" fmla="*/ 48 w 271"/>
                  <a:gd name="T37" fmla="*/ 57 h 134"/>
                  <a:gd name="T38" fmla="*/ 38 w 271"/>
                  <a:gd name="T39" fmla="*/ 59 h 134"/>
                  <a:gd name="T40" fmla="*/ 31 w 271"/>
                  <a:gd name="T41" fmla="*/ 55 h 134"/>
                  <a:gd name="T42" fmla="*/ 21 w 271"/>
                  <a:gd name="T43" fmla="*/ 52 h 134"/>
                  <a:gd name="T44" fmla="*/ 33 w 271"/>
                  <a:gd name="T45" fmla="*/ 46 h 134"/>
                  <a:gd name="T46" fmla="*/ 38 w 271"/>
                  <a:gd name="T47" fmla="*/ 42 h 134"/>
                  <a:gd name="T48" fmla="*/ 42 w 271"/>
                  <a:gd name="T49" fmla="*/ 27 h 134"/>
                  <a:gd name="T50" fmla="*/ 31 w 271"/>
                  <a:gd name="T51" fmla="*/ 29 h 134"/>
                  <a:gd name="T52" fmla="*/ 52 w 271"/>
                  <a:gd name="T53" fmla="*/ 11 h 134"/>
                  <a:gd name="T54" fmla="*/ 81 w 271"/>
                  <a:gd name="T55" fmla="*/ 17 h 134"/>
                  <a:gd name="T56" fmla="*/ 96 w 271"/>
                  <a:gd name="T57" fmla="*/ 27 h 134"/>
                  <a:gd name="T58" fmla="*/ 102 w 271"/>
                  <a:gd name="T59" fmla="*/ 21 h 134"/>
                  <a:gd name="T60" fmla="*/ 109 w 271"/>
                  <a:gd name="T61" fmla="*/ 11 h 134"/>
                  <a:gd name="T62" fmla="*/ 119 w 271"/>
                  <a:gd name="T63" fmla="*/ 7 h 134"/>
                  <a:gd name="T64" fmla="*/ 129 w 271"/>
                  <a:gd name="T65" fmla="*/ 4 h 134"/>
                  <a:gd name="T66" fmla="*/ 138 w 271"/>
                  <a:gd name="T67" fmla="*/ 11 h 134"/>
                  <a:gd name="T68" fmla="*/ 146 w 271"/>
                  <a:gd name="T69" fmla="*/ 15 h 134"/>
                  <a:gd name="T70" fmla="*/ 169 w 271"/>
                  <a:gd name="T71" fmla="*/ 5 h 134"/>
                  <a:gd name="T72" fmla="*/ 186 w 271"/>
                  <a:gd name="T73" fmla="*/ 4 h 134"/>
                  <a:gd name="T74" fmla="*/ 207 w 271"/>
                  <a:gd name="T75" fmla="*/ 2 h 134"/>
                  <a:gd name="T76" fmla="*/ 223 w 271"/>
                  <a:gd name="T77" fmla="*/ 2 h 134"/>
                  <a:gd name="T78" fmla="*/ 236 w 271"/>
                  <a:gd name="T79" fmla="*/ 4 h 134"/>
                  <a:gd name="T80" fmla="*/ 244 w 271"/>
                  <a:gd name="T81" fmla="*/ 11 h 134"/>
                  <a:gd name="T82" fmla="*/ 255 w 271"/>
                  <a:gd name="T83" fmla="*/ 17 h 134"/>
                  <a:gd name="T84" fmla="*/ 271 w 271"/>
                  <a:gd name="T85" fmla="*/ 25 h 134"/>
                  <a:gd name="T86" fmla="*/ 257 w 271"/>
                  <a:gd name="T87" fmla="*/ 30 h 134"/>
                  <a:gd name="T88" fmla="*/ 240 w 271"/>
                  <a:gd name="T89" fmla="*/ 46 h 134"/>
                  <a:gd name="T90" fmla="*/ 226 w 271"/>
                  <a:gd name="T91" fmla="*/ 52 h 134"/>
                  <a:gd name="T92" fmla="*/ 223 w 271"/>
                  <a:gd name="T93" fmla="*/ 63 h 134"/>
                  <a:gd name="T94" fmla="*/ 196 w 271"/>
                  <a:gd name="T95" fmla="*/ 69 h 134"/>
                  <a:gd name="T96" fmla="*/ 178 w 271"/>
                  <a:gd name="T97" fmla="*/ 84 h 134"/>
                  <a:gd name="T98" fmla="*/ 175 w 271"/>
                  <a:gd name="T99" fmla="*/ 100 h 134"/>
                  <a:gd name="T100" fmla="*/ 161 w 271"/>
                  <a:gd name="T101" fmla="*/ 103 h 134"/>
                  <a:gd name="T102" fmla="*/ 150 w 271"/>
                  <a:gd name="T103" fmla="*/ 107 h 134"/>
                  <a:gd name="T104" fmla="*/ 142 w 271"/>
                  <a:gd name="T105" fmla="*/ 111 h 134"/>
                  <a:gd name="T106" fmla="*/ 136 w 271"/>
                  <a:gd name="T107" fmla="*/ 103 h 134"/>
                  <a:gd name="T108" fmla="*/ 127 w 271"/>
                  <a:gd name="T109" fmla="*/ 100 h 134"/>
                  <a:gd name="T110" fmla="*/ 109 w 271"/>
                  <a:gd name="T111" fmla="*/ 119 h 134"/>
                  <a:gd name="T112" fmla="*/ 104 w 271"/>
                  <a:gd name="T113" fmla="*/ 121 h 134"/>
                  <a:gd name="T114" fmla="*/ 98 w 271"/>
                  <a:gd name="T115" fmla="*/ 125 h 13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71"/>
                  <a:gd name="T175" fmla="*/ 0 h 134"/>
                  <a:gd name="T176" fmla="*/ 271 w 271"/>
                  <a:gd name="T177" fmla="*/ 134 h 13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71" h="134">
                    <a:moveTo>
                      <a:pt x="90" y="130"/>
                    </a:moveTo>
                    <a:lnTo>
                      <a:pt x="84" y="128"/>
                    </a:lnTo>
                    <a:lnTo>
                      <a:pt x="67" y="134"/>
                    </a:lnTo>
                    <a:lnTo>
                      <a:pt x="61" y="132"/>
                    </a:lnTo>
                    <a:lnTo>
                      <a:pt x="52" y="132"/>
                    </a:lnTo>
                    <a:lnTo>
                      <a:pt x="48" y="128"/>
                    </a:lnTo>
                    <a:lnTo>
                      <a:pt x="42" y="127"/>
                    </a:lnTo>
                    <a:lnTo>
                      <a:pt x="38" y="128"/>
                    </a:lnTo>
                    <a:lnTo>
                      <a:pt x="31" y="130"/>
                    </a:lnTo>
                    <a:lnTo>
                      <a:pt x="27" y="128"/>
                    </a:lnTo>
                    <a:lnTo>
                      <a:pt x="25" y="125"/>
                    </a:lnTo>
                    <a:lnTo>
                      <a:pt x="23" y="123"/>
                    </a:lnTo>
                    <a:lnTo>
                      <a:pt x="8" y="125"/>
                    </a:lnTo>
                    <a:lnTo>
                      <a:pt x="0" y="113"/>
                    </a:lnTo>
                    <a:lnTo>
                      <a:pt x="13" y="107"/>
                    </a:lnTo>
                    <a:lnTo>
                      <a:pt x="23" y="113"/>
                    </a:lnTo>
                    <a:lnTo>
                      <a:pt x="27" y="103"/>
                    </a:lnTo>
                    <a:lnTo>
                      <a:pt x="31" y="105"/>
                    </a:lnTo>
                    <a:lnTo>
                      <a:pt x="33" y="107"/>
                    </a:lnTo>
                    <a:lnTo>
                      <a:pt x="35" y="111"/>
                    </a:lnTo>
                    <a:lnTo>
                      <a:pt x="38" y="111"/>
                    </a:lnTo>
                    <a:lnTo>
                      <a:pt x="40" y="103"/>
                    </a:lnTo>
                    <a:lnTo>
                      <a:pt x="40" y="102"/>
                    </a:lnTo>
                    <a:lnTo>
                      <a:pt x="46" y="102"/>
                    </a:lnTo>
                    <a:lnTo>
                      <a:pt x="50" y="103"/>
                    </a:lnTo>
                    <a:lnTo>
                      <a:pt x="58" y="103"/>
                    </a:lnTo>
                    <a:lnTo>
                      <a:pt x="65" y="98"/>
                    </a:lnTo>
                    <a:lnTo>
                      <a:pt x="73" y="88"/>
                    </a:lnTo>
                    <a:lnTo>
                      <a:pt x="81" y="80"/>
                    </a:lnTo>
                    <a:lnTo>
                      <a:pt x="81" y="78"/>
                    </a:lnTo>
                    <a:lnTo>
                      <a:pt x="83" y="78"/>
                    </a:lnTo>
                    <a:lnTo>
                      <a:pt x="83" y="77"/>
                    </a:lnTo>
                    <a:lnTo>
                      <a:pt x="77" y="77"/>
                    </a:lnTo>
                    <a:lnTo>
                      <a:pt x="71" y="75"/>
                    </a:lnTo>
                    <a:lnTo>
                      <a:pt x="59" y="69"/>
                    </a:lnTo>
                    <a:lnTo>
                      <a:pt x="54" y="69"/>
                    </a:lnTo>
                    <a:lnTo>
                      <a:pt x="48" y="67"/>
                    </a:lnTo>
                    <a:lnTo>
                      <a:pt x="48" y="57"/>
                    </a:lnTo>
                    <a:lnTo>
                      <a:pt x="44" y="57"/>
                    </a:lnTo>
                    <a:lnTo>
                      <a:pt x="38" y="59"/>
                    </a:lnTo>
                    <a:lnTo>
                      <a:pt x="35" y="59"/>
                    </a:lnTo>
                    <a:lnTo>
                      <a:pt x="31" y="55"/>
                    </a:lnTo>
                    <a:lnTo>
                      <a:pt x="25" y="52"/>
                    </a:lnTo>
                    <a:lnTo>
                      <a:pt x="21" y="52"/>
                    </a:lnTo>
                    <a:lnTo>
                      <a:pt x="27" y="50"/>
                    </a:lnTo>
                    <a:lnTo>
                      <a:pt x="33" y="46"/>
                    </a:lnTo>
                    <a:lnTo>
                      <a:pt x="36" y="44"/>
                    </a:lnTo>
                    <a:lnTo>
                      <a:pt x="38" y="42"/>
                    </a:lnTo>
                    <a:lnTo>
                      <a:pt x="46" y="30"/>
                    </a:lnTo>
                    <a:lnTo>
                      <a:pt x="42" y="27"/>
                    </a:lnTo>
                    <a:lnTo>
                      <a:pt x="36" y="27"/>
                    </a:lnTo>
                    <a:lnTo>
                      <a:pt x="31" y="29"/>
                    </a:lnTo>
                    <a:lnTo>
                      <a:pt x="42" y="17"/>
                    </a:lnTo>
                    <a:lnTo>
                      <a:pt x="52" y="11"/>
                    </a:lnTo>
                    <a:lnTo>
                      <a:pt x="69" y="11"/>
                    </a:lnTo>
                    <a:lnTo>
                      <a:pt x="81" y="17"/>
                    </a:lnTo>
                    <a:lnTo>
                      <a:pt x="90" y="25"/>
                    </a:lnTo>
                    <a:lnTo>
                      <a:pt x="96" y="27"/>
                    </a:lnTo>
                    <a:lnTo>
                      <a:pt x="98" y="23"/>
                    </a:lnTo>
                    <a:lnTo>
                      <a:pt x="102" y="21"/>
                    </a:lnTo>
                    <a:lnTo>
                      <a:pt x="106" y="17"/>
                    </a:lnTo>
                    <a:lnTo>
                      <a:pt x="109" y="11"/>
                    </a:lnTo>
                    <a:lnTo>
                      <a:pt x="113" y="7"/>
                    </a:lnTo>
                    <a:lnTo>
                      <a:pt x="119" y="7"/>
                    </a:lnTo>
                    <a:lnTo>
                      <a:pt x="127" y="4"/>
                    </a:lnTo>
                    <a:lnTo>
                      <a:pt x="129" y="4"/>
                    </a:lnTo>
                    <a:lnTo>
                      <a:pt x="132" y="7"/>
                    </a:lnTo>
                    <a:lnTo>
                      <a:pt x="138" y="11"/>
                    </a:lnTo>
                    <a:lnTo>
                      <a:pt x="144" y="13"/>
                    </a:lnTo>
                    <a:lnTo>
                      <a:pt x="146" y="15"/>
                    </a:lnTo>
                    <a:lnTo>
                      <a:pt x="150" y="17"/>
                    </a:lnTo>
                    <a:lnTo>
                      <a:pt x="169" y="5"/>
                    </a:lnTo>
                    <a:lnTo>
                      <a:pt x="177" y="4"/>
                    </a:lnTo>
                    <a:lnTo>
                      <a:pt x="186" y="4"/>
                    </a:lnTo>
                    <a:lnTo>
                      <a:pt x="196" y="2"/>
                    </a:lnTo>
                    <a:lnTo>
                      <a:pt x="207" y="2"/>
                    </a:lnTo>
                    <a:lnTo>
                      <a:pt x="215" y="0"/>
                    </a:lnTo>
                    <a:lnTo>
                      <a:pt x="223" y="2"/>
                    </a:lnTo>
                    <a:lnTo>
                      <a:pt x="228" y="4"/>
                    </a:lnTo>
                    <a:lnTo>
                      <a:pt x="236" y="4"/>
                    </a:lnTo>
                    <a:lnTo>
                      <a:pt x="242" y="7"/>
                    </a:lnTo>
                    <a:lnTo>
                      <a:pt x="244" y="11"/>
                    </a:lnTo>
                    <a:lnTo>
                      <a:pt x="249" y="15"/>
                    </a:lnTo>
                    <a:lnTo>
                      <a:pt x="255" y="17"/>
                    </a:lnTo>
                    <a:lnTo>
                      <a:pt x="259" y="17"/>
                    </a:lnTo>
                    <a:lnTo>
                      <a:pt x="271" y="25"/>
                    </a:lnTo>
                    <a:lnTo>
                      <a:pt x="265" y="29"/>
                    </a:lnTo>
                    <a:lnTo>
                      <a:pt x="257" y="30"/>
                    </a:lnTo>
                    <a:lnTo>
                      <a:pt x="251" y="34"/>
                    </a:lnTo>
                    <a:lnTo>
                      <a:pt x="240" y="46"/>
                    </a:lnTo>
                    <a:lnTo>
                      <a:pt x="234" y="48"/>
                    </a:lnTo>
                    <a:lnTo>
                      <a:pt x="226" y="52"/>
                    </a:lnTo>
                    <a:lnTo>
                      <a:pt x="223" y="59"/>
                    </a:lnTo>
                    <a:lnTo>
                      <a:pt x="223" y="63"/>
                    </a:lnTo>
                    <a:lnTo>
                      <a:pt x="213" y="67"/>
                    </a:lnTo>
                    <a:lnTo>
                      <a:pt x="196" y="69"/>
                    </a:lnTo>
                    <a:lnTo>
                      <a:pt x="182" y="77"/>
                    </a:lnTo>
                    <a:lnTo>
                      <a:pt x="178" y="84"/>
                    </a:lnTo>
                    <a:lnTo>
                      <a:pt x="178" y="92"/>
                    </a:lnTo>
                    <a:lnTo>
                      <a:pt x="175" y="100"/>
                    </a:lnTo>
                    <a:lnTo>
                      <a:pt x="169" y="103"/>
                    </a:lnTo>
                    <a:lnTo>
                      <a:pt x="161" y="103"/>
                    </a:lnTo>
                    <a:lnTo>
                      <a:pt x="154" y="105"/>
                    </a:lnTo>
                    <a:lnTo>
                      <a:pt x="150" y="107"/>
                    </a:lnTo>
                    <a:lnTo>
                      <a:pt x="146" y="111"/>
                    </a:lnTo>
                    <a:lnTo>
                      <a:pt x="142" y="111"/>
                    </a:lnTo>
                    <a:lnTo>
                      <a:pt x="138" y="107"/>
                    </a:lnTo>
                    <a:lnTo>
                      <a:pt x="136" y="103"/>
                    </a:lnTo>
                    <a:lnTo>
                      <a:pt x="132" y="100"/>
                    </a:lnTo>
                    <a:lnTo>
                      <a:pt x="127" y="100"/>
                    </a:lnTo>
                    <a:lnTo>
                      <a:pt x="111" y="115"/>
                    </a:lnTo>
                    <a:lnTo>
                      <a:pt x="109" y="119"/>
                    </a:lnTo>
                    <a:lnTo>
                      <a:pt x="106" y="119"/>
                    </a:lnTo>
                    <a:lnTo>
                      <a:pt x="104" y="121"/>
                    </a:lnTo>
                    <a:lnTo>
                      <a:pt x="100" y="123"/>
                    </a:lnTo>
                    <a:lnTo>
                      <a:pt x="98" y="125"/>
                    </a:lnTo>
                    <a:lnTo>
                      <a:pt x="90" y="13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2" name="Freeform 150"/>
              <p:cNvSpPr>
                <a:spLocks/>
              </p:cNvSpPr>
              <p:nvPr/>
            </p:nvSpPr>
            <p:spPr bwMode="gray">
              <a:xfrm>
                <a:off x="3602" y="2299"/>
                <a:ext cx="32" cy="28"/>
              </a:xfrm>
              <a:custGeom>
                <a:avLst/>
                <a:gdLst>
                  <a:gd name="T0" fmla="*/ 64 w 66"/>
                  <a:gd name="T1" fmla="*/ 52 h 56"/>
                  <a:gd name="T2" fmla="*/ 52 w 66"/>
                  <a:gd name="T3" fmla="*/ 40 h 56"/>
                  <a:gd name="T4" fmla="*/ 48 w 66"/>
                  <a:gd name="T5" fmla="*/ 33 h 56"/>
                  <a:gd name="T6" fmla="*/ 50 w 66"/>
                  <a:gd name="T7" fmla="*/ 29 h 56"/>
                  <a:gd name="T8" fmla="*/ 50 w 66"/>
                  <a:gd name="T9" fmla="*/ 21 h 56"/>
                  <a:gd name="T10" fmla="*/ 52 w 66"/>
                  <a:gd name="T11" fmla="*/ 14 h 56"/>
                  <a:gd name="T12" fmla="*/ 66 w 66"/>
                  <a:gd name="T13" fmla="*/ 15 h 56"/>
                  <a:gd name="T14" fmla="*/ 64 w 66"/>
                  <a:gd name="T15" fmla="*/ 10 h 56"/>
                  <a:gd name="T16" fmla="*/ 56 w 66"/>
                  <a:gd name="T17" fmla="*/ 0 h 56"/>
                  <a:gd name="T18" fmla="*/ 43 w 66"/>
                  <a:gd name="T19" fmla="*/ 0 h 56"/>
                  <a:gd name="T20" fmla="*/ 35 w 66"/>
                  <a:gd name="T21" fmla="*/ 2 h 56"/>
                  <a:gd name="T22" fmla="*/ 29 w 66"/>
                  <a:gd name="T23" fmla="*/ 10 h 56"/>
                  <a:gd name="T24" fmla="*/ 24 w 66"/>
                  <a:gd name="T25" fmla="*/ 19 h 56"/>
                  <a:gd name="T26" fmla="*/ 16 w 66"/>
                  <a:gd name="T27" fmla="*/ 27 h 56"/>
                  <a:gd name="T28" fmla="*/ 6 w 66"/>
                  <a:gd name="T29" fmla="*/ 35 h 56"/>
                  <a:gd name="T30" fmla="*/ 0 w 66"/>
                  <a:gd name="T31" fmla="*/ 39 h 56"/>
                  <a:gd name="T32" fmla="*/ 35 w 66"/>
                  <a:gd name="T33" fmla="*/ 44 h 56"/>
                  <a:gd name="T34" fmla="*/ 39 w 66"/>
                  <a:gd name="T35" fmla="*/ 56 h 56"/>
                  <a:gd name="T36" fmla="*/ 64 w 66"/>
                  <a:gd name="T37" fmla="*/ 52 h 5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6"/>
                  <a:gd name="T58" fmla="*/ 0 h 56"/>
                  <a:gd name="T59" fmla="*/ 66 w 66"/>
                  <a:gd name="T60" fmla="*/ 56 h 5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6" h="56">
                    <a:moveTo>
                      <a:pt x="64" y="52"/>
                    </a:moveTo>
                    <a:lnTo>
                      <a:pt x="52" y="40"/>
                    </a:lnTo>
                    <a:lnTo>
                      <a:pt x="48" y="33"/>
                    </a:lnTo>
                    <a:lnTo>
                      <a:pt x="50" y="29"/>
                    </a:lnTo>
                    <a:lnTo>
                      <a:pt x="50" y="21"/>
                    </a:lnTo>
                    <a:lnTo>
                      <a:pt x="52" y="14"/>
                    </a:lnTo>
                    <a:lnTo>
                      <a:pt x="66" y="15"/>
                    </a:lnTo>
                    <a:lnTo>
                      <a:pt x="64" y="10"/>
                    </a:lnTo>
                    <a:lnTo>
                      <a:pt x="56" y="0"/>
                    </a:lnTo>
                    <a:lnTo>
                      <a:pt x="43" y="0"/>
                    </a:lnTo>
                    <a:lnTo>
                      <a:pt x="35" y="2"/>
                    </a:lnTo>
                    <a:lnTo>
                      <a:pt x="29" y="10"/>
                    </a:lnTo>
                    <a:lnTo>
                      <a:pt x="24" y="19"/>
                    </a:lnTo>
                    <a:lnTo>
                      <a:pt x="16" y="27"/>
                    </a:lnTo>
                    <a:lnTo>
                      <a:pt x="6" y="35"/>
                    </a:lnTo>
                    <a:lnTo>
                      <a:pt x="0" y="39"/>
                    </a:lnTo>
                    <a:lnTo>
                      <a:pt x="35" y="44"/>
                    </a:lnTo>
                    <a:lnTo>
                      <a:pt x="39" y="56"/>
                    </a:lnTo>
                    <a:lnTo>
                      <a:pt x="64" y="5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3" name="Freeform 151"/>
              <p:cNvSpPr>
                <a:spLocks/>
              </p:cNvSpPr>
              <p:nvPr/>
            </p:nvSpPr>
            <p:spPr bwMode="gray">
              <a:xfrm>
                <a:off x="3453" y="2707"/>
                <a:ext cx="108" cy="145"/>
              </a:xfrm>
              <a:custGeom>
                <a:avLst/>
                <a:gdLst>
                  <a:gd name="T0" fmla="*/ 10 w 217"/>
                  <a:gd name="T1" fmla="*/ 171 h 288"/>
                  <a:gd name="T2" fmla="*/ 19 w 217"/>
                  <a:gd name="T3" fmla="*/ 167 h 288"/>
                  <a:gd name="T4" fmla="*/ 10 w 217"/>
                  <a:gd name="T5" fmla="*/ 202 h 288"/>
                  <a:gd name="T6" fmla="*/ 92 w 217"/>
                  <a:gd name="T7" fmla="*/ 242 h 288"/>
                  <a:gd name="T8" fmla="*/ 94 w 217"/>
                  <a:gd name="T9" fmla="*/ 259 h 288"/>
                  <a:gd name="T10" fmla="*/ 104 w 217"/>
                  <a:gd name="T11" fmla="*/ 267 h 288"/>
                  <a:gd name="T12" fmla="*/ 134 w 217"/>
                  <a:gd name="T13" fmla="*/ 288 h 288"/>
                  <a:gd name="T14" fmla="*/ 132 w 217"/>
                  <a:gd name="T15" fmla="*/ 269 h 288"/>
                  <a:gd name="T16" fmla="*/ 142 w 217"/>
                  <a:gd name="T17" fmla="*/ 259 h 288"/>
                  <a:gd name="T18" fmla="*/ 144 w 217"/>
                  <a:gd name="T19" fmla="*/ 250 h 288"/>
                  <a:gd name="T20" fmla="*/ 154 w 217"/>
                  <a:gd name="T21" fmla="*/ 236 h 288"/>
                  <a:gd name="T22" fmla="*/ 167 w 217"/>
                  <a:gd name="T23" fmla="*/ 230 h 288"/>
                  <a:gd name="T24" fmla="*/ 173 w 217"/>
                  <a:gd name="T25" fmla="*/ 217 h 288"/>
                  <a:gd name="T26" fmla="*/ 182 w 217"/>
                  <a:gd name="T27" fmla="*/ 215 h 288"/>
                  <a:gd name="T28" fmla="*/ 188 w 217"/>
                  <a:gd name="T29" fmla="*/ 200 h 288"/>
                  <a:gd name="T30" fmla="*/ 196 w 217"/>
                  <a:gd name="T31" fmla="*/ 190 h 288"/>
                  <a:gd name="T32" fmla="*/ 202 w 217"/>
                  <a:gd name="T33" fmla="*/ 179 h 288"/>
                  <a:gd name="T34" fmla="*/ 190 w 217"/>
                  <a:gd name="T35" fmla="*/ 154 h 288"/>
                  <a:gd name="T36" fmla="*/ 202 w 217"/>
                  <a:gd name="T37" fmla="*/ 40 h 288"/>
                  <a:gd name="T38" fmla="*/ 211 w 217"/>
                  <a:gd name="T39" fmla="*/ 9 h 288"/>
                  <a:gd name="T40" fmla="*/ 188 w 217"/>
                  <a:gd name="T41" fmla="*/ 9 h 288"/>
                  <a:gd name="T42" fmla="*/ 180 w 217"/>
                  <a:gd name="T43" fmla="*/ 2 h 288"/>
                  <a:gd name="T44" fmla="*/ 178 w 217"/>
                  <a:gd name="T45" fmla="*/ 4 h 288"/>
                  <a:gd name="T46" fmla="*/ 165 w 217"/>
                  <a:gd name="T47" fmla="*/ 8 h 288"/>
                  <a:gd name="T48" fmla="*/ 155 w 217"/>
                  <a:gd name="T49" fmla="*/ 17 h 288"/>
                  <a:gd name="T50" fmla="*/ 127 w 217"/>
                  <a:gd name="T51" fmla="*/ 15 h 288"/>
                  <a:gd name="T52" fmla="*/ 106 w 217"/>
                  <a:gd name="T53" fmla="*/ 11 h 288"/>
                  <a:gd name="T54" fmla="*/ 96 w 217"/>
                  <a:gd name="T55" fmla="*/ 15 h 288"/>
                  <a:gd name="T56" fmla="*/ 77 w 217"/>
                  <a:gd name="T57" fmla="*/ 13 h 288"/>
                  <a:gd name="T58" fmla="*/ 65 w 217"/>
                  <a:gd name="T59" fmla="*/ 13 h 288"/>
                  <a:gd name="T60" fmla="*/ 38 w 217"/>
                  <a:gd name="T61" fmla="*/ 2 h 288"/>
                  <a:gd name="T62" fmla="*/ 17 w 217"/>
                  <a:gd name="T63" fmla="*/ 4 h 288"/>
                  <a:gd name="T64" fmla="*/ 0 w 217"/>
                  <a:gd name="T65" fmla="*/ 13 h 288"/>
                  <a:gd name="T66" fmla="*/ 2 w 217"/>
                  <a:gd name="T67" fmla="*/ 21 h 288"/>
                  <a:gd name="T68" fmla="*/ 6 w 217"/>
                  <a:gd name="T69" fmla="*/ 27 h 288"/>
                  <a:gd name="T70" fmla="*/ 10 w 217"/>
                  <a:gd name="T71" fmla="*/ 31 h 288"/>
                  <a:gd name="T72" fmla="*/ 13 w 217"/>
                  <a:gd name="T73" fmla="*/ 36 h 288"/>
                  <a:gd name="T74" fmla="*/ 10 w 217"/>
                  <a:gd name="T75" fmla="*/ 48 h 288"/>
                  <a:gd name="T76" fmla="*/ 13 w 217"/>
                  <a:gd name="T77" fmla="*/ 65 h 288"/>
                  <a:gd name="T78" fmla="*/ 19 w 217"/>
                  <a:gd name="T79" fmla="*/ 77 h 288"/>
                  <a:gd name="T80" fmla="*/ 15 w 217"/>
                  <a:gd name="T81" fmla="*/ 96 h 288"/>
                  <a:gd name="T82" fmla="*/ 10 w 217"/>
                  <a:gd name="T83" fmla="*/ 100 h 288"/>
                  <a:gd name="T84" fmla="*/ 6 w 217"/>
                  <a:gd name="T85" fmla="*/ 115 h 288"/>
                  <a:gd name="T86" fmla="*/ 2 w 217"/>
                  <a:gd name="T87" fmla="*/ 127 h 288"/>
                  <a:gd name="T88" fmla="*/ 4 w 217"/>
                  <a:gd name="T89" fmla="*/ 144 h 288"/>
                  <a:gd name="T90" fmla="*/ 4 w 217"/>
                  <a:gd name="T91" fmla="*/ 154 h 288"/>
                  <a:gd name="T92" fmla="*/ 2 w 217"/>
                  <a:gd name="T93" fmla="*/ 171 h 28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17"/>
                  <a:gd name="T142" fmla="*/ 0 h 288"/>
                  <a:gd name="T143" fmla="*/ 217 w 217"/>
                  <a:gd name="T144" fmla="*/ 288 h 28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17" h="288">
                    <a:moveTo>
                      <a:pt x="4" y="173"/>
                    </a:moveTo>
                    <a:lnTo>
                      <a:pt x="10" y="171"/>
                    </a:lnTo>
                    <a:lnTo>
                      <a:pt x="12" y="169"/>
                    </a:lnTo>
                    <a:lnTo>
                      <a:pt x="19" y="167"/>
                    </a:lnTo>
                    <a:lnTo>
                      <a:pt x="13" y="179"/>
                    </a:lnTo>
                    <a:lnTo>
                      <a:pt x="10" y="202"/>
                    </a:lnTo>
                    <a:lnTo>
                      <a:pt x="90" y="240"/>
                    </a:lnTo>
                    <a:lnTo>
                      <a:pt x="92" y="242"/>
                    </a:lnTo>
                    <a:lnTo>
                      <a:pt x="94" y="246"/>
                    </a:lnTo>
                    <a:lnTo>
                      <a:pt x="94" y="259"/>
                    </a:lnTo>
                    <a:lnTo>
                      <a:pt x="96" y="263"/>
                    </a:lnTo>
                    <a:lnTo>
                      <a:pt x="104" y="267"/>
                    </a:lnTo>
                    <a:lnTo>
                      <a:pt x="107" y="271"/>
                    </a:lnTo>
                    <a:lnTo>
                      <a:pt x="134" y="288"/>
                    </a:lnTo>
                    <a:lnTo>
                      <a:pt x="134" y="278"/>
                    </a:lnTo>
                    <a:lnTo>
                      <a:pt x="132" y="269"/>
                    </a:lnTo>
                    <a:lnTo>
                      <a:pt x="134" y="259"/>
                    </a:lnTo>
                    <a:lnTo>
                      <a:pt x="142" y="259"/>
                    </a:lnTo>
                    <a:lnTo>
                      <a:pt x="142" y="255"/>
                    </a:lnTo>
                    <a:lnTo>
                      <a:pt x="144" y="250"/>
                    </a:lnTo>
                    <a:lnTo>
                      <a:pt x="150" y="242"/>
                    </a:lnTo>
                    <a:lnTo>
                      <a:pt x="154" y="236"/>
                    </a:lnTo>
                    <a:lnTo>
                      <a:pt x="165" y="236"/>
                    </a:lnTo>
                    <a:lnTo>
                      <a:pt x="167" y="230"/>
                    </a:lnTo>
                    <a:lnTo>
                      <a:pt x="169" y="223"/>
                    </a:lnTo>
                    <a:lnTo>
                      <a:pt x="173" y="217"/>
                    </a:lnTo>
                    <a:lnTo>
                      <a:pt x="178" y="215"/>
                    </a:lnTo>
                    <a:lnTo>
                      <a:pt x="182" y="215"/>
                    </a:lnTo>
                    <a:lnTo>
                      <a:pt x="188" y="213"/>
                    </a:lnTo>
                    <a:lnTo>
                      <a:pt x="188" y="200"/>
                    </a:lnTo>
                    <a:lnTo>
                      <a:pt x="190" y="194"/>
                    </a:lnTo>
                    <a:lnTo>
                      <a:pt x="196" y="190"/>
                    </a:lnTo>
                    <a:lnTo>
                      <a:pt x="200" y="188"/>
                    </a:lnTo>
                    <a:lnTo>
                      <a:pt x="202" y="179"/>
                    </a:lnTo>
                    <a:lnTo>
                      <a:pt x="202" y="169"/>
                    </a:lnTo>
                    <a:lnTo>
                      <a:pt x="190" y="154"/>
                    </a:lnTo>
                    <a:lnTo>
                      <a:pt x="188" y="52"/>
                    </a:lnTo>
                    <a:lnTo>
                      <a:pt x="202" y="40"/>
                    </a:lnTo>
                    <a:lnTo>
                      <a:pt x="217" y="8"/>
                    </a:lnTo>
                    <a:lnTo>
                      <a:pt x="211" y="9"/>
                    </a:lnTo>
                    <a:lnTo>
                      <a:pt x="200" y="11"/>
                    </a:lnTo>
                    <a:lnTo>
                      <a:pt x="188" y="9"/>
                    </a:lnTo>
                    <a:lnTo>
                      <a:pt x="182" y="6"/>
                    </a:lnTo>
                    <a:lnTo>
                      <a:pt x="180" y="2"/>
                    </a:lnTo>
                    <a:lnTo>
                      <a:pt x="180" y="0"/>
                    </a:lnTo>
                    <a:lnTo>
                      <a:pt x="178" y="4"/>
                    </a:lnTo>
                    <a:lnTo>
                      <a:pt x="173" y="8"/>
                    </a:lnTo>
                    <a:lnTo>
                      <a:pt x="165" y="8"/>
                    </a:lnTo>
                    <a:lnTo>
                      <a:pt x="159" y="9"/>
                    </a:lnTo>
                    <a:lnTo>
                      <a:pt x="155" y="17"/>
                    </a:lnTo>
                    <a:lnTo>
                      <a:pt x="132" y="17"/>
                    </a:lnTo>
                    <a:lnTo>
                      <a:pt x="127" y="15"/>
                    </a:lnTo>
                    <a:lnTo>
                      <a:pt x="121" y="11"/>
                    </a:lnTo>
                    <a:lnTo>
                      <a:pt x="106" y="11"/>
                    </a:lnTo>
                    <a:lnTo>
                      <a:pt x="104" y="13"/>
                    </a:lnTo>
                    <a:lnTo>
                      <a:pt x="96" y="15"/>
                    </a:lnTo>
                    <a:lnTo>
                      <a:pt x="84" y="11"/>
                    </a:lnTo>
                    <a:lnTo>
                      <a:pt x="77" y="13"/>
                    </a:lnTo>
                    <a:lnTo>
                      <a:pt x="73" y="15"/>
                    </a:lnTo>
                    <a:lnTo>
                      <a:pt x="65" y="13"/>
                    </a:lnTo>
                    <a:lnTo>
                      <a:pt x="54" y="13"/>
                    </a:lnTo>
                    <a:lnTo>
                      <a:pt x="38" y="2"/>
                    </a:lnTo>
                    <a:lnTo>
                      <a:pt x="29" y="4"/>
                    </a:lnTo>
                    <a:lnTo>
                      <a:pt x="17" y="4"/>
                    </a:lnTo>
                    <a:lnTo>
                      <a:pt x="12" y="9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2" y="21"/>
                    </a:lnTo>
                    <a:lnTo>
                      <a:pt x="2" y="23"/>
                    </a:lnTo>
                    <a:lnTo>
                      <a:pt x="6" y="27"/>
                    </a:lnTo>
                    <a:lnTo>
                      <a:pt x="10" y="29"/>
                    </a:lnTo>
                    <a:lnTo>
                      <a:pt x="10" y="31"/>
                    </a:lnTo>
                    <a:lnTo>
                      <a:pt x="12" y="32"/>
                    </a:lnTo>
                    <a:lnTo>
                      <a:pt x="13" y="36"/>
                    </a:lnTo>
                    <a:lnTo>
                      <a:pt x="12" y="40"/>
                    </a:lnTo>
                    <a:lnTo>
                      <a:pt x="10" y="48"/>
                    </a:lnTo>
                    <a:lnTo>
                      <a:pt x="10" y="61"/>
                    </a:lnTo>
                    <a:lnTo>
                      <a:pt x="13" y="65"/>
                    </a:lnTo>
                    <a:lnTo>
                      <a:pt x="17" y="71"/>
                    </a:lnTo>
                    <a:lnTo>
                      <a:pt x="19" y="77"/>
                    </a:lnTo>
                    <a:lnTo>
                      <a:pt x="19" y="88"/>
                    </a:lnTo>
                    <a:lnTo>
                      <a:pt x="15" y="96"/>
                    </a:lnTo>
                    <a:lnTo>
                      <a:pt x="13" y="98"/>
                    </a:lnTo>
                    <a:lnTo>
                      <a:pt x="10" y="100"/>
                    </a:lnTo>
                    <a:lnTo>
                      <a:pt x="8" y="106"/>
                    </a:lnTo>
                    <a:lnTo>
                      <a:pt x="6" y="115"/>
                    </a:lnTo>
                    <a:lnTo>
                      <a:pt x="6" y="121"/>
                    </a:lnTo>
                    <a:lnTo>
                      <a:pt x="2" y="127"/>
                    </a:lnTo>
                    <a:lnTo>
                      <a:pt x="2" y="134"/>
                    </a:lnTo>
                    <a:lnTo>
                      <a:pt x="4" y="144"/>
                    </a:lnTo>
                    <a:lnTo>
                      <a:pt x="6" y="150"/>
                    </a:lnTo>
                    <a:lnTo>
                      <a:pt x="4" y="154"/>
                    </a:lnTo>
                    <a:lnTo>
                      <a:pt x="6" y="159"/>
                    </a:lnTo>
                    <a:lnTo>
                      <a:pt x="2" y="171"/>
                    </a:lnTo>
                    <a:lnTo>
                      <a:pt x="4" y="17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4" name="Freeform 152"/>
              <p:cNvSpPr>
                <a:spLocks/>
              </p:cNvSpPr>
              <p:nvPr/>
            </p:nvSpPr>
            <p:spPr bwMode="gray">
              <a:xfrm>
                <a:off x="3939" y="2005"/>
                <a:ext cx="87" cy="50"/>
              </a:xfrm>
              <a:custGeom>
                <a:avLst/>
                <a:gdLst>
                  <a:gd name="T0" fmla="*/ 165 w 175"/>
                  <a:gd name="T1" fmla="*/ 0 h 100"/>
                  <a:gd name="T2" fmla="*/ 175 w 175"/>
                  <a:gd name="T3" fmla="*/ 2 h 100"/>
                  <a:gd name="T4" fmla="*/ 173 w 175"/>
                  <a:gd name="T5" fmla="*/ 10 h 100"/>
                  <a:gd name="T6" fmla="*/ 171 w 175"/>
                  <a:gd name="T7" fmla="*/ 15 h 100"/>
                  <a:gd name="T8" fmla="*/ 169 w 175"/>
                  <a:gd name="T9" fmla="*/ 17 h 100"/>
                  <a:gd name="T10" fmla="*/ 169 w 175"/>
                  <a:gd name="T11" fmla="*/ 23 h 100"/>
                  <a:gd name="T12" fmla="*/ 152 w 175"/>
                  <a:gd name="T13" fmla="*/ 23 h 100"/>
                  <a:gd name="T14" fmla="*/ 152 w 175"/>
                  <a:gd name="T15" fmla="*/ 31 h 100"/>
                  <a:gd name="T16" fmla="*/ 112 w 175"/>
                  <a:gd name="T17" fmla="*/ 31 h 100"/>
                  <a:gd name="T18" fmla="*/ 104 w 175"/>
                  <a:gd name="T19" fmla="*/ 29 h 100"/>
                  <a:gd name="T20" fmla="*/ 92 w 175"/>
                  <a:gd name="T21" fmla="*/ 23 h 100"/>
                  <a:gd name="T22" fmla="*/ 85 w 175"/>
                  <a:gd name="T23" fmla="*/ 23 h 100"/>
                  <a:gd name="T24" fmla="*/ 83 w 175"/>
                  <a:gd name="T25" fmla="*/ 25 h 100"/>
                  <a:gd name="T26" fmla="*/ 85 w 175"/>
                  <a:gd name="T27" fmla="*/ 31 h 100"/>
                  <a:gd name="T28" fmla="*/ 85 w 175"/>
                  <a:gd name="T29" fmla="*/ 35 h 100"/>
                  <a:gd name="T30" fmla="*/ 65 w 175"/>
                  <a:gd name="T31" fmla="*/ 38 h 100"/>
                  <a:gd name="T32" fmla="*/ 58 w 175"/>
                  <a:gd name="T33" fmla="*/ 42 h 100"/>
                  <a:gd name="T34" fmla="*/ 56 w 175"/>
                  <a:gd name="T35" fmla="*/ 44 h 100"/>
                  <a:gd name="T36" fmla="*/ 54 w 175"/>
                  <a:gd name="T37" fmla="*/ 50 h 100"/>
                  <a:gd name="T38" fmla="*/ 54 w 175"/>
                  <a:gd name="T39" fmla="*/ 54 h 100"/>
                  <a:gd name="T40" fmla="*/ 48 w 175"/>
                  <a:gd name="T41" fmla="*/ 56 h 100"/>
                  <a:gd name="T42" fmla="*/ 40 w 175"/>
                  <a:gd name="T43" fmla="*/ 56 h 100"/>
                  <a:gd name="T44" fmla="*/ 35 w 175"/>
                  <a:gd name="T45" fmla="*/ 58 h 100"/>
                  <a:gd name="T46" fmla="*/ 35 w 175"/>
                  <a:gd name="T47" fmla="*/ 65 h 100"/>
                  <a:gd name="T48" fmla="*/ 27 w 175"/>
                  <a:gd name="T49" fmla="*/ 69 h 100"/>
                  <a:gd name="T50" fmla="*/ 23 w 175"/>
                  <a:gd name="T51" fmla="*/ 75 h 100"/>
                  <a:gd name="T52" fmla="*/ 19 w 175"/>
                  <a:gd name="T53" fmla="*/ 85 h 100"/>
                  <a:gd name="T54" fmla="*/ 16 w 175"/>
                  <a:gd name="T55" fmla="*/ 85 h 100"/>
                  <a:gd name="T56" fmla="*/ 19 w 175"/>
                  <a:gd name="T57" fmla="*/ 90 h 100"/>
                  <a:gd name="T58" fmla="*/ 27 w 175"/>
                  <a:gd name="T59" fmla="*/ 92 h 100"/>
                  <a:gd name="T60" fmla="*/ 25 w 175"/>
                  <a:gd name="T61" fmla="*/ 94 h 100"/>
                  <a:gd name="T62" fmla="*/ 21 w 175"/>
                  <a:gd name="T63" fmla="*/ 96 h 100"/>
                  <a:gd name="T64" fmla="*/ 23 w 175"/>
                  <a:gd name="T65" fmla="*/ 100 h 100"/>
                  <a:gd name="T66" fmla="*/ 19 w 175"/>
                  <a:gd name="T67" fmla="*/ 96 h 100"/>
                  <a:gd name="T68" fmla="*/ 14 w 175"/>
                  <a:gd name="T69" fmla="*/ 94 h 100"/>
                  <a:gd name="T70" fmla="*/ 12 w 175"/>
                  <a:gd name="T71" fmla="*/ 92 h 100"/>
                  <a:gd name="T72" fmla="*/ 10 w 175"/>
                  <a:gd name="T73" fmla="*/ 85 h 100"/>
                  <a:gd name="T74" fmla="*/ 12 w 175"/>
                  <a:gd name="T75" fmla="*/ 79 h 100"/>
                  <a:gd name="T76" fmla="*/ 12 w 175"/>
                  <a:gd name="T77" fmla="*/ 73 h 100"/>
                  <a:gd name="T78" fmla="*/ 0 w 175"/>
                  <a:gd name="T79" fmla="*/ 73 h 100"/>
                  <a:gd name="T80" fmla="*/ 4 w 175"/>
                  <a:gd name="T81" fmla="*/ 63 h 100"/>
                  <a:gd name="T82" fmla="*/ 14 w 175"/>
                  <a:gd name="T83" fmla="*/ 50 h 100"/>
                  <a:gd name="T84" fmla="*/ 19 w 175"/>
                  <a:gd name="T85" fmla="*/ 42 h 100"/>
                  <a:gd name="T86" fmla="*/ 23 w 175"/>
                  <a:gd name="T87" fmla="*/ 40 h 100"/>
                  <a:gd name="T88" fmla="*/ 27 w 175"/>
                  <a:gd name="T89" fmla="*/ 42 h 100"/>
                  <a:gd name="T90" fmla="*/ 31 w 175"/>
                  <a:gd name="T91" fmla="*/ 42 h 100"/>
                  <a:gd name="T92" fmla="*/ 35 w 175"/>
                  <a:gd name="T93" fmla="*/ 35 h 100"/>
                  <a:gd name="T94" fmla="*/ 42 w 175"/>
                  <a:gd name="T95" fmla="*/ 25 h 100"/>
                  <a:gd name="T96" fmla="*/ 50 w 175"/>
                  <a:gd name="T97" fmla="*/ 19 h 100"/>
                  <a:gd name="T98" fmla="*/ 79 w 175"/>
                  <a:gd name="T99" fmla="*/ 15 h 100"/>
                  <a:gd name="T100" fmla="*/ 102 w 175"/>
                  <a:gd name="T101" fmla="*/ 19 h 100"/>
                  <a:gd name="T102" fmla="*/ 127 w 175"/>
                  <a:gd name="T103" fmla="*/ 23 h 100"/>
                  <a:gd name="T104" fmla="*/ 131 w 175"/>
                  <a:gd name="T105" fmla="*/ 15 h 100"/>
                  <a:gd name="T106" fmla="*/ 135 w 175"/>
                  <a:gd name="T107" fmla="*/ 15 h 100"/>
                  <a:gd name="T108" fmla="*/ 138 w 175"/>
                  <a:gd name="T109" fmla="*/ 19 h 100"/>
                  <a:gd name="T110" fmla="*/ 146 w 175"/>
                  <a:gd name="T111" fmla="*/ 19 h 100"/>
                  <a:gd name="T112" fmla="*/ 150 w 175"/>
                  <a:gd name="T113" fmla="*/ 14 h 100"/>
                  <a:gd name="T114" fmla="*/ 156 w 175"/>
                  <a:gd name="T115" fmla="*/ 6 h 100"/>
                  <a:gd name="T116" fmla="*/ 165 w 175"/>
                  <a:gd name="T117" fmla="*/ 0 h 10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75"/>
                  <a:gd name="T178" fmla="*/ 0 h 100"/>
                  <a:gd name="T179" fmla="*/ 175 w 175"/>
                  <a:gd name="T180" fmla="*/ 100 h 10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75" h="100">
                    <a:moveTo>
                      <a:pt x="165" y="0"/>
                    </a:moveTo>
                    <a:lnTo>
                      <a:pt x="175" y="2"/>
                    </a:lnTo>
                    <a:lnTo>
                      <a:pt x="173" y="10"/>
                    </a:lnTo>
                    <a:lnTo>
                      <a:pt x="171" y="15"/>
                    </a:lnTo>
                    <a:lnTo>
                      <a:pt x="169" y="17"/>
                    </a:lnTo>
                    <a:lnTo>
                      <a:pt x="169" y="23"/>
                    </a:lnTo>
                    <a:lnTo>
                      <a:pt x="152" y="23"/>
                    </a:lnTo>
                    <a:lnTo>
                      <a:pt x="152" y="31"/>
                    </a:lnTo>
                    <a:lnTo>
                      <a:pt x="112" y="31"/>
                    </a:lnTo>
                    <a:lnTo>
                      <a:pt x="104" y="29"/>
                    </a:lnTo>
                    <a:lnTo>
                      <a:pt x="92" y="23"/>
                    </a:lnTo>
                    <a:lnTo>
                      <a:pt x="85" y="23"/>
                    </a:lnTo>
                    <a:lnTo>
                      <a:pt x="83" y="25"/>
                    </a:lnTo>
                    <a:lnTo>
                      <a:pt x="85" y="31"/>
                    </a:lnTo>
                    <a:lnTo>
                      <a:pt x="85" y="35"/>
                    </a:lnTo>
                    <a:lnTo>
                      <a:pt x="65" y="38"/>
                    </a:lnTo>
                    <a:lnTo>
                      <a:pt x="58" y="42"/>
                    </a:lnTo>
                    <a:lnTo>
                      <a:pt x="56" y="44"/>
                    </a:lnTo>
                    <a:lnTo>
                      <a:pt x="54" y="50"/>
                    </a:lnTo>
                    <a:lnTo>
                      <a:pt x="54" y="54"/>
                    </a:lnTo>
                    <a:lnTo>
                      <a:pt x="48" y="56"/>
                    </a:lnTo>
                    <a:lnTo>
                      <a:pt x="40" y="56"/>
                    </a:lnTo>
                    <a:lnTo>
                      <a:pt x="35" y="58"/>
                    </a:lnTo>
                    <a:lnTo>
                      <a:pt x="35" y="65"/>
                    </a:lnTo>
                    <a:lnTo>
                      <a:pt x="27" y="69"/>
                    </a:lnTo>
                    <a:lnTo>
                      <a:pt x="23" y="75"/>
                    </a:lnTo>
                    <a:lnTo>
                      <a:pt x="19" y="85"/>
                    </a:lnTo>
                    <a:lnTo>
                      <a:pt x="16" y="85"/>
                    </a:lnTo>
                    <a:lnTo>
                      <a:pt x="19" y="90"/>
                    </a:lnTo>
                    <a:lnTo>
                      <a:pt x="27" y="92"/>
                    </a:lnTo>
                    <a:lnTo>
                      <a:pt x="25" y="94"/>
                    </a:lnTo>
                    <a:lnTo>
                      <a:pt x="21" y="96"/>
                    </a:lnTo>
                    <a:lnTo>
                      <a:pt x="23" y="100"/>
                    </a:lnTo>
                    <a:lnTo>
                      <a:pt x="19" y="96"/>
                    </a:lnTo>
                    <a:lnTo>
                      <a:pt x="14" y="94"/>
                    </a:lnTo>
                    <a:lnTo>
                      <a:pt x="12" y="92"/>
                    </a:lnTo>
                    <a:lnTo>
                      <a:pt x="10" y="85"/>
                    </a:lnTo>
                    <a:lnTo>
                      <a:pt x="12" y="79"/>
                    </a:lnTo>
                    <a:lnTo>
                      <a:pt x="12" y="73"/>
                    </a:lnTo>
                    <a:lnTo>
                      <a:pt x="0" y="73"/>
                    </a:lnTo>
                    <a:lnTo>
                      <a:pt x="4" y="63"/>
                    </a:lnTo>
                    <a:lnTo>
                      <a:pt x="14" y="50"/>
                    </a:lnTo>
                    <a:lnTo>
                      <a:pt x="19" y="42"/>
                    </a:lnTo>
                    <a:lnTo>
                      <a:pt x="23" y="40"/>
                    </a:lnTo>
                    <a:lnTo>
                      <a:pt x="27" y="42"/>
                    </a:lnTo>
                    <a:lnTo>
                      <a:pt x="31" y="42"/>
                    </a:lnTo>
                    <a:lnTo>
                      <a:pt x="35" y="35"/>
                    </a:lnTo>
                    <a:lnTo>
                      <a:pt x="42" y="25"/>
                    </a:lnTo>
                    <a:lnTo>
                      <a:pt x="50" y="19"/>
                    </a:lnTo>
                    <a:lnTo>
                      <a:pt x="79" y="15"/>
                    </a:lnTo>
                    <a:lnTo>
                      <a:pt x="102" y="19"/>
                    </a:lnTo>
                    <a:lnTo>
                      <a:pt x="127" y="23"/>
                    </a:lnTo>
                    <a:lnTo>
                      <a:pt x="131" y="15"/>
                    </a:lnTo>
                    <a:lnTo>
                      <a:pt x="135" y="15"/>
                    </a:lnTo>
                    <a:lnTo>
                      <a:pt x="138" y="19"/>
                    </a:lnTo>
                    <a:lnTo>
                      <a:pt x="146" y="19"/>
                    </a:lnTo>
                    <a:lnTo>
                      <a:pt x="150" y="14"/>
                    </a:lnTo>
                    <a:lnTo>
                      <a:pt x="156" y="6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5" name="Freeform 153"/>
              <p:cNvSpPr>
                <a:spLocks/>
              </p:cNvSpPr>
              <p:nvPr/>
            </p:nvSpPr>
            <p:spPr bwMode="gray">
              <a:xfrm>
                <a:off x="3684" y="2061"/>
                <a:ext cx="10" cy="7"/>
              </a:xfrm>
              <a:custGeom>
                <a:avLst/>
                <a:gdLst>
                  <a:gd name="T0" fmla="*/ 17 w 19"/>
                  <a:gd name="T1" fmla="*/ 0 h 15"/>
                  <a:gd name="T2" fmla="*/ 19 w 19"/>
                  <a:gd name="T3" fmla="*/ 1 h 15"/>
                  <a:gd name="T4" fmla="*/ 15 w 19"/>
                  <a:gd name="T5" fmla="*/ 9 h 15"/>
                  <a:gd name="T6" fmla="*/ 13 w 19"/>
                  <a:gd name="T7" fmla="*/ 15 h 15"/>
                  <a:gd name="T8" fmla="*/ 1 w 19"/>
                  <a:gd name="T9" fmla="*/ 11 h 15"/>
                  <a:gd name="T10" fmla="*/ 0 w 19"/>
                  <a:gd name="T11" fmla="*/ 7 h 15"/>
                  <a:gd name="T12" fmla="*/ 13 w 19"/>
                  <a:gd name="T13" fmla="*/ 7 h 15"/>
                  <a:gd name="T14" fmla="*/ 13 w 19"/>
                  <a:gd name="T15" fmla="*/ 0 h 15"/>
                  <a:gd name="T16" fmla="*/ 17 w 19"/>
                  <a:gd name="T17" fmla="*/ 0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15"/>
                  <a:gd name="T29" fmla="*/ 19 w 19"/>
                  <a:gd name="T30" fmla="*/ 15 h 1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15">
                    <a:moveTo>
                      <a:pt x="17" y="0"/>
                    </a:moveTo>
                    <a:lnTo>
                      <a:pt x="19" y="1"/>
                    </a:lnTo>
                    <a:lnTo>
                      <a:pt x="15" y="9"/>
                    </a:lnTo>
                    <a:lnTo>
                      <a:pt x="13" y="15"/>
                    </a:lnTo>
                    <a:lnTo>
                      <a:pt x="1" y="11"/>
                    </a:lnTo>
                    <a:lnTo>
                      <a:pt x="0" y="7"/>
                    </a:lnTo>
                    <a:lnTo>
                      <a:pt x="13" y="7"/>
                    </a:lnTo>
                    <a:lnTo>
                      <a:pt x="13" y="0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6" name="Freeform 154"/>
              <p:cNvSpPr>
                <a:spLocks/>
              </p:cNvSpPr>
              <p:nvPr/>
            </p:nvSpPr>
            <p:spPr bwMode="gray">
              <a:xfrm>
                <a:off x="3617" y="1861"/>
                <a:ext cx="513" cy="261"/>
              </a:xfrm>
              <a:custGeom>
                <a:avLst/>
                <a:gdLst>
                  <a:gd name="T0" fmla="*/ 302 w 1025"/>
                  <a:gd name="T1" fmla="*/ 353 h 522"/>
                  <a:gd name="T2" fmla="*/ 336 w 1025"/>
                  <a:gd name="T3" fmla="*/ 338 h 522"/>
                  <a:gd name="T4" fmla="*/ 350 w 1025"/>
                  <a:gd name="T5" fmla="*/ 323 h 522"/>
                  <a:gd name="T6" fmla="*/ 357 w 1025"/>
                  <a:gd name="T7" fmla="*/ 392 h 522"/>
                  <a:gd name="T8" fmla="*/ 367 w 1025"/>
                  <a:gd name="T9" fmla="*/ 411 h 522"/>
                  <a:gd name="T10" fmla="*/ 367 w 1025"/>
                  <a:gd name="T11" fmla="*/ 451 h 522"/>
                  <a:gd name="T12" fmla="*/ 430 w 1025"/>
                  <a:gd name="T13" fmla="*/ 461 h 522"/>
                  <a:gd name="T14" fmla="*/ 463 w 1025"/>
                  <a:gd name="T15" fmla="*/ 486 h 522"/>
                  <a:gd name="T16" fmla="*/ 493 w 1025"/>
                  <a:gd name="T17" fmla="*/ 501 h 522"/>
                  <a:gd name="T18" fmla="*/ 515 w 1025"/>
                  <a:gd name="T19" fmla="*/ 521 h 522"/>
                  <a:gd name="T20" fmla="*/ 536 w 1025"/>
                  <a:gd name="T21" fmla="*/ 496 h 522"/>
                  <a:gd name="T22" fmla="*/ 568 w 1025"/>
                  <a:gd name="T23" fmla="*/ 478 h 522"/>
                  <a:gd name="T24" fmla="*/ 622 w 1025"/>
                  <a:gd name="T25" fmla="*/ 455 h 522"/>
                  <a:gd name="T26" fmla="*/ 662 w 1025"/>
                  <a:gd name="T27" fmla="*/ 455 h 522"/>
                  <a:gd name="T28" fmla="*/ 697 w 1025"/>
                  <a:gd name="T29" fmla="*/ 457 h 522"/>
                  <a:gd name="T30" fmla="*/ 760 w 1025"/>
                  <a:gd name="T31" fmla="*/ 446 h 522"/>
                  <a:gd name="T32" fmla="*/ 802 w 1025"/>
                  <a:gd name="T33" fmla="*/ 459 h 522"/>
                  <a:gd name="T34" fmla="*/ 816 w 1025"/>
                  <a:gd name="T35" fmla="*/ 403 h 522"/>
                  <a:gd name="T36" fmla="*/ 879 w 1025"/>
                  <a:gd name="T37" fmla="*/ 359 h 522"/>
                  <a:gd name="T38" fmla="*/ 945 w 1025"/>
                  <a:gd name="T39" fmla="*/ 284 h 522"/>
                  <a:gd name="T40" fmla="*/ 1004 w 1025"/>
                  <a:gd name="T41" fmla="*/ 227 h 522"/>
                  <a:gd name="T42" fmla="*/ 889 w 1025"/>
                  <a:gd name="T43" fmla="*/ 211 h 522"/>
                  <a:gd name="T44" fmla="*/ 824 w 1025"/>
                  <a:gd name="T45" fmla="*/ 150 h 522"/>
                  <a:gd name="T46" fmla="*/ 770 w 1025"/>
                  <a:gd name="T47" fmla="*/ 107 h 522"/>
                  <a:gd name="T48" fmla="*/ 668 w 1025"/>
                  <a:gd name="T49" fmla="*/ 44 h 522"/>
                  <a:gd name="T50" fmla="*/ 607 w 1025"/>
                  <a:gd name="T51" fmla="*/ 42 h 522"/>
                  <a:gd name="T52" fmla="*/ 551 w 1025"/>
                  <a:gd name="T53" fmla="*/ 17 h 522"/>
                  <a:gd name="T54" fmla="*/ 474 w 1025"/>
                  <a:gd name="T55" fmla="*/ 21 h 522"/>
                  <a:gd name="T56" fmla="*/ 346 w 1025"/>
                  <a:gd name="T57" fmla="*/ 23 h 522"/>
                  <a:gd name="T58" fmla="*/ 323 w 1025"/>
                  <a:gd name="T59" fmla="*/ 100 h 522"/>
                  <a:gd name="T60" fmla="*/ 350 w 1025"/>
                  <a:gd name="T61" fmla="*/ 159 h 522"/>
                  <a:gd name="T62" fmla="*/ 300 w 1025"/>
                  <a:gd name="T63" fmla="*/ 150 h 522"/>
                  <a:gd name="T64" fmla="*/ 261 w 1025"/>
                  <a:gd name="T65" fmla="*/ 154 h 522"/>
                  <a:gd name="T66" fmla="*/ 221 w 1025"/>
                  <a:gd name="T67" fmla="*/ 155 h 522"/>
                  <a:gd name="T68" fmla="*/ 209 w 1025"/>
                  <a:gd name="T69" fmla="*/ 154 h 522"/>
                  <a:gd name="T70" fmla="*/ 165 w 1025"/>
                  <a:gd name="T71" fmla="*/ 127 h 522"/>
                  <a:gd name="T72" fmla="*/ 140 w 1025"/>
                  <a:gd name="T73" fmla="*/ 109 h 522"/>
                  <a:gd name="T74" fmla="*/ 112 w 1025"/>
                  <a:gd name="T75" fmla="*/ 115 h 522"/>
                  <a:gd name="T76" fmla="*/ 58 w 1025"/>
                  <a:gd name="T77" fmla="*/ 152 h 522"/>
                  <a:gd name="T78" fmla="*/ 48 w 1025"/>
                  <a:gd name="T79" fmla="*/ 186 h 522"/>
                  <a:gd name="T80" fmla="*/ 17 w 1025"/>
                  <a:gd name="T81" fmla="*/ 188 h 522"/>
                  <a:gd name="T82" fmla="*/ 17 w 1025"/>
                  <a:gd name="T83" fmla="*/ 221 h 522"/>
                  <a:gd name="T84" fmla="*/ 12 w 1025"/>
                  <a:gd name="T85" fmla="*/ 255 h 522"/>
                  <a:gd name="T86" fmla="*/ 39 w 1025"/>
                  <a:gd name="T87" fmla="*/ 302 h 522"/>
                  <a:gd name="T88" fmla="*/ 50 w 1025"/>
                  <a:gd name="T89" fmla="*/ 328 h 522"/>
                  <a:gd name="T90" fmla="*/ 79 w 1025"/>
                  <a:gd name="T91" fmla="*/ 323 h 522"/>
                  <a:gd name="T92" fmla="*/ 117 w 1025"/>
                  <a:gd name="T93" fmla="*/ 311 h 522"/>
                  <a:gd name="T94" fmla="*/ 167 w 1025"/>
                  <a:gd name="T95" fmla="*/ 332 h 522"/>
                  <a:gd name="T96" fmla="*/ 183 w 1025"/>
                  <a:gd name="T97" fmla="*/ 384 h 522"/>
                  <a:gd name="T98" fmla="*/ 163 w 1025"/>
                  <a:gd name="T99" fmla="*/ 390 h 522"/>
                  <a:gd name="T100" fmla="*/ 125 w 1025"/>
                  <a:gd name="T101" fmla="*/ 376 h 522"/>
                  <a:gd name="T102" fmla="*/ 106 w 1025"/>
                  <a:gd name="T103" fmla="*/ 403 h 522"/>
                  <a:gd name="T104" fmla="*/ 102 w 1025"/>
                  <a:gd name="T105" fmla="*/ 426 h 522"/>
                  <a:gd name="T106" fmla="*/ 138 w 1025"/>
                  <a:gd name="T107" fmla="*/ 459 h 522"/>
                  <a:gd name="T108" fmla="*/ 165 w 1025"/>
                  <a:gd name="T109" fmla="*/ 469 h 522"/>
                  <a:gd name="T110" fmla="*/ 244 w 1025"/>
                  <a:gd name="T111" fmla="*/ 369 h 52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025"/>
                  <a:gd name="T169" fmla="*/ 0 h 522"/>
                  <a:gd name="T170" fmla="*/ 1025 w 1025"/>
                  <a:gd name="T171" fmla="*/ 522 h 52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025" h="522">
                    <a:moveTo>
                      <a:pt x="286" y="363"/>
                    </a:moveTo>
                    <a:lnTo>
                      <a:pt x="288" y="361"/>
                    </a:lnTo>
                    <a:lnTo>
                      <a:pt x="288" y="359"/>
                    </a:lnTo>
                    <a:lnTo>
                      <a:pt x="290" y="357"/>
                    </a:lnTo>
                    <a:lnTo>
                      <a:pt x="298" y="357"/>
                    </a:lnTo>
                    <a:lnTo>
                      <a:pt x="296" y="355"/>
                    </a:lnTo>
                    <a:lnTo>
                      <a:pt x="302" y="353"/>
                    </a:lnTo>
                    <a:lnTo>
                      <a:pt x="305" y="353"/>
                    </a:lnTo>
                    <a:lnTo>
                      <a:pt x="302" y="357"/>
                    </a:lnTo>
                    <a:lnTo>
                      <a:pt x="302" y="361"/>
                    </a:lnTo>
                    <a:lnTo>
                      <a:pt x="305" y="365"/>
                    </a:lnTo>
                    <a:lnTo>
                      <a:pt x="313" y="350"/>
                    </a:lnTo>
                    <a:lnTo>
                      <a:pt x="321" y="344"/>
                    </a:lnTo>
                    <a:lnTo>
                      <a:pt x="336" y="338"/>
                    </a:lnTo>
                    <a:lnTo>
                      <a:pt x="334" y="334"/>
                    </a:lnTo>
                    <a:lnTo>
                      <a:pt x="330" y="330"/>
                    </a:lnTo>
                    <a:lnTo>
                      <a:pt x="332" y="326"/>
                    </a:lnTo>
                    <a:lnTo>
                      <a:pt x="338" y="326"/>
                    </a:lnTo>
                    <a:lnTo>
                      <a:pt x="350" y="330"/>
                    </a:lnTo>
                    <a:lnTo>
                      <a:pt x="351" y="325"/>
                    </a:lnTo>
                    <a:lnTo>
                      <a:pt x="350" y="323"/>
                    </a:lnTo>
                    <a:lnTo>
                      <a:pt x="355" y="323"/>
                    </a:lnTo>
                    <a:lnTo>
                      <a:pt x="353" y="325"/>
                    </a:lnTo>
                    <a:lnTo>
                      <a:pt x="359" y="326"/>
                    </a:lnTo>
                    <a:lnTo>
                      <a:pt x="363" y="326"/>
                    </a:lnTo>
                    <a:lnTo>
                      <a:pt x="351" y="348"/>
                    </a:lnTo>
                    <a:lnTo>
                      <a:pt x="348" y="373"/>
                    </a:lnTo>
                    <a:lnTo>
                      <a:pt x="357" y="392"/>
                    </a:lnTo>
                    <a:lnTo>
                      <a:pt x="363" y="392"/>
                    </a:lnTo>
                    <a:lnTo>
                      <a:pt x="371" y="396"/>
                    </a:lnTo>
                    <a:lnTo>
                      <a:pt x="367" y="398"/>
                    </a:lnTo>
                    <a:lnTo>
                      <a:pt x="363" y="401"/>
                    </a:lnTo>
                    <a:lnTo>
                      <a:pt x="363" y="407"/>
                    </a:lnTo>
                    <a:lnTo>
                      <a:pt x="367" y="407"/>
                    </a:lnTo>
                    <a:lnTo>
                      <a:pt x="367" y="411"/>
                    </a:lnTo>
                    <a:lnTo>
                      <a:pt x="365" y="411"/>
                    </a:lnTo>
                    <a:lnTo>
                      <a:pt x="361" y="413"/>
                    </a:lnTo>
                    <a:lnTo>
                      <a:pt x="359" y="413"/>
                    </a:lnTo>
                    <a:lnTo>
                      <a:pt x="361" y="417"/>
                    </a:lnTo>
                    <a:lnTo>
                      <a:pt x="365" y="428"/>
                    </a:lnTo>
                    <a:lnTo>
                      <a:pt x="365" y="440"/>
                    </a:lnTo>
                    <a:lnTo>
                      <a:pt x="367" y="451"/>
                    </a:lnTo>
                    <a:lnTo>
                      <a:pt x="367" y="457"/>
                    </a:lnTo>
                    <a:lnTo>
                      <a:pt x="394" y="457"/>
                    </a:lnTo>
                    <a:lnTo>
                      <a:pt x="405" y="461"/>
                    </a:lnTo>
                    <a:lnTo>
                      <a:pt x="419" y="463"/>
                    </a:lnTo>
                    <a:lnTo>
                      <a:pt x="424" y="465"/>
                    </a:lnTo>
                    <a:lnTo>
                      <a:pt x="428" y="457"/>
                    </a:lnTo>
                    <a:lnTo>
                      <a:pt x="430" y="461"/>
                    </a:lnTo>
                    <a:lnTo>
                      <a:pt x="432" y="467"/>
                    </a:lnTo>
                    <a:lnTo>
                      <a:pt x="440" y="474"/>
                    </a:lnTo>
                    <a:lnTo>
                      <a:pt x="445" y="476"/>
                    </a:lnTo>
                    <a:lnTo>
                      <a:pt x="455" y="476"/>
                    </a:lnTo>
                    <a:lnTo>
                      <a:pt x="457" y="478"/>
                    </a:lnTo>
                    <a:lnTo>
                      <a:pt x="461" y="486"/>
                    </a:lnTo>
                    <a:lnTo>
                      <a:pt x="463" y="486"/>
                    </a:lnTo>
                    <a:lnTo>
                      <a:pt x="465" y="488"/>
                    </a:lnTo>
                    <a:lnTo>
                      <a:pt x="461" y="496"/>
                    </a:lnTo>
                    <a:lnTo>
                      <a:pt x="465" y="499"/>
                    </a:lnTo>
                    <a:lnTo>
                      <a:pt x="470" y="501"/>
                    </a:lnTo>
                    <a:lnTo>
                      <a:pt x="480" y="503"/>
                    </a:lnTo>
                    <a:lnTo>
                      <a:pt x="486" y="503"/>
                    </a:lnTo>
                    <a:lnTo>
                      <a:pt x="493" y="501"/>
                    </a:lnTo>
                    <a:lnTo>
                      <a:pt x="501" y="503"/>
                    </a:lnTo>
                    <a:lnTo>
                      <a:pt x="507" y="509"/>
                    </a:lnTo>
                    <a:lnTo>
                      <a:pt x="507" y="515"/>
                    </a:lnTo>
                    <a:lnTo>
                      <a:pt x="505" y="521"/>
                    </a:lnTo>
                    <a:lnTo>
                      <a:pt x="507" y="522"/>
                    </a:lnTo>
                    <a:lnTo>
                      <a:pt x="511" y="521"/>
                    </a:lnTo>
                    <a:lnTo>
                      <a:pt x="515" y="521"/>
                    </a:lnTo>
                    <a:lnTo>
                      <a:pt x="517" y="519"/>
                    </a:lnTo>
                    <a:lnTo>
                      <a:pt x="517" y="509"/>
                    </a:lnTo>
                    <a:lnTo>
                      <a:pt x="524" y="509"/>
                    </a:lnTo>
                    <a:lnTo>
                      <a:pt x="530" y="507"/>
                    </a:lnTo>
                    <a:lnTo>
                      <a:pt x="532" y="507"/>
                    </a:lnTo>
                    <a:lnTo>
                      <a:pt x="534" y="503"/>
                    </a:lnTo>
                    <a:lnTo>
                      <a:pt x="536" y="496"/>
                    </a:lnTo>
                    <a:lnTo>
                      <a:pt x="540" y="490"/>
                    </a:lnTo>
                    <a:lnTo>
                      <a:pt x="545" y="488"/>
                    </a:lnTo>
                    <a:lnTo>
                      <a:pt x="551" y="488"/>
                    </a:lnTo>
                    <a:lnTo>
                      <a:pt x="553" y="484"/>
                    </a:lnTo>
                    <a:lnTo>
                      <a:pt x="557" y="480"/>
                    </a:lnTo>
                    <a:lnTo>
                      <a:pt x="563" y="478"/>
                    </a:lnTo>
                    <a:lnTo>
                      <a:pt x="568" y="478"/>
                    </a:lnTo>
                    <a:lnTo>
                      <a:pt x="574" y="476"/>
                    </a:lnTo>
                    <a:lnTo>
                      <a:pt x="578" y="476"/>
                    </a:lnTo>
                    <a:lnTo>
                      <a:pt x="582" y="474"/>
                    </a:lnTo>
                    <a:lnTo>
                      <a:pt x="586" y="469"/>
                    </a:lnTo>
                    <a:lnTo>
                      <a:pt x="595" y="461"/>
                    </a:lnTo>
                    <a:lnTo>
                      <a:pt x="605" y="455"/>
                    </a:lnTo>
                    <a:lnTo>
                      <a:pt x="622" y="455"/>
                    </a:lnTo>
                    <a:lnTo>
                      <a:pt x="634" y="461"/>
                    </a:lnTo>
                    <a:lnTo>
                      <a:pt x="643" y="469"/>
                    </a:lnTo>
                    <a:lnTo>
                      <a:pt x="649" y="471"/>
                    </a:lnTo>
                    <a:lnTo>
                      <a:pt x="651" y="467"/>
                    </a:lnTo>
                    <a:lnTo>
                      <a:pt x="655" y="465"/>
                    </a:lnTo>
                    <a:lnTo>
                      <a:pt x="659" y="461"/>
                    </a:lnTo>
                    <a:lnTo>
                      <a:pt x="662" y="455"/>
                    </a:lnTo>
                    <a:lnTo>
                      <a:pt x="666" y="451"/>
                    </a:lnTo>
                    <a:lnTo>
                      <a:pt x="672" y="451"/>
                    </a:lnTo>
                    <a:lnTo>
                      <a:pt x="680" y="448"/>
                    </a:lnTo>
                    <a:lnTo>
                      <a:pt x="682" y="448"/>
                    </a:lnTo>
                    <a:lnTo>
                      <a:pt x="685" y="451"/>
                    </a:lnTo>
                    <a:lnTo>
                      <a:pt x="691" y="455"/>
                    </a:lnTo>
                    <a:lnTo>
                      <a:pt x="697" y="457"/>
                    </a:lnTo>
                    <a:lnTo>
                      <a:pt x="699" y="459"/>
                    </a:lnTo>
                    <a:lnTo>
                      <a:pt x="703" y="461"/>
                    </a:lnTo>
                    <a:lnTo>
                      <a:pt x="722" y="449"/>
                    </a:lnTo>
                    <a:lnTo>
                      <a:pt x="730" y="448"/>
                    </a:lnTo>
                    <a:lnTo>
                      <a:pt x="739" y="448"/>
                    </a:lnTo>
                    <a:lnTo>
                      <a:pt x="749" y="446"/>
                    </a:lnTo>
                    <a:lnTo>
                      <a:pt x="760" y="446"/>
                    </a:lnTo>
                    <a:lnTo>
                      <a:pt x="768" y="444"/>
                    </a:lnTo>
                    <a:lnTo>
                      <a:pt x="776" y="446"/>
                    </a:lnTo>
                    <a:lnTo>
                      <a:pt x="781" y="448"/>
                    </a:lnTo>
                    <a:lnTo>
                      <a:pt x="789" y="448"/>
                    </a:lnTo>
                    <a:lnTo>
                      <a:pt x="795" y="451"/>
                    </a:lnTo>
                    <a:lnTo>
                      <a:pt x="797" y="455"/>
                    </a:lnTo>
                    <a:lnTo>
                      <a:pt x="802" y="459"/>
                    </a:lnTo>
                    <a:lnTo>
                      <a:pt x="808" y="461"/>
                    </a:lnTo>
                    <a:lnTo>
                      <a:pt x="812" y="461"/>
                    </a:lnTo>
                    <a:lnTo>
                      <a:pt x="824" y="467"/>
                    </a:lnTo>
                    <a:lnTo>
                      <a:pt x="824" y="449"/>
                    </a:lnTo>
                    <a:lnTo>
                      <a:pt x="835" y="426"/>
                    </a:lnTo>
                    <a:lnTo>
                      <a:pt x="827" y="417"/>
                    </a:lnTo>
                    <a:lnTo>
                      <a:pt x="816" y="403"/>
                    </a:lnTo>
                    <a:lnTo>
                      <a:pt x="812" y="396"/>
                    </a:lnTo>
                    <a:lnTo>
                      <a:pt x="818" y="390"/>
                    </a:lnTo>
                    <a:lnTo>
                      <a:pt x="837" y="386"/>
                    </a:lnTo>
                    <a:lnTo>
                      <a:pt x="858" y="376"/>
                    </a:lnTo>
                    <a:lnTo>
                      <a:pt x="881" y="376"/>
                    </a:lnTo>
                    <a:lnTo>
                      <a:pt x="887" y="367"/>
                    </a:lnTo>
                    <a:lnTo>
                      <a:pt x="879" y="359"/>
                    </a:lnTo>
                    <a:lnTo>
                      <a:pt x="875" y="344"/>
                    </a:lnTo>
                    <a:lnTo>
                      <a:pt x="881" y="325"/>
                    </a:lnTo>
                    <a:lnTo>
                      <a:pt x="891" y="315"/>
                    </a:lnTo>
                    <a:lnTo>
                      <a:pt x="898" y="302"/>
                    </a:lnTo>
                    <a:lnTo>
                      <a:pt x="908" y="294"/>
                    </a:lnTo>
                    <a:lnTo>
                      <a:pt x="923" y="294"/>
                    </a:lnTo>
                    <a:lnTo>
                      <a:pt x="945" y="284"/>
                    </a:lnTo>
                    <a:lnTo>
                      <a:pt x="946" y="273"/>
                    </a:lnTo>
                    <a:lnTo>
                      <a:pt x="950" y="265"/>
                    </a:lnTo>
                    <a:lnTo>
                      <a:pt x="964" y="259"/>
                    </a:lnTo>
                    <a:lnTo>
                      <a:pt x="973" y="248"/>
                    </a:lnTo>
                    <a:lnTo>
                      <a:pt x="985" y="238"/>
                    </a:lnTo>
                    <a:lnTo>
                      <a:pt x="1025" y="230"/>
                    </a:lnTo>
                    <a:lnTo>
                      <a:pt x="1004" y="227"/>
                    </a:lnTo>
                    <a:lnTo>
                      <a:pt x="996" y="221"/>
                    </a:lnTo>
                    <a:lnTo>
                      <a:pt x="981" y="198"/>
                    </a:lnTo>
                    <a:lnTo>
                      <a:pt x="969" y="198"/>
                    </a:lnTo>
                    <a:lnTo>
                      <a:pt x="950" y="202"/>
                    </a:lnTo>
                    <a:lnTo>
                      <a:pt x="920" y="215"/>
                    </a:lnTo>
                    <a:lnTo>
                      <a:pt x="902" y="219"/>
                    </a:lnTo>
                    <a:lnTo>
                      <a:pt x="889" y="211"/>
                    </a:lnTo>
                    <a:lnTo>
                      <a:pt x="883" y="203"/>
                    </a:lnTo>
                    <a:lnTo>
                      <a:pt x="877" y="186"/>
                    </a:lnTo>
                    <a:lnTo>
                      <a:pt x="874" y="171"/>
                    </a:lnTo>
                    <a:lnTo>
                      <a:pt x="870" y="165"/>
                    </a:lnTo>
                    <a:lnTo>
                      <a:pt x="860" y="155"/>
                    </a:lnTo>
                    <a:lnTo>
                      <a:pt x="850" y="150"/>
                    </a:lnTo>
                    <a:lnTo>
                      <a:pt x="824" y="150"/>
                    </a:lnTo>
                    <a:lnTo>
                      <a:pt x="818" y="152"/>
                    </a:lnTo>
                    <a:lnTo>
                      <a:pt x="808" y="154"/>
                    </a:lnTo>
                    <a:lnTo>
                      <a:pt x="801" y="154"/>
                    </a:lnTo>
                    <a:lnTo>
                      <a:pt x="793" y="150"/>
                    </a:lnTo>
                    <a:lnTo>
                      <a:pt x="787" y="142"/>
                    </a:lnTo>
                    <a:lnTo>
                      <a:pt x="783" y="138"/>
                    </a:lnTo>
                    <a:lnTo>
                      <a:pt x="770" y="107"/>
                    </a:lnTo>
                    <a:lnTo>
                      <a:pt x="751" y="67"/>
                    </a:lnTo>
                    <a:lnTo>
                      <a:pt x="735" y="38"/>
                    </a:lnTo>
                    <a:lnTo>
                      <a:pt x="735" y="25"/>
                    </a:lnTo>
                    <a:lnTo>
                      <a:pt x="733" y="21"/>
                    </a:lnTo>
                    <a:lnTo>
                      <a:pt x="712" y="25"/>
                    </a:lnTo>
                    <a:lnTo>
                      <a:pt x="693" y="32"/>
                    </a:lnTo>
                    <a:lnTo>
                      <a:pt x="668" y="44"/>
                    </a:lnTo>
                    <a:lnTo>
                      <a:pt x="647" y="52"/>
                    </a:lnTo>
                    <a:lnTo>
                      <a:pt x="624" y="50"/>
                    </a:lnTo>
                    <a:lnTo>
                      <a:pt x="626" y="50"/>
                    </a:lnTo>
                    <a:lnTo>
                      <a:pt x="626" y="48"/>
                    </a:lnTo>
                    <a:lnTo>
                      <a:pt x="622" y="36"/>
                    </a:lnTo>
                    <a:lnTo>
                      <a:pt x="616" y="36"/>
                    </a:lnTo>
                    <a:lnTo>
                      <a:pt x="607" y="42"/>
                    </a:lnTo>
                    <a:lnTo>
                      <a:pt x="603" y="36"/>
                    </a:lnTo>
                    <a:lnTo>
                      <a:pt x="588" y="27"/>
                    </a:lnTo>
                    <a:lnTo>
                      <a:pt x="576" y="40"/>
                    </a:lnTo>
                    <a:lnTo>
                      <a:pt x="566" y="44"/>
                    </a:lnTo>
                    <a:lnTo>
                      <a:pt x="555" y="31"/>
                    </a:lnTo>
                    <a:lnTo>
                      <a:pt x="547" y="31"/>
                    </a:lnTo>
                    <a:lnTo>
                      <a:pt x="551" y="17"/>
                    </a:lnTo>
                    <a:lnTo>
                      <a:pt x="551" y="11"/>
                    </a:lnTo>
                    <a:lnTo>
                      <a:pt x="541" y="7"/>
                    </a:lnTo>
                    <a:lnTo>
                      <a:pt x="536" y="0"/>
                    </a:lnTo>
                    <a:lnTo>
                      <a:pt x="524" y="2"/>
                    </a:lnTo>
                    <a:lnTo>
                      <a:pt x="507" y="7"/>
                    </a:lnTo>
                    <a:lnTo>
                      <a:pt x="484" y="21"/>
                    </a:lnTo>
                    <a:lnTo>
                      <a:pt x="474" y="21"/>
                    </a:lnTo>
                    <a:lnTo>
                      <a:pt x="451" y="29"/>
                    </a:lnTo>
                    <a:lnTo>
                      <a:pt x="426" y="27"/>
                    </a:lnTo>
                    <a:lnTo>
                      <a:pt x="409" y="32"/>
                    </a:lnTo>
                    <a:lnTo>
                      <a:pt x="386" y="36"/>
                    </a:lnTo>
                    <a:lnTo>
                      <a:pt x="376" y="31"/>
                    </a:lnTo>
                    <a:lnTo>
                      <a:pt x="361" y="29"/>
                    </a:lnTo>
                    <a:lnTo>
                      <a:pt x="346" y="23"/>
                    </a:lnTo>
                    <a:lnTo>
                      <a:pt x="336" y="29"/>
                    </a:lnTo>
                    <a:lnTo>
                      <a:pt x="338" y="38"/>
                    </a:lnTo>
                    <a:lnTo>
                      <a:pt x="338" y="50"/>
                    </a:lnTo>
                    <a:lnTo>
                      <a:pt x="326" y="63"/>
                    </a:lnTo>
                    <a:lnTo>
                      <a:pt x="326" y="77"/>
                    </a:lnTo>
                    <a:lnTo>
                      <a:pt x="323" y="86"/>
                    </a:lnTo>
                    <a:lnTo>
                      <a:pt x="323" y="100"/>
                    </a:lnTo>
                    <a:lnTo>
                      <a:pt x="332" y="115"/>
                    </a:lnTo>
                    <a:lnTo>
                      <a:pt x="334" y="123"/>
                    </a:lnTo>
                    <a:lnTo>
                      <a:pt x="325" y="140"/>
                    </a:lnTo>
                    <a:lnTo>
                      <a:pt x="334" y="148"/>
                    </a:lnTo>
                    <a:lnTo>
                      <a:pt x="336" y="150"/>
                    </a:lnTo>
                    <a:lnTo>
                      <a:pt x="344" y="152"/>
                    </a:lnTo>
                    <a:lnTo>
                      <a:pt x="350" y="159"/>
                    </a:lnTo>
                    <a:lnTo>
                      <a:pt x="348" y="167"/>
                    </a:lnTo>
                    <a:lnTo>
                      <a:pt x="340" y="175"/>
                    </a:lnTo>
                    <a:lnTo>
                      <a:pt x="328" y="175"/>
                    </a:lnTo>
                    <a:lnTo>
                      <a:pt x="311" y="171"/>
                    </a:lnTo>
                    <a:lnTo>
                      <a:pt x="309" y="167"/>
                    </a:lnTo>
                    <a:lnTo>
                      <a:pt x="305" y="157"/>
                    </a:lnTo>
                    <a:lnTo>
                      <a:pt x="300" y="150"/>
                    </a:lnTo>
                    <a:lnTo>
                      <a:pt x="296" y="150"/>
                    </a:lnTo>
                    <a:lnTo>
                      <a:pt x="294" y="152"/>
                    </a:lnTo>
                    <a:lnTo>
                      <a:pt x="290" y="154"/>
                    </a:lnTo>
                    <a:lnTo>
                      <a:pt x="286" y="152"/>
                    </a:lnTo>
                    <a:lnTo>
                      <a:pt x="282" y="148"/>
                    </a:lnTo>
                    <a:lnTo>
                      <a:pt x="277" y="146"/>
                    </a:lnTo>
                    <a:lnTo>
                      <a:pt x="261" y="154"/>
                    </a:lnTo>
                    <a:lnTo>
                      <a:pt x="255" y="159"/>
                    </a:lnTo>
                    <a:lnTo>
                      <a:pt x="250" y="159"/>
                    </a:lnTo>
                    <a:lnTo>
                      <a:pt x="242" y="157"/>
                    </a:lnTo>
                    <a:lnTo>
                      <a:pt x="232" y="152"/>
                    </a:lnTo>
                    <a:lnTo>
                      <a:pt x="227" y="152"/>
                    </a:lnTo>
                    <a:lnTo>
                      <a:pt x="223" y="154"/>
                    </a:lnTo>
                    <a:lnTo>
                      <a:pt x="221" y="155"/>
                    </a:lnTo>
                    <a:lnTo>
                      <a:pt x="219" y="159"/>
                    </a:lnTo>
                    <a:lnTo>
                      <a:pt x="217" y="167"/>
                    </a:lnTo>
                    <a:lnTo>
                      <a:pt x="217" y="171"/>
                    </a:lnTo>
                    <a:lnTo>
                      <a:pt x="206" y="169"/>
                    </a:lnTo>
                    <a:lnTo>
                      <a:pt x="207" y="165"/>
                    </a:lnTo>
                    <a:lnTo>
                      <a:pt x="209" y="159"/>
                    </a:lnTo>
                    <a:lnTo>
                      <a:pt x="209" y="154"/>
                    </a:lnTo>
                    <a:lnTo>
                      <a:pt x="206" y="150"/>
                    </a:lnTo>
                    <a:lnTo>
                      <a:pt x="190" y="150"/>
                    </a:lnTo>
                    <a:lnTo>
                      <a:pt x="188" y="146"/>
                    </a:lnTo>
                    <a:lnTo>
                      <a:pt x="184" y="140"/>
                    </a:lnTo>
                    <a:lnTo>
                      <a:pt x="177" y="132"/>
                    </a:lnTo>
                    <a:lnTo>
                      <a:pt x="171" y="129"/>
                    </a:lnTo>
                    <a:lnTo>
                      <a:pt x="165" y="127"/>
                    </a:lnTo>
                    <a:lnTo>
                      <a:pt x="158" y="127"/>
                    </a:lnTo>
                    <a:lnTo>
                      <a:pt x="158" y="119"/>
                    </a:lnTo>
                    <a:lnTo>
                      <a:pt x="154" y="113"/>
                    </a:lnTo>
                    <a:lnTo>
                      <a:pt x="152" y="111"/>
                    </a:lnTo>
                    <a:lnTo>
                      <a:pt x="146" y="109"/>
                    </a:lnTo>
                    <a:lnTo>
                      <a:pt x="142" y="107"/>
                    </a:lnTo>
                    <a:lnTo>
                      <a:pt x="140" y="109"/>
                    </a:lnTo>
                    <a:lnTo>
                      <a:pt x="140" y="111"/>
                    </a:lnTo>
                    <a:lnTo>
                      <a:pt x="142" y="113"/>
                    </a:lnTo>
                    <a:lnTo>
                      <a:pt x="131" y="113"/>
                    </a:lnTo>
                    <a:lnTo>
                      <a:pt x="131" y="107"/>
                    </a:lnTo>
                    <a:lnTo>
                      <a:pt x="108" y="113"/>
                    </a:lnTo>
                    <a:lnTo>
                      <a:pt x="110" y="113"/>
                    </a:lnTo>
                    <a:lnTo>
                      <a:pt x="112" y="115"/>
                    </a:lnTo>
                    <a:lnTo>
                      <a:pt x="112" y="119"/>
                    </a:lnTo>
                    <a:lnTo>
                      <a:pt x="106" y="127"/>
                    </a:lnTo>
                    <a:lnTo>
                      <a:pt x="92" y="140"/>
                    </a:lnTo>
                    <a:lnTo>
                      <a:pt x="69" y="140"/>
                    </a:lnTo>
                    <a:lnTo>
                      <a:pt x="65" y="146"/>
                    </a:lnTo>
                    <a:lnTo>
                      <a:pt x="62" y="148"/>
                    </a:lnTo>
                    <a:lnTo>
                      <a:pt x="58" y="152"/>
                    </a:lnTo>
                    <a:lnTo>
                      <a:pt x="56" y="159"/>
                    </a:lnTo>
                    <a:lnTo>
                      <a:pt x="56" y="167"/>
                    </a:lnTo>
                    <a:lnTo>
                      <a:pt x="58" y="173"/>
                    </a:lnTo>
                    <a:lnTo>
                      <a:pt x="64" y="179"/>
                    </a:lnTo>
                    <a:lnTo>
                      <a:pt x="67" y="180"/>
                    </a:lnTo>
                    <a:lnTo>
                      <a:pt x="50" y="190"/>
                    </a:lnTo>
                    <a:lnTo>
                      <a:pt x="48" y="186"/>
                    </a:lnTo>
                    <a:lnTo>
                      <a:pt x="42" y="171"/>
                    </a:lnTo>
                    <a:lnTo>
                      <a:pt x="39" y="169"/>
                    </a:lnTo>
                    <a:lnTo>
                      <a:pt x="33" y="175"/>
                    </a:lnTo>
                    <a:lnTo>
                      <a:pt x="29" y="180"/>
                    </a:lnTo>
                    <a:lnTo>
                      <a:pt x="25" y="184"/>
                    </a:lnTo>
                    <a:lnTo>
                      <a:pt x="19" y="184"/>
                    </a:lnTo>
                    <a:lnTo>
                      <a:pt x="17" y="188"/>
                    </a:lnTo>
                    <a:lnTo>
                      <a:pt x="17" y="198"/>
                    </a:lnTo>
                    <a:lnTo>
                      <a:pt x="14" y="207"/>
                    </a:lnTo>
                    <a:lnTo>
                      <a:pt x="10" y="209"/>
                    </a:lnTo>
                    <a:lnTo>
                      <a:pt x="12" y="211"/>
                    </a:lnTo>
                    <a:lnTo>
                      <a:pt x="16" y="213"/>
                    </a:lnTo>
                    <a:lnTo>
                      <a:pt x="17" y="217"/>
                    </a:lnTo>
                    <a:lnTo>
                      <a:pt x="17" y="221"/>
                    </a:lnTo>
                    <a:lnTo>
                      <a:pt x="16" y="225"/>
                    </a:lnTo>
                    <a:lnTo>
                      <a:pt x="14" y="225"/>
                    </a:lnTo>
                    <a:lnTo>
                      <a:pt x="12" y="228"/>
                    </a:lnTo>
                    <a:lnTo>
                      <a:pt x="6" y="236"/>
                    </a:lnTo>
                    <a:lnTo>
                      <a:pt x="0" y="248"/>
                    </a:lnTo>
                    <a:lnTo>
                      <a:pt x="4" y="252"/>
                    </a:lnTo>
                    <a:lnTo>
                      <a:pt x="12" y="255"/>
                    </a:lnTo>
                    <a:lnTo>
                      <a:pt x="16" y="261"/>
                    </a:lnTo>
                    <a:lnTo>
                      <a:pt x="16" y="277"/>
                    </a:lnTo>
                    <a:lnTo>
                      <a:pt x="19" y="278"/>
                    </a:lnTo>
                    <a:lnTo>
                      <a:pt x="25" y="277"/>
                    </a:lnTo>
                    <a:lnTo>
                      <a:pt x="29" y="275"/>
                    </a:lnTo>
                    <a:lnTo>
                      <a:pt x="39" y="298"/>
                    </a:lnTo>
                    <a:lnTo>
                      <a:pt x="39" y="302"/>
                    </a:lnTo>
                    <a:lnTo>
                      <a:pt x="41" y="305"/>
                    </a:lnTo>
                    <a:lnTo>
                      <a:pt x="39" y="311"/>
                    </a:lnTo>
                    <a:lnTo>
                      <a:pt x="39" y="317"/>
                    </a:lnTo>
                    <a:lnTo>
                      <a:pt x="42" y="323"/>
                    </a:lnTo>
                    <a:lnTo>
                      <a:pt x="44" y="326"/>
                    </a:lnTo>
                    <a:lnTo>
                      <a:pt x="46" y="326"/>
                    </a:lnTo>
                    <a:lnTo>
                      <a:pt x="50" y="328"/>
                    </a:lnTo>
                    <a:lnTo>
                      <a:pt x="56" y="330"/>
                    </a:lnTo>
                    <a:lnTo>
                      <a:pt x="58" y="326"/>
                    </a:lnTo>
                    <a:lnTo>
                      <a:pt x="64" y="321"/>
                    </a:lnTo>
                    <a:lnTo>
                      <a:pt x="67" y="319"/>
                    </a:lnTo>
                    <a:lnTo>
                      <a:pt x="71" y="319"/>
                    </a:lnTo>
                    <a:lnTo>
                      <a:pt x="73" y="321"/>
                    </a:lnTo>
                    <a:lnTo>
                      <a:pt x="79" y="323"/>
                    </a:lnTo>
                    <a:lnTo>
                      <a:pt x="87" y="317"/>
                    </a:lnTo>
                    <a:lnTo>
                      <a:pt x="94" y="305"/>
                    </a:lnTo>
                    <a:lnTo>
                      <a:pt x="102" y="296"/>
                    </a:lnTo>
                    <a:lnTo>
                      <a:pt x="106" y="298"/>
                    </a:lnTo>
                    <a:lnTo>
                      <a:pt x="112" y="302"/>
                    </a:lnTo>
                    <a:lnTo>
                      <a:pt x="117" y="303"/>
                    </a:lnTo>
                    <a:lnTo>
                      <a:pt x="117" y="311"/>
                    </a:lnTo>
                    <a:lnTo>
                      <a:pt x="131" y="315"/>
                    </a:lnTo>
                    <a:lnTo>
                      <a:pt x="144" y="317"/>
                    </a:lnTo>
                    <a:lnTo>
                      <a:pt x="156" y="323"/>
                    </a:lnTo>
                    <a:lnTo>
                      <a:pt x="156" y="330"/>
                    </a:lnTo>
                    <a:lnTo>
                      <a:pt x="160" y="334"/>
                    </a:lnTo>
                    <a:lnTo>
                      <a:pt x="163" y="334"/>
                    </a:lnTo>
                    <a:lnTo>
                      <a:pt x="167" y="332"/>
                    </a:lnTo>
                    <a:lnTo>
                      <a:pt x="171" y="334"/>
                    </a:lnTo>
                    <a:lnTo>
                      <a:pt x="173" y="342"/>
                    </a:lnTo>
                    <a:lnTo>
                      <a:pt x="173" y="350"/>
                    </a:lnTo>
                    <a:lnTo>
                      <a:pt x="175" y="357"/>
                    </a:lnTo>
                    <a:lnTo>
                      <a:pt x="183" y="365"/>
                    </a:lnTo>
                    <a:lnTo>
                      <a:pt x="188" y="373"/>
                    </a:lnTo>
                    <a:lnTo>
                      <a:pt x="183" y="384"/>
                    </a:lnTo>
                    <a:lnTo>
                      <a:pt x="179" y="386"/>
                    </a:lnTo>
                    <a:lnTo>
                      <a:pt x="177" y="386"/>
                    </a:lnTo>
                    <a:lnTo>
                      <a:pt x="171" y="388"/>
                    </a:lnTo>
                    <a:lnTo>
                      <a:pt x="171" y="390"/>
                    </a:lnTo>
                    <a:lnTo>
                      <a:pt x="165" y="392"/>
                    </a:lnTo>
                    <a:lnTo>
                      <a:pt x="163" y="392"/>
                    </a:lnTo>
                    <a:lnTo>
                      <a:pt x="163" y="390"/>
                    </a:lnTo>
                    <a:lnTo>
                      <a:pt x="165" y="386"/>
                    </a:lnTo>
                    <a:lnTo>
                      <a:pt x="160" y="384"/>
                    </a:lnTo>
                    <a:lnTo>
                      <a:pt x="160" y="380"/>
                    </a:lnTo>
                    <a:lnTo>
                      <a:pt x="144" y="380"/>
                    </a:lnTo>
                    <a:lnTo>
                      <a:pt x="136" y="373"/>
                    </a:lnTo>
                    <a:lnTo>
                      <a:pt x="129" y="373"/>
                    </a:lnTo>
                    <a:lnTo>
                      <a:pt x="125" y="376"/>
                    </a:lnTo>
                    <a:lnTo>
                      <a:pt x="129" y="388"/>
                    </a:lnTo>
                    <a:lnTo>
                      <a:pt x="117" y="388"/>
                    </a:lnTo>
                    <a:lnTo>
                      <a:pt x="112" y="386"/>
                    </a:lnTo>
                    <a:lnTo>
                      <a:pt x="102" y="388"/>
                    </a:lnTo>
                    <a:lnTo>
                      <a:pt x="104" y="392"/>
                    </a:lnTo>
                    <a:lnTo>
                      <a:pt x="104" y="396"/>
                    </a:lnTo>
                    <a:lnTo>
                      <a:pt x="106" y="403"/>
                    </a:lnTo>
                    <a:lnTo>
                      <a:pt x="113" y="403"/>
                    </a:lnTo>
                    <a:lnTo>
                      <a:pt x="117" y="411"/>
                    </a:lnTo>
                    <a:lnTo>
                      <a:pt x="106" y="409"/>
                    </a:lnTo>
                    <a:lnTo>
                      <a:pt x="96" y="407"/>
                    </a:lnTo>
                    <a:lnTo>
                      <a:pt x="87" y="407"/>
                    </a:lnTo>
                    <a:lnTo>
                      <a:pt x="87" y="415"/>
                    </a:lnTo>
                    <a:lnTo>
                      <a:pt x="102" y="426"/>
                    </a:lnTo>
                    <a:lnTo>
                      <a:pt x="108" y="440"/>
                    </a:lnTo>
                    <a:lnTo>
                      <a:pt x="110" y="446"/>
                    </a:lnTo>
                    <a:lnTo>
                      <a:pt x="115" y="449"/>
                    </a:lnTo>
                    <a:lnTo>
                      <a:pt x="123" y="457"/>
                    </a:lnTo>
                    <a:lnTo>
                      <a:pt x="129" y="461"/>
                    </a:lnTo>
                    <a:lnTo>
                      <a:pt x="133" y="461"/>
                    </a:lnTo>
                    <a:lnTo>
                      <a:pt x="138" y="459"/>
                    </a:lnTo>
                    <a:lnTo>
                      <a:pt x="144" y="461"/>
                    </a:lnTo>
                    <a:lnTo>
                      <a:pt x="142" y="467"/>
                    </a:lnTo>
                    <a:lnTo>
                      <a:pt x="140" y="471"/>
                    </a:lnTo>
                    <a:lnTo>
                      <a:pt x="140" y="486"/>
                    </a:lnTo>
                    <a:lnTo>
                      <a:pt x="142" y="482"/>
                    </a:lnTo>
                    <a:lnTo>
                      <a:pt x="150" y="473"/>
                    </a:lnTo>
                    <a:lnTo>
                      <a:pt x="165" y="469"/>
                    </a:lnTo>
                    <a:lnTo>
                      <a:pt x="184" y="474"/>
                    </a:lnTo>
                    <a:lnTo>
                      <a:pt x="196" y="486"/>
                    </a:lnTo>
                    <a:lnTo>
                      <a:pt x="202" y="496"/>
                    </a:lnTo>
                    <a:lnTo>
                      <a:pt x="225" y="496"/>
                    </a:lnTo>
                    <a:lnTo>
                      <a:pt x="229" y="376"/>
                    </a:lnTo>
                    <a:lnTo>
                      <a:pt x="234" y="375"/>
                    </a:lnTo>
                    <a:lnTo>
                      <a:pt x="244" y="369"/>
                    </a:lnTo>
                    <a:lnTo>
                      <a:pt x="254" y="367"/>
                    </a:lnTo>
                    <a:lnTo>
                      <a:pt x="261" y="365"/>
                    </a:lnTo>
                    <a:lnTo>
                      <a:pt x="267" y="363"/>
                    </a:lnTo>
                    <a:lnTo>
                      <a:pt x="286" y="36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7" name="Freeform 155"/>
              <p:cNvSpPr>
                <a:spLocks/>
              </p:cNvSpPr>
              <p:nvPr/>
            </p:nvSpPr>
            <p:spPr bwMode="gray">
              <a:xfrm>
                <a:off x="3465" y="2256"/>
                <a:ext cx="59" cy="66"/>
              </a:xfrm>
              <a:custGeom>
                <a:avLst/>
                <a:gdLst>
                  <a:gd name="T0" fmla="*/ 27 w 119"/>
                  <a:gd name="T1" fmla="*/ 42 h 132"/>
                  <a:gd name="T2" fmla="*/ 27 w 119"/>
                  <a:gd name="T3" fmla="*/ 40 h 132"/>
                  <a:gd name="T4" fmla="*/ 31 w 119"/>
                  <a:gd name="T5" fmla="*/ 32 h 132"/>
                  <a:gd name="T6" fmla="*/ 31 w 119"/>
                  <a:gd name="T7" fmla="*/ 27 h 132"/>
                  <a:gd name="T8" fmla="*/ 35 w 119"/>
                  <a:gd name="T9" fmla="*/ 25 h 132"/>
                  <a:gd name="T10" fmla="*/ 40 w 119"/>
                  <a:gd name="T11" fmla="*/ 23 h 132"/>
                  <a:gd name="T12" fmla="*/ 46 w 119"/>
                  <a:gd name="T13" fmla="*/ 23 h 132"/>
                  <a:gd name="T14" fmla="*/ 54 w 119"/>
                  <a:gd name="T15" fmla="*/ 27 h 132"/>
                  <a:gd name="T16" fmla="*/ 61 w 119"/>
                  <a:gd name="T17" fmla="*/ 27 h 132"/>
                  <a:gd name="T18" fmla="*/ 67 w 119"/>
                  <a:gd name="T19" fmla="*/ 28 h 132"/>
                  <a:gd name="T20" fmla="*/ 106 w 119"/>
                  <a:gd name="T21" fmla="*/ 0 h 132"/>
                  <a:gd name="T22" fmla="*/ 119 w 119"/>
                  <a:gd name="T23" fmla="*/ 42 h 132"/>
                  <a:gd name="T24" fmla="*/ 117 w 119"/>
                  <a:gd name="T25" fmla="*/ 50 h 132"/>
                  <a:gd name="T26" fmla="*/ 67 w 119"/>
                  <a:gd name="T27" fmla="*/ 61 h 132"/>
                  <a:gd name="T28" fmla="*/ 83 w 119"/>
                  <a:gd name="T29" fmla="*/ 86 h 132"/>
                  <a:gd name="T30" fmla="*/ 75 w 119"/>
                  <a:gd name="T31" fmla="*/ 94 h 132"/>
                  <a:gd name="T32" fmla="*/ 71 w 119"/>
                  <a:gd name="T33" fmla="*/ 100 h 132"/>
                  <a:gd name="T34" fmla="*/ 67 w 119"/>
                  <a:gd name="T35" fmla="*/ 103 h 132"/>
                  <a:gd name="T36" fmla="*/ 63 w 119"/>
                  <a:gd name="T37" fmla="*/ 105 h 132"/>
                  <a:gd name="T38" fmla="*/ 61 w 119"/>
                  <a:gd name="T39" fmla="*/ 111 h 132"/>
                  <a:gd name="T40" fmla="*/ 56 w 119"/>
                  <a:gd name="T41" fmla="*/ 115 h 132"/>
                  <a:gd name="T42" fmla="*/ 54 w 119"/>
                  <a:gd name="T43" fmla="*/ 119 h 132"/>
                  <a:gd name="T44" fmla="*/ 52 w 119"/>
                  <a:gd name="T45" fmla="*/ 121 h 132"/>
                  <a:gd name="T46" fmla="*/ 27 w 119"/>
                  <a:gd name="T47" fmla="*/ 132 h 132"/>
                  <a:gd name="T48" fmla="*/ 0 w 119"/>
                  <a:gd name="T49" fmla="*/ 126 h 132"/>
                  <a:gd name="T50" fmla="*/ 0 w 119"/>
                  <a:gd name="T51" fmla="*/ 121 h 132"/>
                  <a:gd name="T52" fmla="*/ 6 w 119"/>
                  <a:gd name="T53" fmla="*/ 117 h 132"/>
                  <a:gd name="T54" fmla="*/ 12 w 119"/>
                  <a:gd name="T55" fmla="*/ 111 h 132"/>
                  <a:gd name="T56" fmla="*/ 19 w 119"/>
                  <a:gd name="T57" fmla="*/ 100 h 132"/>
                  <a:gd name="T58" fmla="*/ 23 w 119"/>
                  <a:gd name="T59" fmla="*/ 90 h 132"/>
                  <a:gd name="T60" fmla="*/ 23 w 119"/>
                  <a:gd name="T61" fmla="*/ 76 h 132"/>
                  <a:gd name="T62" fmla="*/ 25 w 119"/>
                  <a:gd name="T63" fmla="*/ 65 h 132"/>
                  <a:gd name="T64" fmla="*/ 27 w 119"/>
                  <a:gd name="T65" fmla="*/ 59 h 132"/>
                  <a:gd name="T66" fmla="*/ 27 w 119"/>
                  <a:gd name="T67" fmla="*/ 42 h 13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19"/>
                  <a:gd name="T103" fmla="*/ 0 h 132"/>
                  <a:gd name="T104" fmla="*/ 119 w 119"/>
                  <a:gd name="T105" fmla="*/ 132 h 13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19" h="132">
                    <a:moveTo>
                      <a:pt x="27" y="42"/>
                    </a:moveTo>
                    <a:lnTo>
                      <a:pt x="27" y="40"/>
                    </a:lnTo>
                    <a:lnTo>
                      <a:pt x="31" y="32"/>
                    </a:lnTo>
                    <a:lnTo>
                      <a:pt x="31" y="27"/>
                    </a:lnTo>
                    <a:lnTo>
                      <a:pt x="35" y="25"/>
                    </a:lnTo>
                    <a:lnTo>
                      <a:pt x="40" y="23"/>
                    </a:lnTo>
                    <a:lnTo>
                      <a:pt x="46" y="23"/>
                    </a:lnTo>
                    <a:lnTo>
                      <a:pt x="54" y="27"/>
                    </a:lnTo>
                    <a:lnTo>
                      <a:pt x="61" y="27"/>
                    </a:lnTo>
                    <a:lnTo>
                      <a:pt x="67" y="28"/>
                    </a:lnTo>
                    <a:lnTo>
                      <a:pt x="106" y="0"/>
                    </a:lnTo>
                    <a:lnTo>
                      <a:pt x="119" y="42"/>
                    </a:lnTo>
                    <a:lnTo>
                      <a:pt x="117" y="50"/>
                    </a:lnTo>
                    <a:lnTo>
                      <a:pt x="67" y="61"/>
                    </a:lnTo>
                    <a:lnTo>
                      <a:pt x="83" y="86"/>
                    </a:lnTo>
                    <a:lnTo>
                      <a:pt x="75" y="94"/>
                    </a:lnTo>
                    <a:lnTo>
                      <a:pt x="71" y="100"/>
                    </a:lnTo>
                    <a:lnTo>
                      <a:pt x="67" y="103"/>
                    </a:lnTo>
                    <a:lnTo>
                      <a:pt x="63" y="105"/>
                    </a:lnTo>
                    <a:lnTo>
                      <a:pt x="61" y="111"/>
                    </a:lnTo>
                    <a:lnTo>
                      <a:pt x="56" y="115"/>
                    </a:lnTo>
                    <a:lnTo>
                      <a:pt x="54" y="119"/>
                    </a:lnTo>
                    <a:lnTo>
                      <a:pt x="52" y="121"/>
                    </a:lnTo>
                    <a:lnTo>
                      <a:pt x="27" y="132"/>
                    </a:lnTo>
                    <a:lnTo>
                      <a:pt x="0" y="126"/>
                    </a:lnTo>
                    <a:lnTo>
                      <a:pt x="0" y="121"/>
                    </a:lnTo>
                    <a:lnTo>
                      <a:pt x="6" y="117"/>
                    </a:lnTo>
                    <a:lnTo>
                      <a:pt x="12" y="111"/>
                    </a:lnTo>
                    <a:lnTo>
                      <a:pt x="19" y="100"/>
                    </a:lnTo>
                    <a:lnTo>
                      <a:pt x="23" y="90"/>
                    </a:lnTo>
                    <a:lnTo>
                      <a:pt x="23" y="76"/>
                    </a:lnTo>
                    <a:lnTo>
                      <a:pt x="25" y="65"/>
                    </a:lnTo>
                    <a:lnTo>
                      <a:pt x="27" y="59"/>
                    </a:lnTo>
                    <a:lnTo>
                      <a:pt x="27" y="4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8" name="Freeform 156"/>
              <p:cNvSpPr>
                <a:spLocks/>
              </p:cNvSpPr>
              <p:nvPr/>
            </p:nvSpPr>
            <p:spPr bwMode="gray">
              <a:xfrm>
                <a:off x="4766" y="2040"/>
                <a:ext cx="72" cy="70"/>
              </a:xfrm>
              <a:custGeom>
                <a:avLst/>
                <a:gdLst>
                  <a:gd name="T0" fmla="*/ 42 w 144"/>
                  <a:gd name="T1" fmla="*/ 8 h 141"/>
                  <a:gd name="T2" fmla="*/ 50 w 144"/>
                  <a:gd name="T3" fmla="*/ 23 h 141"/>
                  <a:gd name="T4" fmla="*/ 46 w 144"/>
                  <a:gd name="T5" fmla="*/ 56 h 141"/>
                  <a:gd name="T6" fmla="*/ 38 w 144"/>
                  <a:gd name="T7" fmla="*/ 69 h 141"/>
                  <a:gd name="T8" fmla="*/ 40 w 144"/>
                  <a:gd name="T9" fmla="*/ 77 h 141"/>
                  <a:gd name="T10" fmla="*/ 36 w 144"/>
                  <a:gd name="T11" fmla="*/ 85 h 141"/>
                  <a:gd name="T12" fmla="*/ 34 w 144"/>
                  <a:gd name="T13" fmla="*/ 92 h 141"/>
                  <a:gd name="T14" fmla="*/ 27 w 144"/>
                  <a:gd name="T15" fmla="*/ 87 h 141"/>
                  <a:gd name="T16" fmla="*/ 11 w 144"/>
                  <a:gd name="T17" fmla="*/ 85 h 141"/>
                  <a:gd name="T18" fmla="*/ 13 w 144"/>
                  <a:gd name="T19" fmla="*/ 91 h 141"/>
                  <a:gd name="T20" fmla="*/ 3 w 144"/>
                  <a:gd name="T21" fmla="*/ 100 h 141"/>
                  <a:gd name="T22" fmla="*/ 2 w 144"/>
                  <a:gd name="T23" fmla="*/ 110 h 141"/>
                  <a:gd name="T24" fmla="*/ 11 w 144"/>
                  <a:gd name="T25" fmla="*/ 123 h 141"/>
                  <a:gd name="T26" fmla="*/ 21 w 144"/>
                  <a:gd name="T27" fmla="*/ 139 h 141"/>
                  <a:gd name="T28" fmla="*/ 34 w 144"/>
                  <a:gd name="T29" fmla="*/ 135 h 141"/>
                  <a:gd name="T30" fmla="*/ 27 w 144"/>
                  <a:gd name="T31" fmla="*/ 125 h 141"/>
                  <a:gd name="T32" fmla="*/ 17 w 144"/>
                  <a:gd name="T33" fmla="*/ 119 h 141"/>
                  <a:gd name="T34" fmla="*/ 19 w 144"/>
                  <a:gd name="T35" fmla="*/ 110 h 141"/>
                  <a:gd name="T36" fmla="*/ 40 w 144"/>
                  <a:gd name="T37" fmla="*/ 106 h 141"/>
                  <a:gd name="T38" fmla="*/ 59 w 144"/>
                  <a:gd name="T39" fmla="*/ 123 h 141"/>
                  <a:gd name="T40" fmla="*/ 78 w 144"/>
                  <a:gd name="T41" fmla="*/ 121 h 141"/>
                  <a:gd name="T42" fmla="*/ 90 w 144"/>
                  <a:gd name="T43" fmla="*/ 114 h 141"/>
                  <a:gd name="T44" fmla="*/ 98 w 144"/>
                  <a:gd name="T45" fmla="*/ 100 h 141"/>
                  <a:gd name="T46" fmla="*/ 126 w 144"/>
                  <a:gd name="T47" fmla="*/ 91 h 141"/>
                  <a:gd name="T48" fmla="*/ 142 w 144"/>
                  <a:gd name="T49" fmla="*/ 83 h 141"/>
                  <a:gd name="T50" fmla="*/ 132 w 144"/>
                  <a:gd name="T51" fmla="*/ 77 h 141"/>
                  <a:gd name="T52" fmla="*/ 138 w 144"/>
                  <a:gd name="T53" fmla="*/ 67 h 141"/>
                  <a:gd name="T54" fmla="*/ 132 w 144"/>
                  <a:gd name="T55" fmla="*/ 62 h 141"/>
                  <a:gd name="T56" fmla="*/ 117 w 144"/>
                  <a:gd name="T57" fmla="*/ 66 h 141"/>
                  <a:gd name="T58" fmla="*/ 113 w 144"/>
                  <a:gd name="T59" fmla="*/ 54 h 141"/>
                  <a:gd name="T60" fmla="*/ 92 w 144"/>
                  <a:gd name="T61" fmla="*/ 52 h 141"/>
                  <a:gd name="T62" fmla="*/ 78 w 144"/>
                  <a:gd name="T63" fmla="*/ 43 h 141"/>
                  <a:gd name="T64" fmla="*/ 65 w 144"/>
                  <a:gd name="T65" fmla="*/ 16 h 141"/>
                  <a:gd name="T66" fmla="*/ 50 w 144"/>
                  <a:gd name="T67" fmla="*/ 0 h 14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44"/>
                  <a:gd name="T103" fmla="*/ 0 h 141"/>
                  <a:gd name="T104" fmla="*/ 144 w 144"/>
                  <a:gd name="T105" fmla="*/ 141 h 141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44" h="141">
                    <a:moveTo>
                      <a:pt x="50" y="0"/>
                    </a:moveTo>
                    <a:lnTo>
                      <a:pt x="42" y="8"/>
                    </a:lnTo>
                    <a:lnTo>
                      <a:pt x="42" y="18"/>
                    </a:lnTo>
                    <a:lnTo>
                      <a:pt x="50" y="23"/>
                    </a:lnTo>
                    <a:lnTo>
                      <a:pt x="50" y="50"/>
                    </a:lnTo>
                    <a:lnTo>
                      <a:pt x="46" y="56"/>
                    </a:lnTo>
                    <a:lnTo>
                      <a:pt x="40" y="64"/>
                    </a:lnTo>
                    <a:lnTo>
                      <a:pt x="38" y="69"/>
                    </a:lnTo>
                    <a:lnTo>
                      <a:pt x="38" y="75"/>
                    </a:lnTo>
                    <a:lnTo>
                      <a:pt x="40" y="77"/>
                    </a:lnTo>
                    <a:lnTo>
                      <a:pt x="42" y="85"/>
                    </a:lnTo>
                    <a:lnTo>
                      <a:pt x="36" y="85"/>
                    </a:lnTo>
                    <a:lnTo>
                      <a:pt x="36" y="89"/>
                    </a:lnTo>
                    <a:lnTo>
                      <a:pt x="34" y="92"/>
                    </a:lnTo>
                    <a:lnTo>
                      <a:pt x="30" y="91"/>
                    </a:lnTo>
                    <a:lnTo>
                      <a:pt x="27" y="87"/>
                    </a:lnTo>
                    <a:lnTo>
                      <a:pt x="27" y="85"/>
                    </a:lnTo>
                    <a:lnTo>
                      <a:pt x="11" y="85"/>
                    </a:lnTo>
                    <a:lnTo>
                      <a:pt x="11" y="89"/>
                    </a:lnTo>
                    <a:lnTo>
                      <a:pt x="13" y="91"/>
                    </a:lnTo>
                    <a:lnTo>
                      <a:pt x="15" y="96"/>
                    </a:lnTo>
                    <a:lnTo>
                      <a:pt x="3" y="100"/>
                    </a:lnTo>
                    <a:lnTo>
                      <a:pt x="0" y="104"/>
                    </a:lnTo>
                    <a:lnTo>
                      <a:pt x="2" y="110"/>
                    </a:lnTo>
                    <a:lnTo>
                      <a:pt x="7" y="117"/>
                    </a:lnTo>
                    <a:lnTo>
                      <a:pt x="11" y="123"/>
                    </a:lnTo>
                    <a:lnTo>
                      <a:pt x="5" y="141"/>
                    </a:lnTo>
                    <a:lnTo>
                      <a:pt x="21" y="139"/>
                    </a:lnTo>
                    <a:lnTo>
                      <a:pt x="28" y="135"/>
                    </a:lnTo>
                    <a:lnTo>
                      <a:pt x="34" y="135"/>
                    </a:lnTo>
                    <a:lnTo>
                      <a:pt x="36" y="129"/>
                    </a:lnTo>
                    <a:lnTo>
                      <a:pt x="27" y="125"/>
                    </a:lnTo>
                    <a:lnTo>
                      <a:pt x="19" y="123"/>
                    </a:lnTo>
                    <a:lnTo>
                      <a:pt x="17" y="119"/>
                    </a:lnTo>
                    <a:lnTo>
                      <a:pt x="19" y="114"/>
                    </a:lnTo>
                    <a:lnTo>
                      <a:pt x="19" y="110"/>
                    </a:lnTo>
                    <a:lnTo>
                      <a:pt x="28" y="108"/>
                    </a:lnTo>
                    <a:lnTo>
                      <a:pt x="40" y="106"/>
                    </a:lnTo>
                    <a:lnTo>
                      <a:pt x="53" y="108"/>
                    </a:lnTo>
                    <a:lnTo>
                      <a:pt x="59" y="123"/>
                    </a:lnTo>
                    <a:lnTo>
                      <a:pt x="69" y="121"/>
                    </a:lnTo>
                    <a:lnTo>
                      <a:pt x="78" y="121"/>
                    </a:lnTo>
                    <a:lnTo>
                      <a:pt x="86" y="123"/>
                    </a:lnTo>
                    <a:lnTo>
                      <a:pt x="90" y="114"/>
                    </a:lnTo>
                    <a:lnTo>
                      <a:pt x="92" y="106"/>
                    </a:lnTo>
                    <a:lnTo>
                      <a:pt x="98" y="100"/>
                    </a:lnTo>
                    <a:lnTo>
                      <a:pt x="111" y="94"/>
                    </a:lnTo>
                    <a:lnTo>
                      <a:pt x="126" y="91"/>
                    </a:lnTo>
                    <a:lnTo>
                      <a:pt x="144" y="89"/>
                    </a:lnTo>
                    <a:lnTo>
                      <a:pt x="142" y="83"/>
                    </a:lnTo>
                    <a:lnTo>
                      <a:pt x="138" y="81"/>
                    </a:lnTo>
                    <a:lnTo>
                      <a:pt x="132" y="77"/>
                    </a:lnTo>
                    <a:lnTo>
                      <a:pt x="136" y="71"/>
                    </a:lnTo>
                    <a:lnTo>
                      <a:pt x="138" y="67"/>
                    </a:lnTo>
                    <a:lnTo>
                      <a:pt x="138" y="62"/>
                    </a:lnTo>
                    <a:lnTo>
                      <a:pt x="132" y="62"/>
                    </a:lnTo>
                    <a:lnTo>
                      <a:pt x="126" y="66"/>
                    </a:lnTo>
                    <a:lnTo>
                      <a:pt x="117" y="66"/>
                    </a:lnTo>
                    <a:lnTo>
                      <a:pt x="115" y="62"/>
                    </a:lnTo>
                    <a:lnTo>
                      <a:pt x="113" y="54"/>
                    </a:lnTo>
                    <a:lnTo>
                      <a:pt x="101" y="52"/>
                    </a:lnTo>
                    <a:lnTo>
                      <a:pt x="92" y="52"/>
                    </a:lnTo>
                    <a:lnTo>
                      <a:pt x="82" y="50"/>
                    </a:lnTo>
                    <a:lnTo>
                      <a:pt x="78" y="43"/>
                    </a:lnTo>
                    <a:lnTo>
                      <a:pt x="71" y="23"/>
                    </a:lnTo>
                    <a:lnTo>
                      <a:pt x="65" y="16"/>
                    </a:lnTo>
                    <a:lnTo>
                      <a:pt x="55" y="8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69" name="Freeform 157"/>
              <p:cNvSpPr>
                <a:spLocks/>
              </p:cNvSpPr>
              <p:nvPr/>
            </p:nvSpPr>
            <p:spPr bwMode="gray">
              <a:xfrm>
                <a:off x="4674" y="2239"/>
                <a:ext cx="29" cy="30"/>
              </a:xfrm>
              <a:custGeom>
                <a:avLst/>
                <a:gdLst>
                  <a:gd name="T0" fmla="*/ 41 w 60"/>
                  <a:gd name="T1" fmla="*/ 0 h 62"/>
                  <a:gd name="T2" fmla="*/ 37 w 60"/>
                  <a:gd name="T3" fmla="*/ 4 h 62"/>
                  <a:gd name="T4" fmla="*/ 33 w 60"/>
                  <a:gd name="T5" fmla="*/ 10 h 62"/>
                  <a:gd name="T6" fmla="*/ 29 w 60"/>
                  <a:gd name="T7" fmla="*/ 13 h 62"/>
                  <a:gd name="T8" fmla="*/ 25 w 60"/>
                  <a:gd name="T9" fmla="*/ 12 h 62"/>
                  <a:gd name="T10" fmla="*/ 22 w 60"/>
                  <a:gd name="T11" fmla="*/ 8 h 62"/>
                  <a:gd name="T12" fmla="*/ 20 w 60"/>
                  <a:gd name="T13" fmla="*/ 10 h 62"/>
                  <a:gd name="T14" fmla="*/ 12 w 60"/>
                  <a:gd name="T15" fmla="*/ 13 h 62"/>
                  <a:gd name="T16" fmla="*/ 10 w 60"/>
                  <a:gd name="T17" fmla="*/ 17 h 62"/>
                  <a:gd name="T18" fmla="*/ 8 w 60"/>
                  <a:gd name="T19" fmla="*/ 23 h 62"/>
                  <a:gd name="T20" fmla="*/ 8 w 60"/>
                  <a:gd name="T21" fmla="*/ 27 h 62"/>
                  <a:gd name="T22" fmla="*/ 2 w 60"/>
                  <a:gd name="T23" fmla="*/ 31 h 62"/>
                  <a:gd name="T24" fmla="*/ 0 w 60"/>
                  <a:gd name="T25" fmla="*/ 33 h 62"/>
                  <a:gd name="T26" fmla="*/ 6 w 60"/>
                  <a:gd name="T27" fmla="*/ 42 h 62"/>
                  <a:gd name="T28" fmla="*/ 16 w 60"/>
                  <a:gd name="T29" fmla="*/ 52 h 62"/>
                  <a:gd name="T30" fmla="*/ 22 w 60"/>
                  <a:gd name="T31" fmla="*/ 62 h 62"/>
                  <a:gd name="T32" fmla="*/ 23 w 60"/>
                  <a:gd name="T33" fmla="*/ 54 h 62"/>
                  <a:gd name="T34" fmla="*/ 25 w 60"/>
                  <a:gd name="T35" fmla="*/ 48 h 62"/>
                  <a:gd name="T36" fmla="*/ 25 w 60"/>
                  <a:gd name="T37" fmla="*/ 40 h 62"/>
                  <a:gd name="T38" fmla="*/ 31 w 60"/>
                  <a:gd name="T39" fmla="*/ 37 h 62"/>
                  <a:gd name="T40" fmla="*/ 35 w 60"/>
                  <a:gd name="T41" fmla="*/ 33 h 62"/>
                  <a:gd name="T42" fmla="*/ 41 w 60"/>
                  <a:gd name="T43" fmla="*/ 33 h 62"/>
                  <a:gd name="T44" fmla="*/ 45 w 60"/>
                  <a:gd name="T45" fmla="*/ 40 h 62"/>
                  <a:gd name="T46" fmla="*/ 50 w 60"/>
                  <a:gd name="T47" fmla="*/ 33 h 62"/>
                  <a:gd name="T48" fmla="*/ 60 w 60"/>
                  <a:gd name="T49" fmla="*/ 15 h 62"/>
                  <a:gd name="T50" fmla="*/ 56 w 60"/>
                  <a:gd name="T51" fmla="*/ 12 h 62"/>
                  <a:gd name="T52" fmla="*/ 46 w 60"/>
                  <a:gd name="T53" fmla="*/ 6 h 62"/>
                  <a:gd name="T54" fmla="*/ 41 w 60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60"/>
                  <a:gd name="T85" fmla="*/ 0 h 62"/>
                  <a:gd name="T86" fmla="*/ 60 w 60"/>
                  <a:gd name="T87" fmla="*/ 62 h 62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60" h="62">
                    <a:moveTo>
                      <a:pt x="41" y="0"/>
                    </a:moveTo>
                    <a:lnTo>
                      <a:pt x="37" y="4"/>
                    </a:lnTo>
                    <a:lnTo>
                      <a:pt x="33" y="10"/>
                    </a:lnTo>
                    <a:lnTo>
                      <a:pt x="29" y="13"/>
                    </a:lnTo>
                    <a:lnTo>
                      <a:pt x="25" y="12"/>
                    </a:lnTo>
                    <a:lnTo>
                      <a:pt x="22" y="8"/>
                    </a:lnTo>
                    <a:lnTo>
                      <a:pt x="20" y="10"/>
                    </a:lnTo>
                    <a:lnTo>
                      <a:pt x="12" y="13"/>
                    </a:lnTo>
                    <a:lnTo>
                      <a:pt x="10" y="17"/>
                    </a:lnTo>
                    <a:lnTo>
                      <a:pt x="8" y="23"/>
                    </a:lnTo>
                    <a:lnTo>
                      <a:pt x="8" y="27"/>
                    </a:lnTo>
                    <a:lnTo>
                      <a:pt x="2" y="31"/>
                    </a:lnTo>
                    <a:lnTo>
                      <a:pt x="0" y="33"/>
                    </a:lnTo>
                    <a:lnTo>
                      <a:pt x="6" y="42"/>
                    </a:lnTo>
                    <a:lnTo>
                      <a:pt x="16" y="52"/>
                    </a:lnTo>
                    <a:lnTo>
                      <a:pt x="22" y="62"/>
                    </a:lnTo>
                    <a:lnTo>
                      <a:pt x="23" y="54"/>
                    </a:lnTo>
                    <a:lnTo>
                      <a:pt x="25" y="48"/>
                    </a:lnTo>
                    <a:lnTo>
                      <a:pt x="25" y="40"/>
                    </a:lnTo>
                    <a:lnTo>
                      <a:pt x="31" y="37"/>
                    </a:lnTo>
                    <a:lnTo>
                      <a:pt x="35" y="33"/>
                    </a:lnTo>
                    <a:lnTo>
                      <a:pt x="41" y="33"/>
                    </a:lnTo>
                    <a:lnTo>
                      <a:pt x="45" y="40"/>
                    </a:lnTo>
                    <a:lnTo>
                      <a:pt x="50" y="33"/>
                    </a:lnTo>
                    <a:lnTo>
                      <a:pt x="60" y="15"/>
                    </a:lnTo>
                    <a:lnTo>
                      <a:pt x="56" y="12"/>
                    </a:lnTo>
                    <a:lnTo>
                      <a:pt x="46" y="6"/>
                    </a:lnTo>
                    <a:lnTo>
                      <a:pt x="41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0" name="Freeform 158"/>
              <p:cNvSpPr>
                <a:spLocks/>
              </p:cNvSpPr>
              <p:nvPr/>
            </p:nvSpPr>
            <p:spPr bwMode="gray">
              <a:xfrm>
                <a:off x="2050" y="2490"/>
                <a:ext cx="29" cy="14"/>
              </a:xfrm>
              <a:custGeom>
                <a:avLst/>
                <a:gdLst>
                  <a:gd name="T0" fmla="*/ 8 w 58"/>
                  <a:gd name="T1" fmla="*/ 0 h 26"/>
                  <a:gd name="T2" fmla="*/ 6 w 58"/>
                  <a:gd name="T3" fmla="*/ 3 h 26"/>
                  <a:gd name="T4" fmla="*/ 2 w 58"/>
                  <a:gd name="T5" fmla="*/ 7 h 26"/>
                  <a:gd name="T6" fmla="*/ 0 w 58"/>
                  <a:gd name="T7" fmla="*/ 11 h 26"/>
                  <a:gd name="T8" fmla="*/ 10 w 58"/>
                  <a:gd name="T9" fmla="*/ 15 h 26"/>
                  <a:gd name="T10" fmla="*/ 17 w 58"/>
                  <a:gd name="T11" fmla="*/ 19 h 26"/>
                  <a:gd name="T12" fmla="*/ 27 w 58"/>
                  <a:gd name="T13" fmla="*/ 23 h 26"/>
                  <a:gd name="T14" fmla="*/ 27 w 58"/>
                  <a:gd name="T15" fmla="*/ 26 h 26"/>
                  <a:gd name="T16" fmla="*/ 46 w 58"/>
                  <a:gd name="T17" fmla="*/ 24 h 26"/>
                  <a:gd name="T18" fmla="*/ 58 w 58"/>
                  <a:gd name="T19" fmla="*/ 15 h 26"/>
                  <a:gd name="T20" fmla="*/ 46 w 58"/>
                  <a:gd name="T21" fmla="*/ 11 h 26"/>
                  <a:gd name="T22" fmla="*/ 46 w 58"/>
                  <a:gd name="T23" fmla="*/ 3 h 26"/>
                  <a:gd name="T24" fmla="*/ 34 w 58"/>
                  <a:gd name="T25" fmla="*/ 0 h 26"/>
                  <a:gd name="T26" fmla="*/ 8 w 58"/>
                  <a:gd name="T27" fmla="*/ 0 h 2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8"/>
                  <a:gd name="T43" fmla="*/ 0 h 26"/>
                  <a:gd name="T44" fmla="*/ 58 w 58"/>
                  <a:gd name="T45" fmla="*/ 26 h 2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8" h="26">
                    <a:moveTo>
                      <a:pt x="8" y="0"/>
                    </a:moveTo>
                    <a:lnTo>
                      <a:pt x="6" y="3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10" y="15"/>
                    </a:lnTo>
                    <a:lnTo>
                      <a:pt x="17" y="19"/>
                    </a:lnTo>
                    <a:lnTo>
                      <a:pt x="27" y="23"/>
                    </a:lnTo>
                    <a:lnTo>
                      <a:pt x="27" y="26"/>
                    </a:lnTo>
                    <a:lnTo>
                      <a:pt x="46" y="24"/>
                    </a:lnTo>
                    <a:lnTo>
                      <a:pt x="58" y="15"/>
                    </a:lnTo>
                    <a:lnTo>
                      <a:pt x="46" y="11"/>
                    </a:lnTo>
                    <a:lnTo>
                      <a:pt x="46" y="3"/>
                    </a:lnTo>
                    <a:lnTo>
                      <a:pt x="34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1" name="Freeform 159"/>
              <p:cNvSpPr>
                <a:spLocks/>
              </p:cNvSpPr>
              <p:nvPr/>
            </p:nvSpPr>
            <p:spPr bwMode="gray">
              <a:xfrm>
                <a:off x="2919" y="2613"/>
                <a:ext cx="81" cy="104"/>
              </a:xfrm>
              <a:custGeom>
                <a:avLst/>
                <a:gdLst>
                  <a:gd name="T0" fmla="*/ 34 w 161"/>
                  <a:gd name="T1" fmla="*/ 206 h 208"/>
                  <a:gd name="T2" fmla="*/ 59 w 161"/>
                  <a:gd name="T3" fmla="*/ 187 h 208"/>
                  <a:gd name="T4" fmla="*/ 92 w 161"/>
                  <a:gd name="T5" fmla="*/ 179 h 208"/>
                  <a:gd name="T6" fmla="*/ 130 w 161"/>
                  <a:gd name="T7" fmla="*/ 193 h 208"/>
                  <a:gd name="T8" fmla="*/ 132 w 161"/>
                  <a:gd name="T9" fmla="*/ 179 h 208"/>
                  <a:gd name="T10" fmla="*/ 134 w 161"/>
                  <a:gd name="T11" fmla="*/ 160 h 208"/>
                  <a:gd name="T12" fmla="*/ 136 w 161"/>
                  <a:gd name="T13" fmla="*/ 123 h 208"/>
                  <a:gd name="T14" fmla="*/ 142 w 161"/>
                  <a:gd name="T15" fmla="*/ 114 h 208"/>
                  <a:gd name="T16" fmla="*/ 148 w 161"/>
                  <a:gd name="T17" fmla="*/ 97 h 208"/>
                  <a:gd name="T18" fmla="*/ 153 w 161"/>
                  <a:gd name="T19" fmla="*/ 77 h 208"/>
                  <a:gd name="T20" fmla="*/ 159 w 161"/>
                  <a:gd name="T21" fmla="*/ 70 h 208"/>
                  <a:gd name="T22" fmla="*/ 161 w 161"/>
                  <a:gd name="T23" fmla="*/ 49 h 208"/>
                  <a:gd name="T24" fmla="*/ 155 w 161"/>
                  <a:gd name="T25" fmla="*/ 37 h 208"/>
                  <a:gd name="T26" fmla="*/ 153 w 161"/>
                  <a:gd name="T27" fmla="*/ 20 h 208"/>
                  <a:gd name="T28" fmla="*/ 150 w 161"/>
                  <a:gd name="T29" fmla="*/ 18 h 208"/>
                  <a:gd name="T30" fmla="*/ 132 w 161"/>
                  <a:gd name="T31" fmla="*/ 14 h 208"/>
                  <a:gd name="T32" fmla="*/ 132 w 161"/>
                  <a:gd name="T33" fmla="*/ 6 h 208"/>
                  <a:gd name="T34" fmla="*/ 113 w 161"/>
                  <a:gd name="T35" fmla="*/ 10 h 208"/>
                  <a:gd name="T36" fmla="*/ 100 w 161"/>
                  <a:gd name="T37" fmla="*/ 0 h 208"/>
                  <a:gd name="T38" fmla="*/ 75 w 161"/>
                  <a:gd name="T39" fmla="*/ 8 h 208"/>
                  <a:gd name="T40" fmla="*/ 73 w 161"/>
                  <a:gd name="T41" fmla="*/ 14 h 208"/>
                  <a:gd name="T42" fmla="*/ 63 w 161"/>
                  <a:gd name="T43" fmla="*/ 18 h 208"/>
                  <a:gd name="T44" fmla="*/ 57 w 161"/>
                  <a:gd name="T45" fmla="*/ 10 h 208"/>
                  <a:gd name="T46" fmla="*/ 48 w 161"/>
                  <a:gd name="T47" fmla="*/ 29 h 208"/>
                  <a:gd name="T48" fmla="*/ 46 w 161"/>
                  <a:gd name="T49" fmla="*/ 25 h 208"/>
                  <a:gd name="T50" fmla="*/ 34 w 161"/>
                  <a:gd name="T51" fmla="*/ 29 h 208"/>
                  <a:gd name="T52" fmla="*/ 31 w 161"/>
                  <a:gd name="T53" fmla="*/ 35 h 208"/>
                  <a:gd name="T54" fmla="*/ 25 w 161"/>
                  <a:gd name="T55" fmla="*/ 43 h 208"/>
                  <a:gd name="T56" fmla="*/ 29 w 161"/>
                  <a:gd name="T57" fmla="*/ 54 h 208"/>
                  <a:gd name="T58" fmla="*/ 31 w 161"/>
                  <a:gd name="T59" fmla="*/ 64 h 208"/>
                  <a:gd name="T60" fmla="*/ 17 w 161"/>
                  <a:gd name="T61" fmla="*/ 72 h 208"/>
                  <a:gd name="T62" fmla="*/ 15 w 161"/>
                  <a:gd name="T63" fmla="*/ 77 h 208"/>
                  <a:gd name="T64" fmla="*/ 17 w 161"/>
                  <a:gd name="T65" fmla="*/ 83 h 208"/>
                  <a:gd name="T66" fmla="*/ 11 w 161"/>
                  <a:gd name="T67" fmla="*/ 93 h 208"/>
                  <a:gd name="T68" fmla="*/ 11 w 161"/>
                  <a:gd name="T69" fmla="*/ 108 h 208"/>
                  <a:gd name="T70" fmla="*/ 0 w 161"/>
                  <a:gd name="T71" fmla="*/ 125 h 208"/>
                  <a:gd name="T72" fmla="*/ 9 w 161"/>
                  <a:gd name="T73" fmla="*/ 129 h 208"/>
                  <a:gd name="T74" fmla="*/ 19 w 161"/>
                  <a:gd name="T75" fmla="*/ 135 h 208"/>
                  <a:gd name="T76" fmla="*/ 25 w 161"/>
                  <a:gd name="T77" fmla="*/ 147 h 208"/>
                  <a:gd name="T78" fmla="*/ 31 w 161"/>
                  <a:gd name="T79" fmla="*/ 158 h 208"/>
                  <a:gd name="T80" fmla="*/ 36 w 161"/>
                  <a:gd name="T81" fmla="*/ 162 h 208"/>
                  <a:gd name="T82" fmla="*/ 34 w 161"/>
                  <a:gd name="T83" fmla="*/ 168 h 208"/>
                  <a:gd name="T84" fmla="*/ 32 w 161"/>
                  <a:gd name="T85" fmla="*/ 179 h 208"/>
                  <a:gd name="T86" fmla="*/ 27 w 161"/>
                  <a:gd name="T87" fmla="*/ 187 h 208"/>
                  <a:gd name="T88" fmla="*/ 29 w 161"/>
                  <a:gd name="T89" fmla="*/ 195 h 208"/>
                  <a:gd name="T90" fmla="*/ 31 w 161"/>
                  <a:gd name="T91" fmla="*/ 206 h 20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61"/>
                  <a:gd name="T139" fmla="*/ 0 h 208"/>
                  <a:gd name="T140" fmla="*/ 161 w 161"/>
                  <a:gd name="T141" fmla="*/ 208 h 20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61" h="208">
                    <a:moveTo>
                      <a:pt x="32" y="208"/>
                    </a:moveTo>
                    <a:lnTo>
                      <a:pt x="34" y="206"/>
                    </a:lnTo>
                    <a:lnTo>
                      <a:pt x="46" y="200"/>
                    </a:lnTo>
                    <a:lnTo>
                      <a:pt x="59" y="187"/>
                    </a:lnTo>
                    <a:lnTo>
                      <a:pt x="69" y="179"/>
                    </a:lnTo>
                    <a:lnTo>
                      <a:pt x="92" y="179"/>
                    </a:lnTo>
                    <a:lnTo>
                      <a:pt x="127" y="191"/>
                    </a:lnTo>
                    <a:lnTo>
                      <a:pt x="130" y="193"/>
                    </a:lnTo>
                    <a:lnTo>
                      <a:pt x="130" y="187"/>
                    </a:lnTo>
                    <a:lnTo>
                      <a:pt x="132" y="179"/>
                    </a:lnTo>
                    <a:lnTo>
                      <a:pt x="134" y="173"/>
                    </a:lnTo>
                    <a:lnTo>
                      <a:pt x="134" y="160"/>
                    </a:lnTo>
                    <a:lnTo>
                      <a:pt x="132" y="141"/>
                    </a:lnTo>
                    <a:lnTo>
                      <a:pt x="136" y="123"/>
                    </a:lnTo>
                    <a:lnTo>
                      <a:pt x="138" y="120"/>
                    </a:lnTo>
                    <a:lnTo>
                      <a:pt x="142" y="114"/>
                    </a:lnTo>
                    <a:lnTo>
                      <a:pt x="144" y="104"/>
                    </a:lnTo>
                    <a:lnTo>
                      <a:pt x="148" y="97"/>
                    </a:lnTo>
                    <a:lnTo>
                      <a:pt x="151" y="85"/>
                    </a:lnTo>
                    <a:lnTo>
                      <a:pt x="153" y="77"/>
                    </a:lnTo>
                    <a:lnTo>
                      <a:pt x="157" y="72"/>
                    </a:lnTo>
                    <a:lnTo>
                      <a:pt x="159" y="70"/>
                    </a:lnTo>
                    <a:lnTo>
                      <a:pt x="159" y="58"/>
                    </a:lnTo>
                    <a:lnTo>
                      <a:pt x="161" y="49"/>
                    </a:lnTo>
                    <a:lnTo>
                      <a:pt x="159" y="43"/>
                    </a:lnTo>
                    <a:lnTo>
                      <a:pt x="155" y="37"/>
                    </a:lnTo>
                    <a:lnTo>
                      <a:pt x="155" y="27"/>
                    </a:lnTo>
                    <a:lnTo>
                      <a:pt x="153" y="20"/>
                    </a:lnTo>
                    <a:lnTo>
                      <a:pt x="153" y="16"/>
                    </a:lnTo>
                    <a:lnTo>
                      <a:pt x="150" y="18"/>
                    </a:lnTo>
                    <a:lnTo>
                      <a:pt x="136" y="18"/>
                    </a:lnTo>
                    <a:lnTo>
                      <a:pt x="132" y="14"/>
                    </a:lnTo>
                    <a:lnTo>
                      <a:pt x="130" y="8"/>
                    </a:lnTo>
                    <a:lnTo>
                      <a:pt x="132" y="6"/>
                    </a:lnTo>
                    <a:lnTo>
                      <a:pt x="121" y="4"/>
                    </a:lnTo>
                    <a:lnTo>
                      <a:pt x="113" y="10"/>
                    </a:lnTo>
                    <a:lnTo>
                      <a:pt x="103" y="10"/>
                    </a:lnTo>
                    <a:lnTo>
                      <a:pt x="100" y="0"/>
                    </a:lnTo>
                    <a:lnTo>
                      <a:pt x="80" y="0"/>
                    </a:lnTo>
                    <a:lnTo>
                      <a:pt x="75" y="8"/>
                    </a:lnTo>
                    <a:lnTo>
                      <a:pt x="75" y="10"/>
                    </a:lnTo>
                    <a:lnTo>
                      <a:pt x="73" y="14"/>
                    </a:lnTo>
                    <a:lnTo>
                      <a:pt x="69" y="20"/>
                    </a:lnTo>
                    <a:lnTo>
                      <a:pt x="63" y="18"/>
                    </a:lnTo>
                    <a:lnTo>
                      <a:pt x="59" y="14"/>
                    </a:lnTo>
                    <a:lnTo>
                      <a:pt x="57" y="10"/>
                    </a:lnTo>
                    <a:lnTo>
                      <a:pt x="52" y="14"/>
                    </a:lnTo>
                    <a:lnTo>
                      <a:pt x="48" y="29"/>
                    </a:lnTo>
                    <a:lnTo>
                      <a:pt x="48" y="27"/>
                    </a:lnTo>
                    <a:lnTo>
                      <a:pt x="46" y="25"/>
                    </a:lnTo>
                    <a:lnTo>
                      <a:pt x="42" y="25"/>
                    </a:lnTo>
                    <a:lnTo>
                      <a:pt x="34" y="29"/>
                    </a:lnTo>
                    <a:lnTo>
                      <a:pt x="32" y="35"/>
                    </a:lnTo>
                    <a:lnTo>
                      <a:pt x="31" y="35"/>
                    </a:lnTo>
                    <a:lnTo>
                      <a:pt x="29" y="37"/>
                    </a:lnTo>
                    <a:lnTo>
                      <a:pt x="25" y="43"/>
                    </a:lnTo>
                    <a:lnTo>
                      <a:pt x="25" y="49"/>
                    </a:lnTo>
                    <a:lnTo>
                      <a:pt x="29" y="54"/>
                    </a:lnTo>
                    <a:lnTo>
                      <a:pt x="31" y="58"/>
                    </a:lnTo>
                    <a:lnTo>
                      <a:pt x="31" y="64"/>
                    </a:lnTo>
                    <a:lnTo>
                      <a:pt x="25" y="70"/>
                    </a:lnTo>
                    <a:lnTo>
                      <a:pt x="17" y="72"/>
                    </a:lnTo>
                    <a:lnTo>
                      <a:pt x="13" y="75"/>
                    </a:lnTo>
                    <a:lnTo>
                      <a:pt x="15" y="77"/>
                    </a:lnTo>
                    <a:lnTo>
                      <a:pt x="17" y="81"/>
                    </a:lnTo>
                    <a:lnTo>
                      <a:pt x="17" y="83"/>
                    </a:lnTo>
                    <a:lnTo>
                      <a:pt x="9" y="89"/>
                    </a:lnTo>
                    <a:lnTo>
                      <a:pt x="11" y="93"/>
                    </a:lnTo>
                    <a:lnTo>
                      <a:pt x="13" y="100"/>
                    </a:lnTo>
                    <a:lnTo>
                      <a:pt x="11" y="108"/>
                    </a:lnTo>
                    <a:lnTo>
                      <a:pt x="6" y="114"/>
                    </a:lnTo>
                    <a:lnTo>
                      <a:pt x="0" y="125"/>
                    </a:lnTo>
                    <a:lnTo>
                      <a:pt x="2" y="127"/>
                    </a:lnTo>
                    <a:lnTo>
                      <a:pt x="9" y="129"/>
                    </a:lnTo>
                    <a:lnTo>
                      <a:pt x="15" y="131"/>
                    </a:lnTo>
                    <a:lnTo>
                      <a:pt x="19" y="135"/>
                    </a:lnTo>
                    <a:lnTo>
                      <a:pt x="21" y="141"/>
                    </a:lnTo>
                    <a:lnTo>
                      <a:pt x="25" y="147"/>
                    </a:lnTo>
                    <a:lnTo>
                      <a:pt x="27" y="152"/>
                    </a:lnTo>
                    <a:lnTo>
                      <a:pt x="31" y="158"/>
                    </a:lnTo>
                    <a:lnTo>
                      <a:pt x="34" y="160"/>
                    </a:lnTo>
                    <a:lnTo>
                      <a:pt x="36" y="162"/>
                    </a:lnTo>
                    <a:lnTo>
                      <a:pt x="36" y="164"/>
                    </a:lnTo>
                    <a:lnTo>
                      <a:pt x="34" y="168"/>
                    </a:lnTo>
                    <a:lnTo>
                      <a:pt x="34" y="173"/>
                    </a:lnTo>
                    <a:lnTo>
                      <a:pt x="32" y="179"/>
                    </a:lnTo>
                    <a:lnTo>
                      <a:pt x="29" y="183"/>
                    </a:lnTo>
                    <a:lnTo>
                      <a:pt x="27" y="187"/>
                    </a:lnTo>
                    <a:lnTo>
                      <a:pt x="29" y="191"/>
                    </a:lnTo>
                    <a:lnTo>
                      <a:pt x="29" y="195"/>
                    </a:lnTo>
                    <a:lnTo>
                      <a:pt x="31" y="200"/>
                    </a:lnTo>
                    <a:lnTo>
                      <a:pt x="31" y="206"/>
                    </a:lnTo>
                    <a:lnTo>
                      <a:pt x="32" y="20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2" name="Freeform 160"/>
              <p:cNvSpPr>
                <a:spLocks/>
              </p:cNvSpPr>
              <p:nvPr/>
            </p:nvSpPr>
            <p:spPr bwMode="gray">
              <a:xfrm>
                <a:off x="3134" y="2120"/>
                <a:ext cx="22" cy="39"/>
              </a:xfrm>
              <a:custGeom>
                <a:avLst/>
                <a:gdLst>
                  <a:gd name="T0" fmla="*/ 19 w 42"/>
                  <a:gd name="T1" fmla="*/ 0 h 77"/>
                  <a:gd name="T2" fmla="*/ 13 w 42"/>
                  <a:gd name="T3" fmla="*/ 3 h 77"/>
                  <a:gd name="T4" fmla="*/ 6 w 42"/>
                  <a:gd name="T5" fmla="*/ 7 h 77"/>
                  <a:gd name="T6" fmla="*/ 0 w 42"/>
                  <a:gd name="T7" fmla="*/ 11 h 77"/>
                  <a:gd name="T8" fmla="*/ 4 w 42"/>
                  <a:gd name="T9" fmla="*/ 50 h 77"/>
                  <a:gd name="T10" fmla="*/ 7 w 42"/>
                  <a:gd name="T11" fmla="*/ 67 h 77"/>
                  <a:gd name="T12" fmla="*/ 9 w 42"/>
                  <a:gd name="T13" fmla="*/ 71 h 77"/>
                  <a:gd name="T14" fmla="*/ 15 w 42"/>
                  <a:gd name="T15" fmla="*/ 77 h 77"/>
                  <a:gd name="T16" fmla="*/ 17 w 42"/>
                  <a:gd name="T17" fmla="*/ 77 h 77"/>
                  <a:gd name="T18" fmla="*/ 23 w 42"/>
                  <a:gd name="T19" fmla="*/ 75 h 77"/>
                  <a:gd name="T20" fmla="*/ 23 w 42"/>
                  <a:gd name="T21" fmla="*/ 71 h 77"/>
                  <a:gd name="T22" fmla="*/ 34 w 42"/>
                  <a:gd name="T23" fmla="*/ 67 h 77"/>
                  <a:gd name="T24" fmla="*/ 34 w 42"/>
                  <a:gd name="T25" fmla="*/ 57 h 77"/>
                  <a:gd name="T26" fmla="*/ 38 w 42"/>
                  <a:gd name="T27" fmla="*/ 38 h 77"/>
                  <a:gd name="T28" fmla="*/ 38 w 42"/>
                  <a:gd name="T29" fmla="*/ 34 h 77"/>
                  <a:gd name="T30" fmla="*/ 40 w 42"/>
                  <a:gd name="T31" fmla="*/ 25 h 77"/>
                  <a:gd name="T32" fmla="*/ 42 w 42"/>
                  <a:gd name="T33" fmla="*/ 19 h 77"/>
                  <a:gd name="T34" fmla="*/ 38 w 42"/>
                  <a:gd name="T35" fmla="*/ 13 h 77"/>
                  <a:gd name="T36" fmla="*/ 34 w 42"/>
                  <a:gd name="T37" fmla="*/ 5 h 77"/>
                  <a:gd name="T38" fmla="*/ 30 w 42"/>
                  <a:gd name="T39" fmla="*/ 0 h 77"/>
                  <a:gd name="T40" fmla="*/ 19 w 42"/>
                  <a:gd name="T41" fmla="*/ 0 h 7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2"/>
                  <a:gd name="T64" fmla="*/ 0 h 77"/>
                  <a:gd name="T65" fmla="*/ 42 w 42"/>
                  <a:gd name="T66" fmla="*/ 77 h 7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2" h="77">
                    <a:moveTo>
                      <a:pt x="19" y="0"/>
                    </a:moveTo>
                    <a:lnTo>
                      <a:pt x="13" y="3"/>
                    </a:lnTo>
                    <a:lnTo>
                      <a:pt x="6" y="7"/>
                    </a:lnTo>
                    <a:lnTo>
                      <a:pt x="0" y="11"/>
                    </a:lnTo>
                    <a:lnTo>
                      <a:pt x="4" y="50"/>
                    </a:lnTo>
                    <a:lnTo>
                      <a:pt x="7" y="67"/>
                    </a:lnTo>
                    <a:lnTo>
                      <a:pt x="9" y="71"/>
                    </a:lnTo>
                    <a:lnTo>
                      <a:pt x="15" y="77"/>
                    </a:lnTo>
                    <a:lnTo>
                      <a:pt x="17" y="77"/>
                    </a:lnTo>
                    <a:lnTo>
                      <a:pt x="23" y="75"/>
                    </a:lnTo>
                    <a:lnTo>
                      <a:pt x="23" y="71"/>
                    </a:lnTo>
                    <a:lnTo>
                      <a:pt x="34" y="67"/>
                    </a:lnTo>
                    <a:lnTo>
                      <a:pt x="34" y="57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40" y="25"/>
                    </a:lnTo>
                    <a:lnTo>
                      <a:pt x="42" y="19"/>
                    </a:lnTo>
                    <a:lnTo>
                      <a:pt x="38" y="13"/>
                    </a:lnTo>
                    <a:lnTo>
                      <a:pt x="34" y="5"/>
                    </a:lnTo>
                    <a:lnTo>
                      <a:pt x="30" y="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3" name="Freeform 161"/>
              <p:cNvSpPr>
                <a:spLocks/>
              </p:cNvSpPr>
              <p:nvPr/>
            </p:nvSpPr>
            <p:spPr bwMode="gray">
              <a:xfrm>
                <a:off x="3114" y="2015"/>
                <a:ext cx="142" cy="182"/>
              </a:xfrm>
              <a:custGeom>
                <a:avLst/>
                <a:gdLst>
                  <a:gd name="T0" fmla="*/ 33 w 285"/>
                  <a:gd name="T1" fmla="*/ 119 h 365"/>
                  <a:gd name="T2" fmla="*/ 45 w 285"/>
                  <a:gd name="T3" fmla="*/ 100 h 365"/>
                  <a:gd name="T4" fmla="*/ 87 w 285"/>
                  <a:gd name="T5" fmla="*/ 121 h 365"/>
                  <a:gd name="T6" fmla="*/ 129 w 285"/>
                  <a:gd name="T7" fmla="*/ 185 h 365"/>
                  <a:gd name="T8" fmla="*/ 169 w 285"/>
                  <a:gd name="T9" fmla="*/ 219 h 365"/>
                  <a:gd name="T10" fmla="*/ 190 w 285"/>
                  <a:gd name="T11" fmla="*/ 235 h 365"/>
                  <a:gd name="T12" fmla="*/ 202 w 285"/>
                  <a:gd name="T13" fmla="*/ 250 h 365"/>
                  <a:gd name="T14" fmla="*/ 225 w 285"/>
                  <a:gd name="T15" fmla="*/ 262 h 365"/>
                  <a:gd name="T16" fmla="*/ 225 w 285"/>
                  <a:gd name="T17" fmla="*/ 298 h 365"/>
                  <a:gd name="T18" fmla="*/ 221 w 285"/>
                  <a:gd name="T19" fmla="*/ 323 h 365"/>
                  <a:gd name="T20" fmla="*/ 144 w 285"/>
                  <a:gd name="T21" fmla="*/ 323 h 365"/>
                  <a:gd name="T22" fmla="*/ 148 w 285"/>
                  <a:gd name="T23" fmla="*/ 335 h 365"/>
                  <a:gd name="T24" fmla="*/ 206 w 285"/>
                  <a:gd name="T25" fmla="*/ 365 h 365"/>
                  <a:gd name="T26" fmla="*/ 215 w 285"/>
                  <a:gd name="T27" fmla="*/ 325 h 365"/>
                  <a:gd name="T28" fmla="*/ 240 w 285"/>
                  <a:gd name="T29" fmla="*/ 315 h 365"/>
                  <a:gd name="T30" fmla="*/ 252 w 285"/>
                  <a:gd name="T31" fmla="*/ 273 h 365"/>
                  <a:gd name="T32" fmla="*/ 242 w 285"/>
                  <a:gd name="T33" fmla="*/ 260 h 365"/>
                  <a:gd name="T34" fmla="*/ 252 w 285"/>
                  <a:gd name="T35" fmla="*/ 240 h 365"/>
                  <a:gd name="T36" fmla="*/ 279 w 285"/>
                  <a:gd name="T37" fmla="*/ 256 h 365"/>
                  <a:gd name="T38" fmla="*/ 275 w 285"/>
                  <a:gd name="T39" fmla="*/ 231 h 365"/>
                  <a:gd name="T40" fmla="*/ 256 w 285"/>
                  <a:gd name="T41" fmla="*/ 215 h 365"/>
                  <a:gd name="T42" fmla="*/ 244 w 285"/>
                  <a:gd name="T43" fmla="*/ 215 h 365"/>
                  <a:gd name="T44" fmla="*/ 233 w 285"/>
                  <a:gd name="T45" fmla="*/ 204 h 365"/>
                  <a:gd name="T46" fmla="*/ 233 w 285"/>
                  <a:gd name="T47" fmla="*/ 189 h 365"/>
                  <a:gd name="T48" fmla="*/ 183 w 285"/>
                  <a:gd name="T49" fmla="*/ 166 h 365"/>
                  <a:gd name="T50" fmla="*/ 175 w 285"/>
                  <a:gd name="T51" fmla="*/ 139 h 365"/>
                  <a:gd name="T52" fmla="*/ 133 w 285"/>
                  <a:gd name="T53" fmla="*/ 108 h 365"/>
                  <a:gd name="T54" fmla="*/ 141 w 285"/>
                  <a:gd name="T55" fmla="*/ 79 h 365"/>
                  <a:gd name="T56" fmla="*/ 139 w 285"/>
                  <a:gd name="T57" fmla="*/ 69 h 365"/>
                  <a:gd name="T58" fmla="*/ 148 w 285"/>
                  <a:gd name="T59" fmla="*/ 58 h 365"/>
                  <a:gd name="T60" fmla="*/ 169 w 285"/>
                  <a:gd name="T61" fmla="*/ 52 h 365"/>
                  <a:gd name="T62" fmla="*/ 169 w 285"/>
                  <a:gd name="T63" fmla="*/ 31 h 365"/>
                  <a:gd name="T64" fmla="*/ 160 w 285"/>
                  <a:gd name="T65" fmla="*/ 21 h 365"/>
                  <a:gd name="T66" fmla="*/ 148 w 285"/>
                  <a:gd name="T67" fmla="*/ 10 h 365"/>
                  <a:gd name="T68" fmla="*/ 133 w 285"/>
                  <a:gd name="T69" fmla="*/ 10 h 365"/>
                  <a:gd name="T70" fmla="*/ 119 w 285"/>
                  <a:gd name="T71" fmla="*/ 6 h 365"/>
                  <a:gd name="T72" fmla="*/ 108 w 285"/>
                  <a:gd name="T73" fmla="*/ 0 h 365"/>
                  <a:gd name="T74" fmla="*/ 95 w 285"/>
                  <a:gd name="T75" fmla="*/ 2 h 365"/>
                  <a:gd name="T76" fmla="*/ 91 w 285"/>
                  <a:gd name="T77" fmla="*/ 14 h 365"/>
                  <a:gd name="T78" fmla="*/ 91 w 285"/>
                  <a:gd name="T79" fmla="*/ 21 h 365"/>
                  <a:gd name="T80" fmla="*/ 81 w 285"/>
                  <a:gd name="T81" fmla="*/ 18 h 365"/>
                  <a:gd name="T82" fmla="*/ 66 w 285"/>
                  <a:gd name="T83" fmla="*/ 29 h 365"/>
                  <a:gd name="T84" fmla="*/ 66 w 285"/>
                  <a:gd name="T85" fmla="*/ 41 h 365"/>
                  <a:gd name="T86" fmla="*/ 56 w 285"/>
                  <a:gd name="T87" fmla="*/ 43 h 365"/>
                  <a:gd name="T88" fmla="*/ 45 w 285"/>
                  <a:gd name="T89" fmla="*/ 37 h 365"/>
                  <a:gd name="T90" fmla="*/ 37 w 285"/>
                  <a:gd name="T91" fmla="*/ 39 h 365"/>
                  <a:gd name="T92" fmla="*/ 20 w 285"/>
                  <a:gd name="T93" fmla="*/ 50 h 365"/>
                  <a:gd name="T94" fmla="*/ 10 w 285"/>
                  <a:gd name="T95" fmla="*/ 68 h 365"/>
                  <a:gd name="T96" fmla="*/ 0 w 285"/>
                  <a:gd name="T97" fmla="*/ 79 h 365"/>
                  <a:gd name="T98" fmla="*/ 4 w 285"/>
                  <a:gd name="T99" fmla="*/ 96 h 365"/>
                  <a:gd name="T100" fmla="*/ 18 w 285"/>
                  <a:gd name="T101" fmla="*/ 104 h 365"/>
                  <a:gd name="T102" fmla="*/ 10 w 285"/>
                  <a:gd name="T103" fmla="*/ 114 h 365"/>
                  <a:gd name="T104" fmla="*/ 14 w 285"/>
                  <a:gd name="T105" fmla="*/ 119 h 36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85"/>
                  <a:gd name="T160" fmla="*/ 0 h 365"/>
                  <a:gd name="T161" fmla="*/ 285 w 285"/>
                  <a:gd name="T162" fmla="*/ 365 h 365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85" h="365">
                    <a:moveTo>
                      <a:pt x="16" y="121"/>
                    </a:moveTo>
                    <a:lnTo>
                      <a:pt x="27" y="121"/>
                    </a:lnTo>
                    <a:lnTo>
                      <a:pt x="33" y="119"/>
                    </a:lnTo>
                    <a:lnTo>
                      <a:pt x="37" y="114"/>
                    </a:lnTo>
                    <a:lnTo>
                      <a:pt x="39" y="106"/>
                    </a:lnTo>
                    <a:lnTo>
                      <a:pt x="45" y="100"/>
                    </a:lnTo>
                    <a:lnTo>
                      <a:pt x="45" y="96"/>
                    </a:lnTo>
                    <a:lnTo>
                      <a:pt x="60" y="96"/>
                    </a:lnTo>
                    <a:lnTo>
                      <a:pt x="87" y="121"/>
                    </a:lnTo>
                    <a:lnTo>
                      <a:pt x="100" y="154"/>
                    </a:lnTo>
                    <a:lnTo>
                      <a:pt x="121" y="185"/>
                    </a:lnTo>
                    <a:lnTo>
                      <a:pt x="129" y="185"/>
                    </a:lnTo>
                    <a:lnTo>
                      <a:pt x="148" y="206"/>
                    </a:lnTo>
                    <a:lnTo>
                      <a:pt x="160" y="215"/>
                    </a:lnTo>
                    <a:lnTo>
                      <a:pt x="169" y="219"/>
                    </a:lnTo>
                    <a:lnTo>
                      <a:pt x="181" y="221"/>
                    </a:lnTo>
                    <a:lnTo>
                      <a:pt x="190" y="227"/>
                    </a:lnTo>
                    <a:lnTo>
                      <a:pt x="190" y="235"/>
                    </a:lnTo>
                    <a:lnTo>
                      <a:pt x="198" y="235"/>
                    </a:lnTo>
                    <a:lnTo>
                      <a:pt x="202" y="239"/>
                    </a:lnTo>
                    <a:lnTo>
                      <a:pt x="202" y="250"/>
                    </a:lnTo>
                    <a:lnTo>
                      <a:pt x="210" y="254"/>
                    </a:lnTo>
                    <a:lnTo>
                      <a:pt x="217" y="256"/>
                    </a:lnTo>
                    <a:lnTo>
                      <a:pt x="225" y="262"/>
                    </a:lnTo>
                    <a:lnTo>
                      <a:pt x="229" y="275"/>
                    </a:lnTo>
                    <a:lnTo>
                      <a:pt x="229" y="292"/>
                    </a:lnTo>
                    <a:lnTo>
                      <a:pt x="225" y="298"/>
                    </a:lnTo>
                    <a:lnTo>
                      <a:pt x="223" y="308"/>
                    </a:lnTo>
                    <a:lnTo>
                      <a:pt x="221" y="315"/>
                    </a:lnTo>
                    <a:lnTo>
                      <a:pt x="221" y="323"/>
                    </a:lnTo>
                    <a:lnTo>
                      <a:pt x="194" y="325"/>
                    </a:lnTo>
                    <a:lnTo>
                      <a:pt x="166" y="323"/>
                    </a:lnTo>
                    <a:lnTo>
                      <a:pt x="144" y="323"/>
                    </a:lnTo>
                    <a:lnTo>
                      <a:pt x="146" y="325"/>
                    </a:lnTo>
                    <a:lnTo>
                      <a:pt x="146" y="331"/>
                    </a:lnTo>
                    <a:lnTo>
                      <a:pt x="148" y="335"/>
                    </a:lnTo>
                    <a:lnTo>
                      <a:pt x="166" y="344"/>
                    </a:lnTo>
                    <a:lnTo>
                      <a:pt x="185" y="354"/>
                    </a:lnTo>
                    <a:lnTo>
                      <a:pt x="206" y="365"/>
                    </a:lnTo>
                    <a:lnTo>
                      <a:pt x="210" y="335"/>
                    </a:lnTo>
                    <a:lnTo>
                      <a:pt x="210" y="325"/>
                    </a:lnTo>
                    <a:lnTo>
                      <a:pt x="215" y="325"/>
                    </a:lnTo>
                    <a:lnTo>
                      <a:pt x="225" y="327"/>
                    </a:lnTo>
                    <a:lnTo>
                      <a:pt x="233" y="331"/>
                    </a:lnTo>
                    <a:lnTo>
                      <a:pt x="240" y="315"/>
                    </a:lnTo>
                    <a:lnTo>
                      <a:pt x="252" y="294"/>
                    </a:lnTo>
                    <a:lnTo>
                      <a:pt x="256" y="277"/>
                    </a:lnTo>
                    <a:lnTo>
                      <a:pt x="252" y="273"/>
                    </a:lnTo>
                    <a:lnTo>
                      <a:pt x="246" y="269"/>
                    </a:lnTo>
                    <a:lnTo>
                      <a:pt x="244" y="264"/>
                    </a:lnTo>
                    <a:lnTo>
                      <a:pt x="242" y="260"/>
                    </a:lnTo>
                    <a:lnTo>
                      <a:pt x="242" y="256"/>
                    </a:lnTo>
                    <a:lnTo>
                      <a:pt x="244" y="254"/>
                    </a:lnTo>
                    <a:lnTo>
                      <a:pt x="252" y="240"/>
                    </a:lnTo>
                    <a:lnTo>
                      <a:pt x="263" y="242"/>
                    </a:lnTo>
                    <a:lnTo>
                      <a:pt x="279" y="250"/>
                    </a:lnTo>
                    <a:lnTo>
                      <a:pt x="279" y="256"/>
                    </a:lnTo>
                    <a:lnTo>
                      <a:pt x="285" y="252"/>
                    </a:lnTo>
                    <a:lnTo>
                      <a:pt x="279" y="239"/>
                    </a:lnTo>
                    <a:lnTo>
                      <a:pt x="275" y="231"/>
                    </a:lnTo>
                    <a:lnTo>
                      <a:pt x="269" y="225"/>
                    </a:lnTo>
                    <a:lnTo>
                      <a:pt x="262" y="219"/>
                    </a:lnTo>
                    <a:lnTo>
                      <a:pt x="256" y="215"/>
                    </a:lnTo>
                    <a:lnTo>
                      <a:pt x="252" y="214"/>
                    </a:lnTo>
                    <a:lnTo>
                      <a:pt x="248" y="215"/>
                    </a:lnTo>
                    <a:lnTo>
                      <a:pt x="244" y="215"/>
                    </a:lnTo>
                    <a:lnTo>
                      <a:pt x="240" y="210"/>
                    </a:lnTo>
                    <a:lnTo>
                      <a:pt x="237" y="206"/>
                    </a:lnTo>
                    <a:lnTo>
                      <a:pt x="233" y="204"/>
                    </a:lnTo>
                    <a:lnTo>
                      <a:pt x="235" y="198"/>
                    </a:lnTo>
                    <a:lnTo>
                      <a:pt x="233" y="192"/>
                    </a:lnTo>
                    <a:lnTo>
                      <a:pt x="233" y="189"/>
                    </a:lnTo>
                    <a:lnTo>
                      <a:pt x="210" y="185"/>
                    </a:lnTo>
                    <a:lnTo>
                      <a:pt x="194" y="177"/>
                    </a:lnTo>
                    <a:lnTo>
                      <a:pt x="183" y="166"/>
                    </a:lnTo>
                    <a:lnTo>
                      <a:pt x="179" y="156"/>
                    </a:lnTo>
                    <a:lnTo>
                      <a:pt x="177" y="146"/>
                    </a:lnTo>
                    <a:lnTo>
                      <a:pt x="175" y="139"/>
                    </a:lnTo>
                    <a:lnTo>
                      <a:pt x="164" y="127"/>
                    </a:lnTo>
                    <a:lnTo>
                      <a:pt x="148" y="116"/>
                    </a:lnTo>
                    <a:lnTo>
                      <a:pt x="133" y="108"/>
                    </a:lnTo>
                    <a:lnTo>
                      <a:pt x="133" y="93"/>
                    </a:lnTo>
                    <a:lnTo>
                      <a:pt x="135" y="87"/>
                    </a:lnTo>
                    <a:lnTo>
                      <a:pt x="141" y="79"/>
                    </a:lnTo>
                    <a:lnTo>
                      <a:pt x="144" y="73"/>
                    </a:lnTo>
                    <a:lnTo>
                      <a:pt x="143" y="71"/>
                    </a:lnTo>
                    <a:lnTo>
                      <a:pt x="139" y="69"/>
                    </a:lnTo>
                    <a:lnTo>
                      <a:pt x="137" y="69"/>
                    </a:lnTo>
                    <a:lnTo>
                      <a:pt x="137" y="62"/>
                    </a:lnTo>
                    <a:lnTo>
                      <a:pt x="148" y="58"/>
                    </a:lnTo>
                    <a:lnTo>
                      <a:pt x="171" y="54"/>
                    </a:lnTo>
                    <a:lnTo>
                      <a:pt x="169" y="54"/>
                    </a:lnTo>
                    <a:lnTo>
                      <a:pt x="169" y="52"/>
                    </a:lnTo>
                    <a:lnTo>
                      <a:pt x="167" y="48"/>
                    </a:lnTo>
                    <a:lnTo>
                      <a:pt x="169" y="37"/>
                    </a:lnTo>
                    <a:lnTo>
                      <a:pt x="169" y="31"/>
                    </a:lnTo>
                    <a:lnTo>
                      <a:pt x="167" y="27"/>
                    </a:lnTo>
                    <a:lnTo>
                      <a:pt x="162" y="25"/>
                    </a:lnTo>
                    <a:lnTo>
                      <a:pt x="160" y="21"/>
                    </a:lnTo>
                    <a:lnTo>
                      <a:pt x="162" y="14"/>
                    </a:lnTo>
                    <a:lnTo>
                      <a:pt x="166" y="10"/>
                    </a:lnTo>
                    <a:lnTo>
                      <a:pt x="148" y="10"/>
                    </a:lnTo>
                    <a:lnTo>
                      <a:pt x="143" y="12"/>
                    </a:lnTo>
                    <a:lnTo>
                      <a:pt x="137" y="12"/>
                    </a:lnTo>
                    <a:lnTo>
                      <a:pt x="133" y="10"/>
                    </a:lnTo>
                    <a:lnTo>
                      <a:pt x="133" y="8"/>
                    </a:lnTo>
                    <a:lnTo>
                      <a:pt x="127" y="6"/>
                    </a:lnTo>
                    <a:lnTo>
                      <a:pt x="119" y="6"/>
                    </a:lnTo>
                    <a:lnTo>
                      <a:pt x="116" y="4"/>
                    </a:lnTo>
                    <a:lnTo>
                      <a:pt x="110" y="0"/>
                    </a:lnTo>
                    <a:lnTo>
                      <a:pt x="108" y="0"/>
                    </a:lnTo>
                    <a:lnTo>
                      <a:pt x="110" y="4"/>
                    </a:lnTo>
                    <a:lnTo>
                      <a:pt x="106" y="6"/>
                    </a:lnTo>
                    <a:lnTo>
                      <a:pt x="95" y="2"/>
                    </a:lnTo>
                    <a:lnTo>
                      <a:pt x="95" y="8"/>
                    </a:lnTo>
                    <a:lnTo>
                      <a:pt x="91" y="10"/>
                    </a:lnTo>
                    <a:lnTo>
                      <a:pt x="91" y="14"/>
                    </a:lnTo>
                    <a:lnTo>
                      <a:pt x="95" y="14"/>
                    </a:lnTo>
                    <a:lnTo>
                      <a:pt x="95" y="18"/>
                    </a:lnTo>
                    <a:lnTo>
                      <a:pt x="91" y="21"/>
                    </a:lnTo>
                    <a:lnTo>
                      <a:pt x="89" y="21"/>
                    </a:lnTo>
                    <a:lnTo>
                      <a:pt x="87" y="19"/>
                    </a:lnTo>
                    <a:lnTo>
                      <a:pt x="81" y="18"/>
                    </a:lnTo>
                    <a:lnTo>
                      <a:pt x="73" y="25"/>
                    </a:lnTo>
                    <a:lnTo>
                      <a:pt x="71" y="29"/>
                    </a:lnTo>
                    <a:lnTo>
                      <a:pt x="66" y="29"/>
                    </a:lnTo>
                    <a:lnTo>
                      <a:pt x="64" y="35"/>
                    </a:lnTo>
                    <a:lnTo>
                      <a:pt x="66" y="39"/>
                    </a:lnTo>
                    <a:lnTo>
                      <a:pt x="66" y="41"/>
                    </a:lnTo>
                    <a:lnTo>
                      <a:pt x="64" y="43"/>
                    </a:lnTo>
                    <a:lnTo>
                      <a:pt x="60" y="44"/>
                    </a:lnTo>
                    <a:lnTo>
                      <a:pt x="56" y="43"/>
                    </a:lnTo>
                    <a:lnTo>
                      <a:pt x="50" y="41"/>
                    </a:lnTo>
                    <a:lnTo>
                      <a:pt x="47" y="39"/>
                    </a:lnTo>
                    <a:lnTo>
                      <a:pt x="45" y="37"/>
                    </a:lnTo>
                    <a:lnTo>
                      <a:pt x="41" y="31"/>
                    </a:lnTo>
                    <a:lnTo>
                      <a:pt x="37" y="29"/>
                    </a:lnTo>
                    <a:lnTo>
                      <a:pt x="37" y="39"/>
                    </a:lnTo>
                    <a:lnTo>
                      <a:pt x="33" y="43"/>
                    </a:lnTo>
                    <a:lnTo>
                      <a:pt x="25" y="46"/>
                    </a:lnTo>
                    <a:lnTo>
                      <a:pt x="20" y="50"/>
                    </a:lnTo>
                    <a:lnTo>
                      <a:pt x="14" y="60"/>
                    </a:lnTo>
                    <a:lnTo>
                      <a:pt x="12" y="62"/>
                    </a:lnTo>
                    <a:lnTo>
                      <a:pt x="10" y="68"/>
                    </a:lnTo>
                    <a:lnTo>
                      <a:pt x="4" y="69"/>
                    </a:lnTo>
                    <a:lnTo>
                      <a:pt x="0" y="73"/>
                    </a:lnTo>
                    <a:lnTo>
                      <a:pt x="0" y="79"/>
                    </a:lnTo>
                    <a:lnTo>
                      <a:pt x="4" y="83"/>
                    </a:lnTo>
                    <a:lnTo>
                      <a:pt x="6" y="87"/>
                    </a:lnTo>
                    <a:lnTo>
                      <a:pt x="4" y="96"/>
                    </a:lnTo>
                    <a:lnTo>
                      <a:pt x="6" y="104"/>
                    </a:lnTo>
                    <a:lnTo>
                      <a:pt x="10" y="106"/>
                    </a:lnTo>
                    <a:lnTo>
                      <a:pt x="18" y="104"/>
                    </a:lnTo>
                    <a:lnTo>
                      <a:pt x="18" y="108"/>
                    </a:lnTo>
                    <a:lnTo>
                      <a:pt x="14" y="112"/>
                    </a:lnTo>
                    <a:lnTo>
                      <a:pt x="10" y="114"/>
                    </a:lnTo>
                    <a:lnTo>
                      <a:pt x="10" y="117"/>
                    </a:lnTo>
                    <a:lnTo>
                      <a:pt x="12" y="119"/>
                    </a:lnTo>
                    <a:lnTo>
                      <a:pt x="14" y="119"/>
                    </a:lnTo>
                    <a:lnTo>
                      <a:pt x="16" y="12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4" name="Freeform 162"/>
              <p:cNvSpPr>
                <a:spLocks/>
              </p:cNvSpPr>
              <p:nvPr/>
            </p:nvSpPr>
            <p:spPr bwMode="gray">
              <a:xfrm>
                <a:off x="3462" y="2260"/>
                <a:ext cx="17" cy="57"/>
              </a:xfrm>
              <a:custGeom>
                <a:avLst/>
                <a:gdLst>
                  <a:gd name="T0" fmla="*/ 35 w 35"/>
                  <a:gd name="T1" fmla="*/ 18 h 116"/>
                  <a:gd name="T2" fmla="*/ 33 w 35"/>
                  <a:gd name="T3" fmla="*/ 10 h 116"/>
                  <a:gd name="T4" fmla="*/ 33 w 35"/>
                  <a:gd name="T5" fmla="*/ 0 h 116"/>
                  <a:gd name="T6" fmla="*/ 29 w 35"/>
                  <a:gd name="T7" fmla="*/ 0 h 116"/>
                  <a:gd name="T8" fmla="*/ 23 w 35"/>
                  <a:gd name="T9" fmla="*/ 2 h 116"/>
                  <a:gd name="T10" fmla="*/ 18 w 35"/>
                  <a:gd name="T11" fmla="*/ 8 h 116"/>
                  <a:gd name="T12" fmla="*/ 12 w 35"/>
                  <a:gd name="T13" fmla="*/ 12 h 116"/>
                  <a:gd name="T14" fmla="*/ 10 w 35"/>
                  <a:gd name="T15" fmla="*/ 16 h 116"/>
                  <a:gd name="T16" fmla="*/ 10 w 35"/>
                  <a:gd name="T17" fmla="*/ 31 h 116"/>
                  <a:gd name="T18" fmla="*/ 8 w 35"/>
                  <a:gd name="T19" fmla="*/ 33 h 116"/>
                  <a:gd name="T20" fmla="*/ 6 w 35"/>
                  <a:gd name="T21" fmla="*/ 33 h 116"/>
                  <a:gd name="T22" fmla="*/ 6 w 35"/>
                  <a:gd name="T23" fmla="*/ 35 h 116"/>
                  <a:gd name="T24" fmla="*/ 10 w 35"/>
                  <a:gd name="T25" fmla="*/ 43 h 116"/>
                  <a:gd name="T26" fmla="*/ 0 w 35"/>
                  <a:gd name="T27" fmla="*/ 50 h 116"/>
                  <a:gd name="T28" fmla="*/ 4 w 35"/>
                  <a:gd name="T29" fmla="*/ 62 h 116"/>
                  <a:gd name="T30" fmla="*/ 4 w 35"/>
                  <a:gd name="T31" fmla="*/ 64 h 116"/>
                  <a:gd name="T32" fmla="*/ 8 w 35"/>
                  <a:gd name="T33" fmla="*/ 108 h 116"/>
                  <a:gd name="T34" fmla="*/ 6 w 35"/>
                  <a:gd name="T35" fmla="*/ 116 h 116"/>
                  <a:gd name="T36" fmla="*/ 12 w 35"/>
                  <a:gd name="T37" fmla="*/ 110 h 116"/>
                  <a:gd name="T38" fmla="*/ 23 w 35"/>
                  <a:gd name="T39" fmla="*/ 94 h 116"/>
                  <a:gd name="T40" fmla="*/ 29 w 35"/>
                  <a:gd name="T41" fmla="*/ 83 h 116"/>
                  <a:gd name="T42" fmla="*/ 27 w 35"/>
                  <a:gd name="T43" fmla="*/ 73 h 116"/>
                  <a:gd name="T44" fmla="*/ 29 w 35"/>
                  <a:gd name="T45" fmla="*/ 64 h 116"/>
                  <a:gd name="T46" fmla="*/ 33 w 35"/>
                  <a:gd name="T47" fmla="*/ 58 h 116"/>
                  <a:gd name="T48" fmla="*/ 19 w 35"/>
                  <a:gd name="T49" fmla="*/ 58 h 116"/>
                  <a:gd name="T50" fmla="*/ 19 w 35"/>
                  <a:gd name="T51" fmla="*/ 52 h 116"/>
                  <a:gd name="T52" fmla="*/ 23 w 35"/>
                  <a:gd name="T53" fmla="*/ 45 h 116"/>
                  <a:gd name="T54" fmla="*/ 23 w 35"/>
                  <a:gd name="T55" fmla="*/ 23 h 116"/>
                  <a:gd name="T56" fmla="*/ 25 w 35"/>
                  <a:gd name="T57" fmla="*/ 21 h 116"/>
                  <a:gd name="T58" fmla="*/ 33 w 35"/>
                  <a:gd name="T59" fmla="*/ 18 h 116"/>
                  <a:gd name="T60" fmla="*/ 35 w 35"/>
                  <a:gd name="T61" fmla="*/ 18 h 11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5"/>
                  <a:gd name="T94" fmla="*/ 0 h 116"/>
                  <a:gd name="T95" fmla="*/ 35 w 35"/>
                  <a:gd name="T96" fmla="*/ 116 h 11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5" h="116">
                    <a:moveTo>
                      <a:pt x="35" y="18"/>
                    </a:moveTo>
                    <a:lnTo>
                      <a:pt x="33" y="10"/>
                    </a:lnTo>
                    <a:lnTo>
                      <a:pt x="33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10" y="16"/>
                    </a:lnTo>
                    <a:lnTo>
                      <a:pt x="10" y="31"/>
                    </a:lnTo>
                    <a:lnTo>
                      <a:pt x="8" y="33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10" y="43"/>
                    </a:lnTo>
                    <a:lnTo>
                      <a:pt x="0" y="50"/>
                    </a:lnTo>
                    <a:lnTo>
                      <a:pt x="4" y="62"/>
                    </a:lnTo>
                    <a:lnTo>
                      <a:pt x="4" y="64"/>
                    </a:lnTo>
                    <a:lnTo>
                      <a:pt x="8" y="108"/>
                    </a:lnTo>
                    <a:lnTo>
                      <a:pt x="6" y="116"/>
                    </a:lnTo>
                    <a:lnTo>
                      <a:pt x="12" y="110"/>
                    </a:lnTo>
                    <a:lnTo>
                      <a:pt x="23" y="94"/>
                    </a:lnTo>
                    <a:lnTo>
                      <a:pt x="29" y="83"/>
                    </a:lnTo>
                    <a:lnTo>
                      <a:pt x="27" y="73"/>
                    </a:lnTo>
                    <a:lnTo>
                      <a:pt x="29" y="64"/>
                    </a:lnTo>
                    <a:lnTo>
                      <a:pt x="33" y="58"/>
                    </a:lnTo>
                    <a:lnTo>
                      <a:pt x="19" y="58"/>
                    </a:lnTo>
                    <a:lnTo>
                      <a:pt x="19" y="52"/>
                    </a:lnTo>
                    <a:lnTo>
                      <a:pt x="23" y="45"/>
                    </a:lnTo>
                    <a:lnTo>
                      <a:pt x="23" y="23"/>
                    </a:lnTo>
                    <a:lnTo>
                      <a:pt x="25" y="21"/>
                    </a:lnTo>
                    <a:lnTo>
                      <a:pt x="33" y="18"/>
                    </a:lnTo>
                    <a:lnTo>
                      <a:pt x="35" y="1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5" name="Freeform 163"/>
              <p:cNvSpPr>
                <a:spLocks/>
              </p:cNvSpPr>
              <p:nvPr/>
            </p:nvSpPr>
            <p:spPr bwMode="gray">
              <a:xfrm>
                <a:off x="3471" y="2268"/>
                <a:ext cx="7" cy="21"/>
              </a:xfrm>
              <a:custGeom>
                <a:avLst/>
                <a:gdLst>
                  <a:gd name="T0" fmla="*/ 14 w 14"/>
                  <a:gd name="T1" fmla="*/ 0 h 42"/>
                  <a:gd name="T2" fmla="*/ 14 w 14"/>
                  <a:gd name="T3" fmla="*/ 2 h 42"/>
                  <a:gd name="T4" fmla="*/ 12 w 14"/>
                  <a:gd name="T5" fmla="*/ 5 h 42"/>
                  <a:gd name="T6" fmla="*/ 14 w 14"/>
                  <a:gd name="T7" fmla="*/ 13 h 42"/>
                  <a:gd name="T8" fmla="*/ 14 w 14"/>
                  <a:gd name="T9" fmla="*/ 40 h 42"/>
                  <a:gd name="T10" fmla="*/ 10 w 14"/>
                  <a:gd name="T11" fmla="*/ 40 h 42"/>
                  <a:gd name="T12" fmla="*/ 4 w 14"/>
                  <a:gd name="T13" fmla="*/ 42 h 42"/>
                  <a:gd name="T14" fmla="*/ 0 w 14"/>
                  <a:gd name="T15" fmla="*/ 40 h 42"/>
                  <a:gd name="T16" fmla="*/ 0 w 14"/>
                  <a:gd name="T17" fmla="*/ 34 h 42"/>
                  <a:gd name="T18" fmla="*/ 4 w 14"/>
                  <a:gd name="T19" fmla="*/ 27 h 42"/>
                  <a:gd name="T20" fmla="*/ 4 w 14"/>
                  <a:gd name="T21" fmla="*/ 5 h 42"/>
                  <a:gd name="T22" fmla="*/ 6 w 14"/>
                  <a:gd name="T23" fmla="*/ 3 h 42"/>
                  <a:gd name="T24" fmla="*/ 10 w 14"/>
                  <a:gd name="T25" fmla="*/ 2 h 42"/>
                  <a:gd name="T26" fmla="*/ 12 w 14"/>
                  <a:gd name="T27" fmla="*/ 0 h 42"/>
                  <a:gd name="T28" fmla="*/ 14 w 14"/>
                  <a:gd name="T29" fmla="*/ 0 h 4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4"/>
                  <a:gd name="T46" fmla="*/ 0 h 42"/>
                  <a:gd name="T47" fmla="*/ 14 w 14"/>
                  <a:gd name="T48" fmla="*/ 42 h 4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4" h="42">
                    <a:moveTo>
                      <a:pt x="14" y="0"/>
                    </a:moveTo>
                    <a:lnTo>
                      <a:pt x="14" y="2"/>
                    </a:lnTo>
                    <a:lnTo>
                      <a:pt x="12" y="5"/>
                    </a:lnTo>
                    <a:lnTo>
                      <a:pt x="14" y="13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4" y="42"/>
                    </a:lnTo>
                    <a:lnTo>
                      <a:pt x="0" y="40"/>
                    </a:lnTo>
                    <a:lnTo>
                      <a:pt x="0" y="34"/>
                    </a:lnTo>
                    <a:lnTo>
                      <a:pt x="4" y="27"/>
                    </a:lnTo>
                    <a:lnTo>
                      <a:pt x="4" y="5"/>
                    </a:lnTo>
                    <a:lnTo>
                      <a:pt x="6" y="3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6" name="Freeform 164"/>
              <p:cNvSpPr>
                <a:spLocks/>
              </p:cNvSpPr>
              <p:nvPr/>
            </p:nvSpPr>
            <p:spPr bwMode="gray">
              <a:xfrm>
                <a:off x="3461" y="2277"/>
                <a:ext cx="5" cy="8"/>
              </a:xfrm>
              <a:custGeom>
                <a:avLst/>
                <a:gdLst>
                  <a:gd name="T0" fmla="*/ 8 w 12"/>
                  <a:gd name="T1" fmla="*/ 0 h 15"/>
                  <a:gd name="T2" fmla="*/ 6 w 12"/>
                  <a:gd name="T3" fmla="*/ 2 h 15"/>
                  <a:gd name="T4" fmla="*/ 2 w 12"/>
                  <a:gd name="T5" fmla="*/ 4 h 15"/>
                  <a:gd name="T6" fmla="*/ 0 w 12"/>
                  <a:gd name="T7" fmla="*/ 4 h 15"/>
                  <a:gd name="T8" fmla="*/ 2 w 12"/>
                  <a:gd name="T9" fmla="*/ 15 h 15"/>
                  <a:gd name="T10" fmla="*/ 12 w 12"/>
                  <a:gd name="T11" fmla="*/ 8 h 15"/>
                  <a:gd name="T12" fmla="*/ 8 w 12"/>
                  <a:gd name="T13" fmla="*/ 0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15"/>
                  <a:gd name="T23" fmla="*/ 12 w 12"/>
                  <a:gd name="T24" fmla="*/ 15 h 1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15">
                    <a:moveTo>
                      <a:pt x="8" y="0"/>
                    </a:moveTo>
                    <a:lnTo>
                      <a:pt x="6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15"/>
                    </a:lnTo>
                    <a:lnTo>
                      <a:pt x="12" y="8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7" name="Freeform 165"/>
              <p:cNvSpPr>
                <a:spLocks/>
              </p:cNvSpPr>
              <p:nvPr/>
            </p:nvSpPr>
            <p:spPr bwMode="gray">
              <a:xfrm>
                <a:off x="2918" y="1905"/>
                <a:ext cx="3" cy="4"/>
              </a:xfrm>
              <a:custGeom>
                <a:avLst/>
                <a:gdLst>
                  <a:gd name="T0" fmla="*/ 8 w 8"/>
                  <a:gd name="T1" fmla="*/ 0 h 8"/>
                  <a:gd name="T2" fmla="*/ 8 w 8"/>
                  <a:gd name="T3" fmla="*/ 8 h 8"/>
                  <a:gd name="T4" fmla="*/ 0 w 8"/>
                  <a:gd name="T5" fmla="*/ 8 h 8"/>
                  <a:gd name="T6" fmla="*/ 2 w 8"/>
                  <a:gd name="T7" fmla="*/ 4 h 8"/>
                  <a:gd name="T8" fmla="*/ 8 w 8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8"/>
                  <a:gd name="T17" fmla="*/ 8 w 8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8">
                    <a:moveTo>
                      <a:pt x="8" y="0"/>
                    </a:moveTo>
                    <a:lnTo>
                      <a:pt x="8" y="8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8" name="Freeform 166"/>
              <p:cNvSpPr>
                <a:spLocks/>
              </p:cNvSpPr>
              <p:nvPr/>
            </p:nvSpPr>
            <p:spPr bwMode="gray">
              <a:xfrm>
                <a:off x="2919" y="1892"/>
                <a:ext cx="2" cy="3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4 h 8"/>
                  <a:gd name="T4" fmla="*/ 0 w 4"/>
                  <a:gd name="T5" fmla="*/ 8 h 8"/>
                  <a:gd name="T6" fmla="*/ 0 w 4"/>
                  <a:gd name="T7" fmla="*/ 0 h 8"/>
                  <a:gd name="T8" fmla="*/ 4 w 4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8"/>
                  <a:gd name="T17" fmla="*/ 4 w 4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8">
                    <a:moveTo>
                      <a:pt x="4" y="0"/>
                    </a:moveTo>
                    <a:lnTo>
                      <a:pt x="4" y="4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79" name="Freeform 167"/>
              <p:cNvSpPr>
                <a:spLocks/>
              </p:cNvSpPr>
              <p:nvPr/>
            </p:nvSpPr>
            <p:spPr bwMode="gray">
              <a:xfrm>
                <a:off x="2904" y="1853"/>
                <a:ext cx="49" cy="77"/>
              </a:xfrm>
              <a:custGeom>
                <a:avLst/>
                <a:gdLst>
                  <a:gd name="T0" fmla="*/ 85 w 98"/>
                  <a:gd name="T1" fmla="*/ 8 h 154"/>
                  <a:gd name="T2" fmla="*/ 77 w 98"/>
                  <a:gd name="T3" fmla="*/ 0 h 154"/>
                  <a:gd name="T4" fmla="*/ 67 w 98"/>
                  <a:gd name="T5" fmla="*/ 10 h 154"/>
                  <a:gd name="T6" fmla="*/ 54 w 98"/>
                  <a:gd name="T7" fmla="*/ 8 h 154"/>
                  <a:gd name="T8" fmla="*/ 48 w 98"/>
                  <a:gd name="T9" fmla="*/ 22 h 154"/>
                  <a:gd name="T10" fmla="*/ 54 w 98"/>
                  <a:gd name="T11" fmla="*/ 23 h 154"/>
                  <a:gd name="T12" fmla="*/ 46 w 98"/>
                  <a:gd name="T13" fmla="*/ 31 h 154"/>
                  <a:gd name="T14" fmla="*/ 37 w 98"/>
                  <a:gd name="T15" fmla="*/ 45 h 154"/>
                  <a:gd name="T16" fmla="*/ 15 w 98"/>
                  <a:gd name="T17" fmla="*/ 39 h 154"/>
                  <a:gd name="T18" fmla="*/ 21 w 98"/>
                  <a:gd name="T19" fmla="*/ 54 h 154"/>
                  <a:gd name="T20" fmla="*/ 23 w 98"/>
                  <a:gd name="T21" fmla="*/ 66 h 154"/>
                  <a:gd name="T22" fmla="*/ 8 w 98"/>
                  <a:gd name="T23" fmla="*/ 70 h 154"/>
                  <a:gd name="T24" fmla="*/ 8 w 98"/>
                  <a:gd name="T25" fmla="*/ 81 h 154"/>
                  <a:gd name="T26" fmla="*/ 31 w 98"/>
                  <a:gd name="T27" fmla="*/ 85 h 154"/>
                  <a:gd name="T28" fmla="*/ 17 w 98"/>
                  <a:gd name="T29" fmla="*/ 114 h 154"/>
                  <a:gd name="T30" fmla="*/ 0 w 98"/>
                  <a:gd name="T31" fmla="*/ 131 h 154"/>
                  <a:gd name="T32" fmla="*/ 6 w 98"/>
                  <a:gd name="T33" fmla="*/ 145 h 154"/>
                  <a:gd name="T34" fmla="*/ 15 w 98"/>
                  <a:gd name="T35" fmla="*/ 146 h 154"/>
                  <a:gd name="T36" fmla="*/ 12 w 98"/>
                  <a:gd name="T37" fmla="*/ 152 h 154"/>
                  <a:gd name="T38" fmla="*/ 19 w 98"/>
                  <a:gd name="T39" fmla="*/ 154 h 154"/>
                  <a:gd name="T40" fmla="*/ 23 w 98"/>
                  <a:gd name="T41" fmla="*/ 148 h 154"/>
                  <a:gd name="T42" fmla="*/ 31 w 98"/>
                  <a:gd name="T43" fmla="*/ 146 h 154"/>
                  <a:gd name="T44" fmla="*/ 35 w 98"/>
                  <a:gd name="T45" fmla="*/ 154 h 154"/>
                  <a:gd name="T46" fmla="*/ 42 w 98"/>
                  <a:gd name="T47" fmla="*/ 150 h 154"/>
                  <a:gd name="T48" fmla="*/ 69 w 98"/>
                  <a:gd name="T49" fmla="*/ 139 h 154"/>
                  <a:gd name="T50" fmla="*/ 81 w 98"/>
                  <a:gd name="T51" fmla="*/ 127 h 154"/>
                  <a:gd name="T52" fmla="*/ 85 w 98"/>
                  <a:gd name="T53" fmla="*/ 121 h 154"/>
                  <a:gd name="T54" fmla="*/ 92 w 98"/>
                  <a:gd name="T55" fmla="*/ 123 h 154"/>
                  <a:gd name="T56" fmla="*/ 88 w 98"/>
                  <a:gd name="T57" fmla="*/ 118 h 154"/>
                  <a:gd name="T58" fmla="*/ 96 w 98"/>
                  <a:gd name="T59" fmla="*/ 104 h 154"/>
                  <a:gd name="T60" fmla="*/ 88 w 98"/>
                  <a:gd name="T61" fmla="*/ 75 h 154"/>
                  <a:gd name="T62" fmla="*/ 92 w 98"/>
                  <a:gd name="T63" fmla="*/ 58 h 154"/>
                  <a:gd name="T64" fmla="*/ 87 w 98"/>
                  <a:gd name="T65" fmla="*/ 54 h 154"/>
                  <a:gd name="T66" fmla="*/ 79 w 98"/>
                  <a:gd name="T67" fmla="*/ 48 h 154"/>
                  <a:gd name="T68" fmla="*/ 71 w 98"/>
                  <a:gd name="T69" fmla="*/ 52 h 154"/>
                  <a:gd name="T70" fmla="*/ 65 w 98"/>
                  <a:gd name="T71" fmla="*/ 43 h 154"/>
                  <a:gd name="T72" fmla="*/ 62 w 98"/>
                  <a:gd name="T73" fmla="*/ 41 h 154"/>
                  <a:gd name="T74" fmla="*/ 62 w 98"/>
                  <a:gd name="T75" fmla="*/ 33 h 154"/>
                  <a:gd name="T76" fmla="*/ 69 w 98"/>
                  <a:gd name="T77" fmla="*/ 25 h 154"/>
                  <a:gd name="T78" fmla="*/ 79 w 98"/>
                  <a:gd name="T79" fmla="*/ 14 h 15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98"/>
                  <a:gd name="T121" fmla="*/ 0 h 154"/>
                  <a:gd name="T122" fmla="*/ 98 w 98"/>
                  <a:gd name="T123" fmla="*/ 154 h 154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98" h="154">
                    <a:moveTo>
                      <a:pt x="83" y="14"/>
                    </a:moveTo>
                    <a:lnTo>
                      <a:pt x="85" y="8"/>
                    </a:lnTo>
                    <a:lnTo>
                      <a:pt x="83" y="2"/>
                    </a:lnTo>
                    <a:lnTo>
                      <a:pt x="77" y="0"/>
                    </a:lnTo>
                    <a:lnTo>
                      <a:pt x="69" y="12"/>
                    </a:lnTo>
                    <a:lnTo>
                      <a:pt x="67" y="10"/>
                    </a:lnTo>
                    <a:lnTo>
                      <a:pt x="60" y="8"/>
                    </a:lnTo>
                    <a:lnTo>
                      <a:pt x="54" y="8"/>
                    </a:lnTo>
                    <a:lnTo>
                      <a:pt x="54" y="20"/>
                    </a:lnTo>
                    <a:lnTo>
                      <a:pt x="48" y="22"/>
                    </a:lnTo>
                    <a:lnTo>
                      <a:pt x="46" y="23"/>
                    </a:lnTo>
                    <a:lnTo>
                      <a:pt x="54" y="23"/>
                    </a:lnTo>
                    <a:lnTo>
                      <a:pt x="54" y="31"/>
                    </a:lnTo>
                    <a:lnTo>
                      <a:pt x="46" y="31"/>
                    </a:lnTo>
                    <a:lnTo>
                      <a:pt x="42" y="37"/>
                    </a:lnTo>
                    <a:lnTo>
                      <a:pt x="37" y="45"/>
                    </a:lnTo>
                    <a:lnTo>
                      <a:pt x="23" y="47"/>
                    </a:lnTo>
                    <a:lnTo>
                      <a:pt x="15" y="39"/>
                    </a:lnTo>
                    <a:lnTo>
                      <a:pt x="15" y="54"/>
                    </a:lnTo>
                    <a:lnTo>
                      <a:pt x="21" y="54"/>
                    </a:lnTo>
                    <a:lnTo>
                      <a:pt x="21" y="60"/>
                    </a:lnTo>
                    <a:lnTo>
                      <a:pt x="23" y="66"/>
                    </a:lnTo>
                    <a:lnTo>
                      <a:pt x="8" y="66"/>
                    </a:lnTo>
                    <a:lnTo>
                      <a:pt x="8" y="70"/>
                    </a:lnTo>
                    <a:lnTo>
                      <a:pt x="4" y="73"/>
                    </a:lnTo>
                    <a:lnTo>
                      <a:pt x="8" y="81"/>
                    </a:lnTo>
                    <a:lnTo>
                      <a:pt x="12" y="85"/>
                    </a:lnTo>
                    <a:lnTo>
                      <a:pt x="31" y="85"/>
                    </a:lnTo>
                    <a:lnTo>
                      <a:pt x="23" y="100"/>
                    </a:lnTo>
                    <a:lnTo>
                      <a:pt x="17" y="114"/>
                    </a:lnTo>
                    <a:lnTo>
                      <a:pt x="12" y="131"/>
                    </a:lnTo>
                    <a:lnTo>
                      <a:pt x="0" y="131"/>
                    </a:lnTo>
                    <a:lnTo>
                      <a:pt x="4" y="139"/>
                    </a:lnTo>
                    <a:lnTo>
                      <a:pt x="6" y="145"/>
                    </a:lnTo>
                    <a:lnTo>
                      <a:pt x="8" y="145"/>
                    </a:lnTo>
                    <a:lnTo>
                      <a:pt x="15" y="146"/>
                    </a:lnTo>
                    <a:lnTo>
                      <a:pt x="14" y="148"/>
                    </a:lnTo>
                    <a:lnTo>
                      <a:pt x="12" y="152"/>
                    </a:lnTo>
                    <a:lnTo>
                      <a:pt x="12" y="154"/>
                    </a:lnTo>
                    <a:lnTo>
                      <a:pt x="19" y="154"/>
                    </a:lnTo>
                    <a:lnTo>
                      <a:pt x="19" y="150"/>
                    </a:lnTo>
                    <a:lnTo>
                      <a:pt x="23" y="148"/>
                    </a:lnTo>
                    <a:lnTo>
                      <a:pt x="25" y="146"/>
                    </a:lnTo>
                    <a:lnTo>
                      <a:pt x="31" y="146"/>
                    </a:lnTo>
                    <a:lnTo>
                      <a:pt x="31" y="148"/>
                    </a:lnTo>
                    <a:lnTo>
                      <a:pt x="35" y="154"/>
                    </a:lnTo>
                    <a:lnTo>
                      <a:pt x="42" y="154"/>
                    </a:lnTo>
                    <a:lnTo>
                      <a:pt x="42" y="150"/>
                    </a:lnTo>
                    <a:lnTo>
                      <a:pt x="54" y="139"/>
                    </a:lnTo>
                    <a:lnTo>
                      <a:pt x="69" y="139"/>
                    </a:lnTo>
                    <a:lnTo>
                      <a:pt x="69" y="127"/>
                    </a:lnTo>
                    <a:lnTo>
                      <a:pt x="81" y="127"/>
                    </a:lnTo>
                    <a:lnTo>
                      <a:pt x="81" y="120"/>
                    </a:lnTo>
                    <a:lnTo>
                      <a:pt x="85" y="121"/>
                    </a:lnTo>
                    <a:lnTo>
                      <a:pt x="87" y="123"/>
                    </a:lnTo>
                    <a:lnTo>
                      <a:pt x="92" y="123"/>
                    </a:lnTo>
                    <a:lnTo>
                      <a:pt x="92" y="120"/>
                    </a:lnTo>
                    <a:lnTo>
                      <a:pt x="88" y="118"/>
                    </a:lnTo>
                    <a:lnTo>
                      <a:pt x="88" y="116"/>
                    </a:lnTo>
                    <a:lnTo>
                      <a:pt x="96" y="104"/>
                    </a:lnTo>
                    <a:lnTo>
                      <a:pt x="88" y="81"/>
                    </a:lnTo>
                    <a:lnTo>
                      <a:pt x="88" y="75"/>
                    </a:lnTo>
                    <a:lnTo>
                      <a:pt x="90" y="68"/>
                    </a:lnTo>
                    <a:lnTo>
                      <a:pt x="92" y="58"/>
                    </a:lnTo>
                    <a:lnTo>
                      <a:pt x="98" y="50"/>
                    </a:lnTo>
                    <a:lnTo>
                      <a:pt x="87" y="54"/>
                    </a:lnTo>
                    <a:lnTo>
                      <a:pt x="81" y="48"/>
                    </a:lnTo>
                    <a:lnTo>
                      <a:pt x="79" y="48"/>
                    </a:lnTo>
                    <a:lnTo>
                      <a:pt x="75" y="52"/>
                    </a:lnTo>
                    <a:lnTo>
                      <a:pt x="71" y="52"/>
                    </a:lnTo>
                    <a:lnTo>
                      <a:pt x="69" y="47"/>
                    </a:lnTo>
                    <a:lnTo>
                      <a:pt x="65" y="43"/>
                    </a:lnTo>
                    <a:lnTo>
                      <a:pt x="62" y="43"/>
                    </a:lnTo>
                    <a:lnTo>
                      <a:pt x="62" y="41"/>
                    </a:lnTo>
                    <a:lnTo>
                      <a:pt x="60" y="37"/>
                    </a:lnTo>
                    <a:lnTo>
                      <a:pt x="62" y="33"/>
                    </a:lnTo>
                    <a:lnTo>
                      <a:pt x="67" y="31"/>
                    </a:lnTo>
                    <a:lnTo>
                      <a:pt x="69" y="25"/>
                    </a:lnTo>
                    <a:lnTo>
                      <a:pt x="73" y="20"/>
                    </a:lnTo>
                    <a:lnTo>
                      <a:pt x="79" y="14"/>
                    </a:lnTo>
                    <a:lnTo>
                      <a:pt x="83" y="14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0" name="Freeform 168"/>
              <p:cNvSpPr>
                <a:spLocks/>
              </p:cNvSpPr>
              <p:nvPr/>
            </p:nvSpPr>
            <p:spPr bwMode="gray">
              <a:xfrm>
                <a:off x="3517" y="2185"/>
                <a:ext cx="122" cy="133"/>
              </a:xfrm>
              <a:custGeom>
                <a:avLst/>
                <a:gdLst>
                  <a:gd name="T0" fmla="*/ 240 w 243"/>
                  <a:gd name="T1" fmla="*/ 225 h 268"/>
                  <a:gd name="T2" fmla="*/ 232 w 243"/>
                  <a:gd name="T3" fmla="*/ 212 h 268"/>
                  <a:gd name="T4" fmla="*/ 230 w 243"/>
                  <a:gd name="T5" fmla="*/ 187 h 268"/>
                  <a:gd name="T6" fmla="*/ 222 w 243"/>
                  <a:gd name="T7" fmla="*/ 175 h 268"/>
                  <a:gd name="T8" fmla="*/ 216 w 243"/>
                  <a:gd name="T9" fmla="*/ 166 h 268"/>
                  <a:gd name="T10" fmla="*/ 211 w 243"/>
                  <a:gd name="T11" fmla="*/ 158 h 268"/>
                  <a:gd name="T12" fmla="*/ 201 w 243"/>
                  <a:gd name="T13" fmla="*/ 154 h 268"/>
                  <a:gd name="T14" fmla="*/ 197 w 243"/>
                  <a:gd name="T15" fmla="*/ 143 h 268"/>
                  <a:gd name="T16" fmla="*/ 182 w 243"/>
                  <a:gd name="T17" fmla="*/ 133 h 268"/>
                  <a:gd name="T18" fmla="*/ 172 w 243"/>
                  <a:gd name="T19" fmla="*/ 116 h 268"/>
                  <a:gd name="T20" fmla="*/ 163 w 243"/>
                  <a:gd name="T21" fmla="*/ 98 h 268"/>
                  <a:gd name="T22" fmla="*/ 167 w 243"/>
                  <a:gd name="T23" fmla="*/ 93 h 268"/>
                  <a:gd name="T24" fmla="*/ 174 w 243"/>
                  <a:gd name="T25" fmla="*/ 83 h 268"/>
                  <a:gd name="T26" fmla="*/ 176 w 243"/>
                  <a:gd name="T27" fmla="*/ 73 h 268"/>
                  <a:gd name="T28" fmla="*/ 174 w 243"/>
                  <a:gd name="T29" fmla="*/ 64 h 268"/>
                  <a:gd name="T30" fmla="*/ 186 w 243"/>
                  <a:gd name="T31" fmla="*/ 62 h 268"/>
                  <a:gd name="T32" fmla="*/ 184 w 243"/>
                  <a:gd name="T33" fmla="*/ 56 h 268"/>
                  <a:gd name="T34" fmla="*/ 167 w 243"/>
                  <a:gd name="T35" fmla="*/ 54 h 268"/>
                  <a:gd name="T36" fmla="*/ 157 w 243"/>
                  <a:gd name="T37" fmla="*/ 52 h 268"/>
                  <a:gd name="T38" fmla="*/ 151 w 243"/>
                  <a:gd name="T39" fmla="*/ 48 h 268"/>
                  <a:gd name="T40" fmla="*/ 149 w 243"/>
                  <a:gd name="T41" fmla="*/ 41 h 268"/>
                  <a:gd name="T42" fmla="*/ 144 w 243"/>
                  <a:gd name="T43" fmla="*/ 37 h 268"/>
                  <a:gd name="T44" fmla="*/ 140 w 243"/>
                  <a:gd name="T45" fmla="*/ 29 h 268"/>
                  <a:gd name="T46" fmla="*/ 142 w 243"/>
                  <a:gd name="T47" fmla="*/ 20 h 268"/>
                  <a:gd name="T48" fmla="*/ 138 w 243"/>
                  <a:gd name="T49" fmla="*/ 10 h 268"/>
                  <a:gd name="T50" fmla="*/ 128 w 243"/>
                  <a:gd name="T51" fmla="*/ 4 h 268"/>
                  <a:gd name="T52" fmla="*/ 117 w 243"/>
                  <a:gd name="T53" fmla="*/ 4 h 268"/>
                  <a:gd name="T54" fmla="*/ 107 w 243"/>
                  <a:gd name="T55" fmla="*/ 4 h 268"/>
                  <a:gd name="T56" fmla="*/ 99 w 243"/>
                  <a:gd name="T57" fmla="*/ 8 h 268"/>
                  <a:gd name="T58" fmla="*/ 90 w 243"/>
                  <a:gd name="T59" fmla="*/ 4 h 268"/>
                  <a:gd name="T60" fmla="*/ 82 w 243"/>
                  <a:gd name="T61" fmla="*/ 6 h 268"/>
                  <a:gd name="T62" fmla="*/ 80 w 243"/>
                  <a:gd name="T63" fmla="*/ 18 h 268"/>
                  <a:gd name="T64" fmla="*/ 71 w 243"/>
                  <a:gd name="T65" fmla="*/ 27 h 268"/>
                  <a:gd name="T66" fmla="*/ 65 w 243"/>
                  <a:gd name="T67" fmla="*/ 39 h 268"/>
                  <a:gd name="T68" fmla="*/ 67 w 243"/>
                  <a:gd name="T69" fmla="*/ 47 h 268"/>
                  <a:gd name="T70" fmla="*/ 65 w 243"/>
                  <a:gd name="T71" fmla="*/ 56 h 268"/>
                  <a:gd name="T72" fmla="*/ 61 w 243"/>
                  <a:gd name="T73" fmla="*/ 66 h 268"/>
                  <a:gd name="T74" fmla="*/ 65 w 243"/>
                  <a:gd name="T75" fmla="*/ 75 h 268"/>
                  <a:gd name="T76" fmla="*/ 59 w 243"/>
                  <a:gd name="T77" fmla="*/ 85 h 268"/>
                  <a:gd name="T78" fmla="*/ 53 w 243"/>
                  <a:gd name="T79" fmla="*/ 98 h 268"/>
                  <a:gd name="T80" fmla="*/ 0 w 243"/>
                  <a:gd name="T81" fmla="*/ 143 h 268"/>
                  <a:gd name="T82" fmla="*/ 82 w 243"/>
                  <a:gd name="T83" fmla="*/ 225 h 268"/>
                  <a:gd name="T84" fmla="*/ 101 w 243"/>
                  <a:gd name="T85" fmla="*/ 235 h 268"/>
                  <a:gd name="T86" fmla="*/ 124 w 243"/>
                  <a:gd name="T87" fmla="*/ 262 h 268"/>
                  <a:gd name="T88" fmla="*/ 174 w 243"/>
                  <a:gd name="T89" fmla="*/ 264 h 268"/>
                  <a:gd name="T90" fmla="*/ 192 w 243"/>
                  <a:gd name="T91" fmla="*/ 248 h 268"/>
                  <a:gd name="T92" fmla="*/ 203 w 243"/>
                  <a:gd name="T93" fmla="*/ 231 h 268"/>
                  <a:gd name="T94" fmla="*/ 226 w 243"/>
                  <a:gd name="T95" fmla="*/ 229 h 268"/>
                  <a:gd name="T96" fmla="*/ 238 w 243"/>
                  <a:gd name="T97" fmla="*/ 235 h 268"/>
                  <a:gd name="T98" fmla="*/ 243 w 243"/>
                  <a:gd name="T99" fmla="*/ 237 h 268"/>
                  <a:gd name="T100" fmla="*/ 243 w 243"/>
                  <a:gd name="T101" fmla="*/ 231 h 268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43"/>
                  <a:gd name="T154" fmla="*/ 0 h 268"/>
                  <a:gd name="T155" fmla="*/ 243 w 243"/>
                  <a:gd name="T156" fmla="*/ 268 h 268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43" h="268">
                    <a:moveTo>
                      <a:pt x="243" y="231"/>
                    </a:moveTo>
                    <a:lnTo>
                      <a:pt x="240" y="225"/>
                    </a:lnTo>
                    <a:lnTo>
                      <a:pt x="240" y="212"/>
                    </a:lnTo>
                    <a:lnTo>
                      <a:pt x="232" y="212"/>
                    </a:lnTo>
                    <a:lnTo>
                      <a:pt x="230" y="204"/>
                    </a:lnTo>
                    <a:lnTo>
                      <a:pt x="230" y="187"/>
                    </a:lnTo>
                    <a:lnTo>
                      <a:pt x="228" y="181"/>
                    </a:lnTo>
                    <a:lnTo>
                      <a:pt x="222" y="175"/>
                    </a:lnTo>
                    <a:lnTo>
                      <a:pt x="218" y="170"/>
                    </a:lnTo>
                    <a:lnTo>
                      <a:pt x="216" y="166"/>
                    </a:lnTo>
                    <a:lnTo>
                      <a:pt x="215" y="160"/>
                    </a:lnTo>
                    <a:lnTo>
                      <a:pt x="211" y="158"/>
                    </a:lnTo>
                    <a:lnTo>
                      <a:pt x="197" y="158"/>
                    </a:lnTo>
                    <a:lnTo>
                      <a:pt x="201" y="154"/>
                    </a:lnTo>
                    <a:lnTo>
                      <a:pt x="201" y="150"/>
                    </a:lnTo>
                    <a:lnTo>
                      <a:pt x="197" y="143"/>
                    </a:lnTo>
                    <a:lnTo>
                      <a:pt x="190" y="137"/>
                    </a:lnTo>
                    <a:lnTo>
                      <a:pt x="182" y="133"/>
                    </a:lnTo>
                    <a:lnTo>
                      <a:pt x="176" y="125"/>
                    </a:lnTo>
                    <a:lnTo>
                      <a:pt x="172" y="116"/>
                    </a:lnTo>
                    <a:lnTo>
                      <a:pt x="168" y="110"/>
                    </a:lnTo>
                    <a:lnTo>
                      <a:pt x="163" y="98"/>
                    </a:lnTo>
                    <a:lnTo>
                      <a:pt x="163" y="96"/>
                    </a:lnTo>
                    <a:lnTo>
                      <a:pt x="167" y="93"/>
                    </a:lnTo>
                    <a:lnTo>
                      <a:pt x="167" y="83"/>
                    </a:lnTo>
                    <a:lnTo>
                      <a:pt x="174" y="83"/>
                    </a:lnTo>
                    <a:lnTo>
                      <a:pt x="176" y="79"/>
                    </a:lnTo>
                    <a:lnTo>
                      <a:pt x="176" y="73"/>
                    </a:lnTo>
                    <a:lnTo>
                      <a:pt x="174" y="68"/>
                    </a:lnTo>
                    <a:lnTo>
                      <a:pt x="174" y="64"/>
                    </a:lnTo>
                    <a:lnTo>
                      <a:pt x="180" y="64"/>
                    </a:lnTo>
                    <a:lnTo>
                      <a:pt x="186" y="62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72" y="56"/>
                    </a:lnTo>
                    <a:lnTo>
                      <a:pt x="167" y="54"/>
                    </a:lnTo>
                    <a:lnTo>
                      <a:pt x="165" y="52"/>
                    </a:lnTo>
                    <a:lnTo>
                      <a:pt x="157" y="52"/>
                    </a:lnTo>
                    <a:lnTo>
                      <a:pt x="155" y="48"/>
                    </a:lnTo>
                    <a:lnTo>
                      <a:pt x="151" y="48"/>
                    </a:lnTo>
                    <a:lnTo>
                      <a:pt x="149" y="47"/>
                    </a:lnTo>
                    <a:lnTo>
                      <a:pt x="149" y="41"/>
                    </a:lnTo>
                    <a:lnTo>
                      <a:pt x="145" y="39"/>
                    </a:lnTo>
                    <a:lnTo>
                      <a:pt x="144" y="37"/>
                    </a:lnTo>
                    <a:lnTo>
                      <a:pt x="145" y="33"/>
                    </a:lnTo>
                    <a:lnTo>
                      <a:pt x="140" y="29"/>
                    </a:lnTo>
                    <a:lnTo>
                      <a:pt x="142" y="25"/>
                    </a:lnTo>
                    <a:lnTo>
                      <a:pt x="142" y="20"/>
                    </a:lnTo>
                    <a:lnTo>
                      <a:pt x="140" y="16"/>
                    </a:lnTo>
                    <a:lnTo>
                      <a:pt x="138" y="10"/>
                    </a:lnTo>
                    <a:lnTo>
                      <a:pt x="138" y="8"/>
                    </a:lnTo>
                    <a:lnTo>
                      <a:pt x="128" y="4"/>
                    </a:lnTo>
                    <a:lnTo>
                      <a:pt x="119" y="10"/>
                    </a:lnTo>
                    <a:lnTo>
                      <a:pt x="117" y="4"/>
                    </a:lnTo>
                    <a:lnTo>
                      <a:pt x="111" y="0"/>
                    </a:lnTo>
                    <a:lnTo>
                      <a:pt x="107" y="4"/>
                    </a:lnTo>
                    <a:lnTo>
                      <a:pt x="105" y="8"/>
                    </a:lnTo>
                    <a:lnTo>
                      <a:pt x="99" y="8"/>
                    </a:lnTo>
                    <a:lnTo>
                      <a:pt x="94" y="4"/>
                    </a:lnTo>
                    <a:lnTo>
                      <a:pt x="90" y="4"/>
                    </a:lnTo>
                    <a:lnTo>
                      <a:pt x="88" y="6"/>
                    </a:lnTo>
                    <a:lnTo>
                      <a:pt x="82" y="6"/>
                    </a:lnTo>
                    <a:lnTo>
                      <a:pt x="82" y="10"/>
                    </a:lnTo>
                    <a:lnTo>
                      <a:pt x="80" y="18"/>
                    </a:lnTo>
                    <a:lnTo>
                      <a:pt x="76" y="23"/>
                    </a:lnTo>
                    <a:lnTo>
                      <a:pt x="71" y="27"/>
                    </a:lnTo>
                    <a:lnTo>
                      <a:pt x="67" y="31"/>
                    </a:lnTo>
                    <a:lnTo>
                      <a:pt x="65" y="39"/>
                    </a:lnTo>
                    <a:lnTo>
                      <a:pt x="65" y="43"/>
                    </a:lnTo>
                    <a:lnTo>
                      <a:pt x="67" y="47"/>
                    </a:lnTo>
                    <a:lnTo>
                      <a:pt x="67" y="50"/>
                    </a:lnTo>
                    <a:lnTo>
                      <a:pt x="65" y="56"/>
                    </a:lnTo>
                    <a:lnTo>
                      <a:pt x="61" y="60"/>
                    </a:lnTo>
                    <a:lnTo>
                      <a:pt x="61" y="66"/>
                    </a:lnTo>
                    <a:lnTo>
                      <a:pt x="65" y="73"/>
                    </a:lnTo>
                    <a:lnTo>
                      <a:pt x="65" y="75"/>
                    </a:lnTo>
                    <a:lnTo>
                      <a:pt x="61" y="79"/>
                    </a:lnTo>
                    <a:lnTo>
                      <a:pt x="59" y="85"/>
                    </a:lnTo>
                    <a:lnTo>
                      <a:pt x="57" y="95"/>
                    </a:lnTo>
                    <a:lnTo>
                      <a:pt x="53" y="98"/>
                    </a:lnTo>
                    <a:lnTo>
                      <a:pt x="51" y="102"/>
                    </a:lnTo>
                    <a:lnTo>
                      <a:pt x="0" y="143"/>
                    </a:lnTo>
                    <a:lnTo>
                      <a:pt x="13" y="187"/>
                    </a:lnTo>
                    <a:lnTo>
                      <a:pt x="82" y="225"/>
                    </a:lnTo>
                    <a:lnTo>
                      <a:pt x="84" y="235"/>
                    </a:lnTo>
                    <a:lnTo>
                      <a:pt x="101" y="235"/>
                    </a:lnTo>
                    <a:lnTo>
                      <a:pt x="105" y="250"/>
                    </a:lnTo>
                    <a:lnTo>
                      <a:pt x="124" y="262"/>
                    </a:lnTo>
                    <a:lnTo>
                      <a:pt x="168" y="268"/>
                    </a:lnTo>
                    <a:lnTo>
                      <a:pt x="174" y="264"/>
                    </a:lnTo>
                    <a:lnTo>
                      <a:pt x="184" y="256"/>
                    </a:lnTo>
                    <a:lnTo>
                      <a:pt x="192" y="248"/>
                    </a:lnTo>
                    <a:lnTo>
                      <a:pt x="197" y="239"/>
                    </a:lnTo>
                    <a:lnTo>
                      <a:pt x="203" y="231"/>
                    </a:lnTo>
                    <a:lnTo>
                      <a:pt x="211" y="229"/>
                    </a:lnTo>
                    <a:lnTo>
                      <a:pt x="226" y="229"/>
                    </a:lnTo>
                    <a:lnTo>
                      <a:pt x="232" y="233"/>
                    </a:lnTo>
                    <a:lnTo>
                      <a:pt x="238" y="235"/>
                    </a:lnTo>
                    <a:lnTo>
                      <a:pt x="243" y="239"/>
                    </a:lnTo>
                    <a:lnTo>
                      <a:pt x="243" y="237"/>
                    </a:lnTo>
                    <a:lnTo>
                      <a:pt x="241" y="233"/>
                    </a:lnTo>
                    <a:lnTo>
                      <a:pt x="243" y="23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1" name="Freeform 169"/>
              <p:cNvSpPr>
                <a:spLocks/>
              </p:cNvSpPr>
              <p:nvPr/>
            </p:nvSpPr>
            <p:spPr bwMode="gray">
              <a:xfrm>
                <a:off x="3588" y="2171"/>
                <a:ext cx="20" cy="28"/>
              </a:xfrm>
              <a:custGeom>
                <a:avLst/>
                <a:gdLst>
                  <a:gd name="T0" fmla="*/ 5 w 40"/>
                  <a:gd name="T1" fmla="*/ 1 h 55"/>
                  <a:gd name="T2" fmla="*/ 23 w 40"/>
                  <a:gd name="T3" fmla="*/ 9 h 55"/>
                  <a:gd name="T4" fmla="*/ 32 w 40"/>
                  <a:gd name="T5" fmla="*/ 26 h 55"/>
                  <a:gd name="T6" fmla="*/ 40 w 40"/>
                  <a:gd name="T7" fmla="*/ 48 h 55"/>
                  <a:gd name="T8" fmla="*/ 28 w 40"/>
                  <a:gd name="T9" fmla="*/ 51 h 55"/>
                  <a:gd name="T10" fmla="*/ 25 w 40"/>
                  <a:gd name="T11" fmla="*/ 55 h 55"/>
                  <a:gd name="T12" fmla="*/ 9 w 40"/>
                  <a:gd name="T13" fmla="*/ 24 h 55"/>
                  <a:gd name="T14" fmla="*/ 5 w 40"/>
                  <a:gd name="T15" fmla="*/ 24 h 55"/>
                  <a:gd name="T16" fmla="*/ 5 w 40"/>
                  <a:gd name="T17" fmla="*/ 17 h 55"/>
                  <a:gd name="T18" fmla="*/ 9 w 40"/>
                  <a:gd name="T19" fmla="*/ 13 h 55"/>
                  <a:gd name="T20" fmla="*/ 9 w 40"/>
                  <a:gd name="T21" fmla="*/ 9 h 55"/>
                  <a:gd name="T22" fmla="*/ 5 w 40"/>
                  <a:gd name="T23" fmla="*/ 7 h 55"/>
                  <a:gd name="T24" fmla="*/ 2 w 40"/>
                  <a:gd name="T25" fmla="*/ 3 h 55"/>
                  <a:gd name="T26" fmla="*/ 3 w 40"/>
                  <a:gd name="T27" fmla="*/ 1 h 55"/>
                  <a:gd name="T28" fmla="*/ 2 w 40"/>
                  <a:gd name="T29" fmla="*/ 0 h 55"/>
                  <a:gd name="T30" fmla="*/ 0 w 40"/>
                  <a:gd name="T31" fmla="*/ 0 h 55"/>
                  <a:gd name="T32" fmla="*/ 2 w 40"/>
                  <a:gd name="T33" fmla="*/ 0 h 55"/>
                  <a:gd name="T34" fmla="*/ 5 w 40"/>
                  <a:gd name="T35" fmla="*/ 1 h 5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0"/>
                  <a:gd name="T55" fmla="*/ 0 h 55"/>
                  <a:gd name="T56" fmla="*/ 40 w 40"/>
                  <a:gd name="T57" fmla="*/ 55 h 5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0" h="55">
                    <a:moveTo>
                      <a:pt x="5" y="1"/>
                    </a:moveTo>
                    <a:lnTo>
                      <a:pt x="23" y="9"/>
                    </a:lnTo>
                    <a:lnTo>
                      <a:pt x="32" y="26"/>
                    </a:lnTo>
                    <a:lnTo>
                      <a:pt x="40" y="48"/>
                    </a:lnTo>
                    <a:lnTo>
                      <a:pt x="28" y="51"/>
                    </a:lnTo>
                    <a:lnTo>
                      <a:pt x="25" y="55"/>
                    </a:lnTo>
                    <a:lnTo>
                      <a:pt x="9" y="24"/>
                    </a:lnTo>
                    <a:lnTo>
                      <a:pt x="5" y="24"/>
                    </a:lnTo>
                    <a:lnTo>
                      <a:pt x="5" y="17"/>
                    </a:lnTo>
                    <a:lnTo>
                      <a:pt x="9" y="13"/>
                    </a:lnTo>
                    <a:lnTo>
                      <a:pt x="9" y="9"/>
                    </a:lnTo>
                    <a:lnTo>
                      <a:pt x="5" y="7"/>
                    </a:lnTo>
                    <a:lnTo>
                      <a:pt x="2" y="3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2" name="Freeform 170"/>
              <p:cNvSpPr>
                <a:spLocks/>
              </p:cNvSpPr>
              <p:nvPr/>
            </p:nvSpPr>
            <p:spPr bwMode="gray">
              <a:xfrm>
                <a:off x="3581" y="2142"/>
                <a:ext cx="242" cy="246"/>
              </a:xfrm>
              <a:custGeom>
                <a:avLst/>
                <a:gdLst>
                  <a:gd name="T0" fmla="*/ 461 w 486"/>
                  <a:gd name="T1" fmla="*/ 438 h 492"/>
                  <a:gd name="T2" fmla="*/ 474 w 486"/>
                  <a:gd name="T3" fmla="*/ 411 h 492"/>
                  <a:gd name="T4" fmla="*/ 444 w 486"/>
                  <a:gd name="T5" fmla="*/ 367 h 492"/>
                  <a:gd name="T6" fmla="*/ 461 w 486"/>
                  <a:gd name="T7" fmla="*/ 294 h 492"/>
                  <a:gd name="T8" fmla="*/ 432 w 486"/>
                  <a:gd name="T9" fmla="*/ 269 h 492"/>
                  <a:gd name="T10" fmla="*/ 415 w 486"/>
                  <a:gd name="T11" fmla="*/ 219 h 492"/>
                  <a:gd name="T12" fmla="*/ 417 w 486"/>
                  <a:gd name="T13" fmla="*/ 180 h 492"/>
                  <a:gd name="T14" fmla="*/ 440 w 486"/>
                  <a:gd name="T15" fmla="*/ 157 h 492"/>
                  <a:gd name="T16" fmla="*/ 434 w 486"/>
                  <a:gd name="T17" fmla="*/ 109 h 492"/>
                  <a:gd name="T18" fmla="*/ 401 w 486"/>
                  <a:gd name="T19" fmla="*/ 75 h 492"/>
                  <a:gd name="T20" fmla="*/ 342 w 486"/>
                  <a:gd name="T21" fmla="*/ 54 h 492"/>
                  <a:gd name="T22" fmla="*/ 279 w 486"/>
                  <a:gd name="T23" fmla="*/ 54 h 492"/>
                  <a:gd name="T24" fmla="*/ 246 w 486"/>
                  <a:gd name="T25" fmla="*/ 81 h 492"/>
                  <a:gd name="T26" fmla="*/ 236 w 486"/>
                  <a:gd name="T27" fmla="*/ 104 h 492"/>
                  <a:gd name="T28" fmla="*/ 204 w 486"/>
                  <a:gd name="T29" fmla="*/ 109 h 492"/>
                  <a:gd name="T30" fmla="*/ 150 w 486"/>
                  <a:gd name="T31" fmla="*/ 86 h 492"/>
                  <a:gd name="T32" fmla="*/ 137 w 486"/>
                  <a:gd name="T33" fmla="*/ 88 h 492"/>
                  <a:gd name="T34" fmla="*/ 125 w 486"/>
                  <a:gd name="T35" fmla="*/ 71 h 492"/>
                  <a:gd name="T36" fmla="*/ 114 w 486"/>
                  <a:gd name="T37" fmla="*/ 42 h 492"/>
                  <a:gd name="T38" fmla="*/ 100 w 486"/>
                  <a:gd name="T39" fmla="*/ 25 h 492"/>
                  <a:gd name="T40" fmla="*/ 110 w 486"/>
                  <a:gd name="T41" fmla="*/ 13 h 492"/>
                  <a:gd name="T42" fmla="*/ 100 w 486"/>
                  <a:gd name="T43" fmla="*/ 0 h 492"/>
                  <a:gd name="T44" fmla="*/ 83 w 486"/>
                  <a:gd name="T45" fmla="*/ 11 h 492"/>
                  <a:gd name="T46" fmla="*/ 48 w 486"/>
                  <a:gd name="T47" fmla="*/ 31 h 492"/>
                  <a:gd name="T48" fmla="*/ 29 w 486"/>
                  <a:gd name="T49" fmla="*/ 9 h 492"/>
                  <a:gd name="T50" fmla="*/ 19 w 486"/>
                  <a:gd name="T51" fmla="*/ 15 h 492"/>
                  <a:gd name="T52" fmla="*/ 2 w 486"/>
                  <a:gd name="T53" fmla="*/ 21 h 492"/>
                  <a:gd name="T54" fmla="*/ 4 w 486"/>
                  <a:gd name="T55" fmla="*/ 44 h 492"/>
                  <a:gd name="T56" fmla="*/ 8 w 486"/>
                  <a:gd name="T57" fmla="*/ 67 h 492"/>
                  <a:gd name="T58" fmla="*/ 12 w 486"/>
                  <a:gd name="T59" fmla="*/ 90 h 492"/>
                  <a:gd name="T60" fmla="*/ 16 w 486"/>
                  <a:gd name="T61" fmla="*/ 109 h 492"/>
                  <a:gd name="T62" fmla="*/ 19 w 486"/>
                  <a:gd name="T63" fmla="*/ 123 h 492"/>
                  <a:gd name="T64" fmla="*/ 29 w 486"/>
                  <a:gd name="T65" fmla="*/ 132 h 492"/>
                  <a:gd name="T66" fmla="*/ 46 w 486"/>
                  <a:gd name="T67" fmla="*/ 140 h 492"/>
                  <a:gd name="T68" fmla="*/ 54 w 486"/>
                  <a:gd name="T69" fmla="*/ 148 h 492"/>
                  <a:gd name="T70" fmla="*/ 50 w 486"/>
                  <a:gd name="T71" fmla="*/ 163 h 492"/>
                  <a:gd name="T72" fmla="*/ 37 w 486"/>
                  <a:gd name="T73" fmla="*/ 180 h 492"/>
                  <a:gd name="T74" fmla="*/ 50 w 486"/>
                  <a:gd name="T75" fmla="*/ 209 h 492"/>
                  <a:gd name="T76" fmla="*/ 75 w 486"/>
                  <a:gd name="T77" fmla="*/ 234 h 492"/>
                  <a:gd name="T78" fmla="*/ 89 w 486"/>
                  <a:gd name="T79" fmla="*/ 244 h 492"/>
                  <a:gd name="T80" fmla="*/ 102 w 486"/>
                  <a:gd name="T81" fmla="*/ 265 h 492"/>
                  <a:gd name="T82" fmla="*/ 114 w 486"/>
                  <a:gd name="T83" fmla="*/ 296 h 492"/>
                  <a:gd name="T84" fmla="*/ 133 w 486"/>
                  <a:gd name="T85" fmla="*/ 325 h 492"/>
                  <a:gd name="T86" fmla="*/ 152 w 486"/>
                  <a:gd name="T87" fmla="*/ 319 h 492"/>
                  <a:gd name="T88" fmla="*/ 179 w 486"/>
                  <a:gd name="T89" fmla="*/ 373 h 492"/>
                  <a:gd name="T90" fmla="*/ 183 w 486"/>
                  <a:gd name="T91" fmla="*/ 386 h 492"/>
                  <a:gd name="T92" fmla="*/ 194 w 486"/>
                  <a:gd name="T93" fmla="*/ 405 h 492"/>
                  <a:gd name="T94" fmla="*/ 204 w 486"/>
                  <a:gd name="T95" fmla="*/ 419 h 492"/>
                  <a:gd name="T96" fmla="*/ 257 w 486"/>
                  <a:gd name="T97" fmla="*/ 446 h 492"/>
                  <a:gd name="T98" fmla="*/ 305 w 486"/>
                  <a:gd name="T99" fmla="*/ 426 h 492"/>
                  <a:gd name="T100" fmla="*/ 313 w 486"/>
                  <a:gd name="T101" fmla="*/ 426 h 492"/>
                  <a:gd name="T102" fmla="*/ 332 w 486"/>
                  <a:gd name="T103" fmla="*/ 469 h 492"/>
                  <a:gd name="T104" fmla="*/ 417 w 486"/>
                  <a:gd name="T105" fmla="*/ 490 h 49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86"/>
                  <a:gd name="T160" fmla="*/ 0 h 492"/>
                  <a:gd name="T161" fmla="*/ 486 w 486"/>
                  <a:gd name="T162" fmla="*/ 492 h 49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86" h="492">
                    <a:moveTo>
                      <a:pt x="426" y="492"/>
                    </a:moveTo>
                    <a:lnTo>
                      <a:pt x="430" y="465"/>
                    </a:lnTo>
                    <a:lnTo>
                      <a:pt x="447" y="444"/>
                    </a:lnTo>
                    <a:lnTo>
                      <a:pt x="461" y="438"/>
                    </a:lnTo>
                    <a:lnTo>
                      <a:pt x="476" y="434"/>
                    </a:lnTo>
                    <a:lnTo>
                      <a:pt x="486" y="426"/>
                    </a:lnTo>
                    <a:lnTo>
                      <a:pt x="486" y="417"/>
                    </a:lnTo>
                    <a:lnTo>
                      <a:pt x="474" y="411"/>
                    </a:lnTo>
                    <a:lnTo>
                      <a:pt x="474" y="396"/>
                    </a:lnTo>
                    <a:lnTo>
                      <a:pt x="465" y="384"/>
                    </a:lnTo>
                    <a:lnTo>
                      <a:pt x="455" y="382"/>
                    </a:lnTo>
                    <a:lnTo>
                      <a:pt x="444" y="367"/>
                    </a:lnTo>
                    <a:lnTo>
                      <a:pt x="440" y="357"/>
                    </a:lnTo>
                    <a:lnTo>
                      <a:pt x="444" y="352"/>
                    </a:lnTo>
                    <a:lnTo>
                      <a:pt x="434" y="325"/>
                    </a:lnTo>
                    <a:lnTo>
                      <a:pt x="461" y="294"/>
                    </a:lnTo>
                    <a:lnTo>
                      <a:pt x="461" y="284"/>
                    </a:lnTo>
                    <a:lnTo>
                      <a:pt x="455" y="279"/>
                    </a:lnTo>
                    <a:lnTo>
                      <a:pt x="432" y="277"/>
                    </a:lnTo>
                    <a:lnTo>
                      <a:pt x="432" y="269"/>
                    </a:lnTo>
                    <a:lnTo>
                      <a:pt x="430" y="255"/>
                    </a:lnTo>
                    <a:lnTo>
                      <a:pt x="424" y="242"/>
                    </a:lnTo>
                    <a:lnTo>
                      <a:pt x="417" y="230"/>
                    </a:lnTo>
                    <a:lnTo>
                      <a:pt x="415" y="219"/>
                    </a:lnTo>
                    <a:lnTo>
                      <a:pt x="423" y="211"/>
                    </a:lnTo>
                    <a:lnTo>
                      <a:pt x="417" y="205"/>
                    </a:lnTo>
                    <a:lnTo>
                      <a:pt x="415" y="200"/>
                    </a:lnTo>
                    <a:lnTo>
                      <a:pt x="417" y="180"/>
                    </a:lnTo>
                    <a:lnTo>
                      <a:pt x="423" y="171"/>
                    </a:lnTo>
                    <a:lnTo>
                      <a:pt x="428" y="167"/>
                    </a:lnTo>
                    <a:lnTo>
                      <a:pt x="438" y="165"/>
                    </a:lnTo>
                    <a:lnTo>
                      <a:pt x="440" y="157"/>
                    </a:lnTo>
                    <a:lnTo>
                      <a:pt x="451" y="134"/>
                    </a:lnTo>
                    <a:lnTo>
                      <a:pt x="447" y="123"/>
                    </a:lnTo>
                    <a:lnTo>
                      <a:pt x="447" y="111"/>
                    </a:lnTo>
                    <a:lnTo>
                      <a:pt x="434" y="109"/>
                    </a:lnTo>
                    <a:lnTo>
                      <a:pt x="428" y="98"/>
                    </a:lnTo>
                    <a:lnTo>
                      <a:pt x="423" y="88"/>
                    </a:lnTo>
                    <a:lnTo>
                      <a:pt x="415" y="82"/>
                    </a:lnTo>
                    <a:lnTo>
                      <a:pt x="401" y="75"/>
                    </a:lnTo>
                    <a:lnTo>
                      <a:pt x="384" y="67"/>
                    </a:lnTo>
                    <a:lnTo>
                      <a:pt x="367" y="58"/>
                    </a:lnTo>
                    <a:lnTo>
                      <a:pt x="359" y="56"/>
                    </a:lnTo>
                    <a:lnTo>
                      <a:pt x="342" y="54"/>
                    </a:lnTo>
                    <a:lnTo>
                      <a:pt x="315" y="48"/>
                    </a:lnTo>
                    <a:lnTo>
                      <a:pt x="302" y="52"/>
                    </a:lnTo>
                    <a:lnTo>
                      <a:pt x="292" y="56"/>
                    </a:lnTo>
                    <a:lnTo>
                      <a:pt x="279" y="54"/>
                    </a:lnTo>
                    <a:lnTo>
                      <a:pt x="267" y="65"/>
                    </a:lnTo>
                    <a:lnTo>
                      <a:pt x="265" y="71"/>
                    </a:lnTo>
                    <a:lnTo>
                      <a:pt x="259" y="81"/>
                    </a:lnTo>
                    <a:lnTo>
                      <a:pt x="246" y="81"/>
                    </a:lnTo>
                    <a:lnTo>
                      <a:pt x="244" y="100"/>
                    </a:lnTo>
                    <a:lnTo>
                      <a:pt x="244" y="109"/>
                    </a:lnTo>
                    <a:lnTo>
                      <a:pt x="238" y="106"/>
                    </a:lnTo>
                    <a:lnTo>
                      <a:pt x="236" y="104"/>
                    </a:lnTo>
                    <a:lnTo>
                      <a:pt x="236" y="102"/>
                    </a:lnTo>
                    <a:lnTo>
                      <a:pt x="225" y="102"/>
                    </a:lnTo>
                    <a:lnTo>
                      <a:pt x="215" y="106"/>
                    </a:lnTo>
                    <a:lnTo>
                      <a:pt x="204" y="109"/>
                    </a:lnTo>
                    <a:lnTo>
                      <a:pt x="186" y="109"/>
                    </a:lnTo>
                    <a:lnTo>
                      <a:pt x="175" y="104"/>
                    </a:lnTo>
                    <a:lnTo>
                      <a:pt x="156" y="88"/>
                    </a:lnTo>
                    <a:lnTo>
                      <a:pt x="150" y="86"/>
                    </a:lnTo>
                    <a:lnTo>
                      <a:pt x="148" y="86"/>
                    </a:lnTo>
                    <a:lnTo>
                      <a:pt x="144" y="84"/>
                    </a:lnTo>
                    <a:lnTo>
                      <a:pt x="142" y="86"/>
                    </a:lnTo>
                    <a:lnTo>
                      <a:pt x="137" y="88"/>
                    </a:lnTo>
                    <a:lnTo>
                      <a:pt x="135" y="86"/>
                    </a:lnTo>
                    <a:lnTo>
                      <a:pt x="133" y="82"/>
                    </a:lnTo>
                    <a:lnTo>
                      <a:pt x="129" y="82"/>
                    </a:lnTo>
                    <a:lnTo>
                      <a:pt x="125" y="71"/>
                    </a:lnTo>
                    <a:lnTo>
                      <a:pt x="121" y="56"/>
                    </a:lnTo>
                    <a:lnTo>
                      <a:pt x="117" y="48"/>
                    </a:lnTo>
                    <a:lnTo>
                      <a:pt x="114" y="44"/>
                    </a:lnTo>
                    <a:lnTo>
                      <a:pt x="114" y="42"/>
                    </a:lnTo>
                    <a:lnTo>
                      <a:pt x="112" y="40"/>
                    </a:lnTo>
                    <a:lnTo>
                      <a:pt x="110" y="36"/>
                    </a:lnTo>
                    <a:lnTo>
                      <a:pt x="100" y="27"/>
                    </a:lnTo>
                    <a:lnTo>
                      <a:pt x="100" y="25"/>
                    </a:lnTo>
                    <a:lnTo>
                      <a:pt x="98" y="21"/>
                    </a:lnTo>
                    <a:lnTo>
                      <a:pt x="100" y="15"/>
                    </a:lnTo>
                    <a:lnTo>
                      <a:pt x="106" y="13"/>
                    </a:lnTo>
                    <a:lnTo>
                      <a:pt x="110" y="13"/>
                    </a:lnTo>
                    <a:lnTo>
                      <a:pt x="110" y="11"/>
                    </a:lnTo>
                    <a:lnTo>
                      <a:pt x="106" y="4"/>
                    </a:lnTo>
                    <a:lnTo>
                      <a:pt x="104" y="2"/>
                    </a:lnTo>
                    <a:lnTo>
                      <a:pt x="100" y="0"/>
                    </a:lnTo>
                    <a:lnTo>
                      <a:pt x="96" y="0"/>
                    </a:lnTo>
                    <a:lnTo>
                      <a:pt x="94" y="6"/>
                    </a:lnTo>
                    <a:lnTo>
                      <a:pt x="89" y="8"/>
                    </a:lnTo>
                    <a:lnTo>
                      <a:pt x="83" y="11"/>
                    </a:lnTo>
                    <a:lnTo>
                      <a:pt x="79" y="17"/>
                    </a:lnTo>
                    <a:lnTo>
                      <a:pt x="71" y="25"/>
                    </a:lnTo>
                    <a:lnTo>
                      <a:pt x="60" y="31"/>
                    </a:lnTo>
                    <a:lnTo>
                      <a:pt x="48" y="31"/>
                    </a:lnTo>
                    <a:lnTo>
                      <a:pt x="41" y="27"/>
                    </a:lnTo>
                    <a:lnTo>
                      <a:pt x="37" y="19"/>
                    </a:lnTo>
                    <a:lnTo>
                      <a:pt x="33" y="15"/>
                    </a:lnTo>
                    <a:lnTo>
                      <a:pt x="29" y="9"/>
                    </a:lnTo>
                    <a:lnTo>
                      <a:pt x="27" y="8"/>
                    </a:lnTo>
                    <a:lnTo>
                      <a:pt x="27" y="6"/>
                    </a:lnTo>
                    <a:lnTo>
                      <a:pt x="21" y="15"/>
                    </a:lnTo>
                    <a:lnTo>
                      <a:pt x="19" y="15"/>
                    </a:lnTo>
                    <a:lnTo>
                      <a:pt x="18" y="13"/>
                    </a:lnTo>
                    <a:lnTo>
                      <a:pt x="10" y="9"/>
                    </a:lnTo>
                    <a:lnTo>
                      <a:pt x="10" y="13"/>
                    </a:lnTo>
                    <a:lnTo>
                      <a:pt x="2" y="21"/>
                    </a:lnTo>
                    <a:lnTo>
                      <a:pt x="2" y="25"/>
                    </a:lnTo>
                    <a:lnTo>
                      <a:pt x="6" y="29"/>
                    </a:lnTo>
                    <a:lnTo>
                      <a:pt x="6" y="40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2" y="61"/>
                    </a:lnTo>
                    <a:lnTo>
                      <a:pt x="8" y="67"/>
                    </a:lnTo>
                    <a:lnTo>
                      <a:pt x="12" y="75"/>
                    </a:lnTo>
                    <a:lnTo>
                      <a:pt x="14" y="81"/>
                    </a:lnTo>
                    <a:lnTo>
                      <a:pt x="14" y="86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4" y="100"/>
                    </a:lnTo>
                    <a:lnTo>
                      <a:pt x="16" y="104"/>
                    </a:lnTo>
                    <a:lnTo>
                      <a:pt x="16" y="109"/>
                    </a:lnTo>
                    <a:lnTo>
                      <a:pt x="14" y="113"/>
                    </a:lnTo>
                    <a:lnTo>
                      <a:pt x="19" y="117"/>
                    </a:lnTo>
                    <a:lnTo>
                      <a:pt x="18" y="121"/>
                    </a:lnTo>
                    <a:lnTo>
                      <a:pt x="19" y="123"/>
                    </a:lnTo>
                    <a:lnTo>
                      <a:pt x="23" y="125"/>
                    </a:lnTo>
                    <a:lnTo>
                      <a:pt x="23" y="131"/>
                    </a:lnTo>
                    <a:lnTo>
                      <a:pt x="25" y="132"/>
                    </a:lnTo>
                    <a:lnTo>
                      <a:pt x="29" y="132"/>
                    </a:lnTo>
                    <a:lnTo>
                      <a:pt x="31" y="136"/>
                    </a:lnTo>
                    <a:lnTo>
                      <a:pt x="39" y="136"/>
                    </a:lnTo>
                    <a:lnTo>
                      <a:pt x="41" y="138"/>
                    </a:lnTo>
                    <a:lnTo>
                      <a:pt x="46" y="140"/>
                    </a:lnTo>
                    <a:lnTo>
                      <a:pt x="58" y="140"/>
                    </a:lnTo>
                    <a:lnTo>
                      <a:pt x="62" y="144"/>
                    </a:lnTo>
                    <a:lnTo>
                      <a:pt x="60" y="146"/>
                    </a:lnTo>
                    <a:lnTo>
                      <a:pt x="54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50" y="157"/>
                    </a:lnTo>
                    <a:lnTo>
                      <a:pt x="50" y="163"/>
                    </a:lnTo>
                    <a:lnTo>
                      <a:pt x="48" y="167"/>
                    </a:lnTo>
                    <a:lnTo>
                      <a:pt x="41" y="167"/>
                    </a:lnTo>
                    <a:lnTo>
                      <a:pt x="41" y="177"/>
                    </a:lnTo>
                    <a:lnTo>
                      <a:pt x="37" y="180"/>
                    </a:lnTo>
                    <a:lnTo>
                      <a:pt x="37" y="182"/>
                    </a:lnTo>
                    <a:lnTo>
                      <a:pt x="42" y="194"/>
                    </a:lnTo>
                    <a:lnTo>
                      <a:pt x="46" y="200"/>
                    </a:lnTo>
                    <a:lnTo>
                      <a:pt x="50" y="209"/>
                    </a:lnTo>
                    <a:lnTo>
                      <a:pt x="56" y="217"/>
                    </a:lnTo>
                    <a:lnTo>
                      <a:pt x="64" y="221"/>
                    </a:lnTo>
                    <a:lnTo>
                      <a:pt x="71" y="227"/>
                    </a:lnTo>
                    <a:lnTo>
                      <a:pt x="75" y="234"/>
                    </a:lnTo>
                    <a:lnTo>
                      <a:pt x="75" y="238"/>
                    </a:lnTo>
                    <a:lnTo>
                      <a:pt x="71" y="242"/>
                    </a:lnTo>
                    <a:lnTo>
                      <a:pt x="85" y="242"/>
                    </a:lnTo>
                    <a:lnTo>
                      <a:pt x="89" y="244"/>
                    </a:lnTo>
                    <a:lnTo>
                      <a:pt x="90" y="250"/>
                    </a:lnTo>
                    <a:lnTo>
                      <a:pt x="92" y="254"/>
                    </a:lnTo>
                    <a:lnTo>
                      <a:pt x="96" y="259"/>
                    </a:lnTo>
                    <a:lnTo>
                      <a:pt x="102" y="265"/>
                    </a:lnTo>
                    <a:lnTo>
                      <a:pt x="104" y="271"/>
                    </a:lnTo>
                    <a:lnTo>
                      <a:pt x="104" y="288"/>
                    </a:lnTo>
                    <a:lnTo>
                      <a:pt x="106" y="296"/>
                    </a:lnTo>
                    <a:lnTo>
                      <a:pt x="114" y="296"/>
                    </a:lnTo>
                    <a:lnTo>
                      <a:pt x="114" y="309"/>
                    </a:lnTo>
                    <a:lnTo>
                      <a:pt x="117" y="315"/>
                    </a:lnTo>
                    <a:lnTo>
                      <a:pt x="125" y="319"/>
                    </a:lnTo>
                    <a:lnTo>
                      <a:pt x="133" y="325"/>
                    </a:lnTo>
                    <a:lnTo>
                      <a:pt x="140" y="327"/>
                    </a:lnTo>
                    <a:lnTo>
                      <a:pt x="142" y="325"/>
                    </a:lnTo>
                    <a:lnTo>
                      <a:pt x="148" y="321"/>
                    </a:lnTo>
                    <a:lnTo>
                      <a:pt x="152" y="319"/>
                    </a:lnTo>
                    <a:lnTo>
                      <a:pt x="158" y="336"/>
                    </a:lnTo>
                    <a:lnTo>
                      <a:pt x="163" y="352"/>
                    </a:lnTo>
                    <a:lnTo>
                      <a:pt x="171" y="369"/>
                    </a:lnTo>
                    <a:lnTo>
                      <a:pt x="179" y="373"/>
                    </a:lnTo>
                    <a:lnTo>
                      <a:pt x="179" y="377"/>
                    </a:lnTo>
                    <a:lnTo>
                      <a:pt x="177" y="382"/>
                    </a:lnTo>
                    <a:lnTo>
                      <a:pt x="179" y="384"/>
                    </a:lnTo>
                    <a:lnTo>
                      <a:pt x="183" y="386"/>
                    </a:lnTo>
                    <a:lnTo>
                      <a:pt x="186" y="386"/>
                    </a:lnTo>
                    <a:lnTo>
                      <a:pt x="190" y="388"/>
                    </a:lnTo>
                    <a:lnTo>
                      <a:pt x="190" y="403"/>
                    </a:lnTo>
                    <a:lnTo>
                      <a:pt x="194" y="405"/>
                    </a:lnTo>
                    <a:lnTo>
                      <a:pt x="200" y="409"/>
                    </a:lnTo>
                    <a:lnTo>
                      <a:pt x="204" y="411"/>
                    </a:lnTo>
                    <a:lnTo>
                      <a:pt x="206" y="415"/>
                    </a:lnTo>
                    <a:lnTo>
                      <a:pt x="204" y="419"/>
                    </a:lnTo>
                    <a:lnTo>
                      <a:pt x="204" y="423"/>
                    </a:lnTo>
                    <a:lnTo>
                      <a:pt x="225" y="438"/>
                    </a:lnTo>
                    <a:lnTo>
                      <a:pt x="240" y="444"/>
                    </a:lnTo>
                    <a:lnTo>
                      <a:pt x="257" y="446"/>
                    </a:lnTo>
                    <a:lnTo>
                      <a:pt x="267" y="446"/>
                    </a:lnTo>
                    <a:lnTo>
                      <a:pt x="279" y="440"/>
                    </a:lnTo>
                    <a:lnTo>
                      <a:pt x="292" y="434"/>
                    </a:lnTo>
                    <a:lnTo>
                      <a:pt x="305" y="426"/>
                    </a:lnTo>
                    <a:lnTo>
                      <a:pt x="304" y="425"/>
                    </a:lnTo>
                    <a:lnTo>
                      <a:pt x="305" y="423"/>
                    </a:lnTo>
                    <a:lnTo>
                      <a:pt x="309" y="423"/>
                    </a:lnTo>
                    <a:lnTo>
                      <a:pt x="313" y="426"/>
                    </a:lnTo>
                    <a:lnTo>
                      <a:pt x="325" y="434"/>
                    </a:lnTo>
                    <a:lnTo>
                      <a:pt x="327" y="446"/>
                    </a:lnTo>
                    <a:lnTo>
                      <a:pt x="327" y="459"/>
                    </a:lnTo>
                    <a:lnTo>
                      <a:pt x="332" y="469"/>
                    </a:lnTo>
                    <a:lnTo>
                      <a:pt x="357" y="480"/>
                    </a:lnTo>
                    <a:lnTo>
                      <a:pt x="409" y="480"/>
                    </a:lnTo>
                    <a:lnTo>
                      <a:pt x="413" y="484"/>
                    </a:lnTo>
                    <a:lnTo>
                      <a:pt x="417" y="490"/>
                    </a:lnTo>
                    <a:lnTo>
                      <a:pt x="421" y="492"/>
                    </a:lnTo>
                    <a:lnTo>
                      <a:pt x="426" y="49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3" name="Freeform 171"/>
              <p:cNvSpPr>
                <a:spLocks/>
              </p:cNvSpPr>
              <p:nvPr/>
            </p:nvSpPr>
            <p:spPr bwMode="gray">
              <a:xfrm>
                <a:off x="4213" y="2690"/>
                <a:ext cx="137" cy="178"/>
              </a:xfrm>
              <a:custGeom>
                <a:avLst/>
                <a:gdLst>
                  <a:gd name="T0" fmla="*/ 2 w 275"/>
                  <a:gd name="T1" fmla="*/ 4 h 356"/>
                  <a:gd name="T2" fmla="*/ 0 w 275"/>
                  <a:gd name="T3" fmla="*/ 18 h 356"/>
                  <a:gd name="T4" fmla="*/ 29 w 275"/>
                  <a:gd name="T5" fmla="*/ 54 h 356"/>
                  <a:gd name="T6" fmla="*/ 54 w 275"/>
                  <a:gd name="T7" fmla="*/ 83 h 356"/>
                  <a:gd name="T8" fmla="*/ 67 w 275"/>
                  <a:gd name="T9" fmla="*/ 112 h 356"/>
                  <a:gd name="T10" fmla="*/ 88 w 275"/>
                  <a:gd name="T11" fmla="*/ 121 h 356"/>
                  <a:gd name="T12" fmla="*/ 98 w 275"/>
                  <a:gd name="T13" fmla="*/ 141 h 356"/>
                  <a:gd name="T14" fmla="*/ 102 w 275"/>
                  <a:gd name="T15" fmla="*/ 171 h 356"/>
                  <a:gd name="T16" fmla="*/ 134 w 275"/>
                  <a:gd name="T17" fmla="*/ 202 h 356"/>
                  <a:gd name="T18" fmla="*/ 152 w 275"/>
                  <a:gd name="T19" fmla="*/ 246 h 356"/>
                  <a:gd name="T20" fmla="*/ 165 w 275"/>
                  <a:gd name="T21" fmla="*/ 273 h 356"/>
                  <a:gd name="T22" fmla="*/ 182 w 275"/>
                  <a:gd name="T23" fmla="*/ 300 h 356"/>
                  <a:gd name="T24" fmla="*/ 196 w 275"/>
                  <a:gd name="T25" fmla="*/ 329 h 356"/>
                  <a:gd name="T26" fmla="*/ 209 w 275"/>
                  <a:gd name="T27" fmla="*/ 335 h 356"/>
                  <a:gd name="T28" fmla="*/ 219 w 275"/>
                  <a:gd name="T29" fmla="*/ 346 h 356"/>
                  <a:gd name="T30" fmla="*/ 234 w 275"/>
                  <a:gd name="T31" fmla="*/ 354 h 356"/>
                  <a:gd name="T32" fmla="*/ 240 w 275"/>
                  <a:gd name="T33" fmla="*/ 354 h 356"/>
                  <a:gd name="T34" fmla="*/ 246 w 275"/>
                  <a:gd name="T35" fmla="*/ 346 h 356"/>
                  <a:gd name="T36" fmla="*/ 259 w 275"/>
                  <a:gd name="T37" fmla="*/ 348 h 356"/>
                  <a:gd name="T38" fmla="*/ 269 w 275"/>
                  <a:gd name="T39" fmla="*/ 335 h 356"/>
                  <a:gd name="T40" fmla="*/ 261 w 275"/>
                  <a:gd name="T41" fmla="*/ 313 h 356"/>
                  <a:gd name="T42" fmla="*/ 271 w 275"/>
                  <a:gd name="T43" fmla="*/ 306 h 356"/>
                  <a:gd name="T44" fmla="*/ 275 w 275"/>
                  <a:gd name="T45" fmla="*/ 288 h 356"/>
                  <a:gd name="T46" fmla="*/ 267 w 275"/>
                  <a:gd name="T47" fmla="*/ 275 h 356"/>
                  <a:gd name="T48" fmla="*/ 265 w 275"/>
                  <a:gd name="T49" fmla="*/ 256 h 356"/>
                  <a:gd name="T50" fmla="*/ 248 w 275"/>
                  <a:gd name="T51" fmla="*/ 258 h 356"/>
                  <a:gd name="T52" fmla="*/ 236 w 275"/>
                  <a:gd name="T53" fmla="*/ 246 h 356"/>
                  <a:gd name="T54" fmla="*/ 238 w 275"/>
                  <a:gd name="T55" fmla="*/ 217 h 356"/>
                  <a:gd name="T56" fmla="*/ 211 w 275"/>
                  <a:gd name="T57" fmla="*/ 215 h 356"/>
                  <a:gd name="T58" fmla="*/ 213 w 275"/>
                  <a:gd name="T59" fmla="*/ 198 h 356"/>
                  <a:gd name="T60" fmla="*/ 219 w 275"/>
                  <a:gd name="T61" fmla="*/ 202 h 356"/>
                  <a:gd name="T62" fmla="*/ 217 w 275"/>
                  <a:gd name="T63" fmla="*/ 185 h 356"/>
                  <a:gd name="T64" fmla="*/ 211 w 275"/>
                  <a:gd name="T65" fmla="*/ 173 h 356"/>
                  <a:gd name="T66" fmla="*/ 204 w 275"/>
                  <a:gd name="T67" fmla="*/ 167 h 356"/>
                  <a:gd name="T68" fmla="*/ 196 w 275"/>
                  <a:gd name="T69" fmla="*/ 162 h 356"/>
                  <a:gd name="T70" fmla="*/ 198 w 275"/>
                  <a:gd name="T71" fmla="*/ 152 h 356"/>
                  <a:gd name="T72" fmla="*/ 194 w 275"/>
                  <a:gd name="T73" fmla="*/ 150 h 356"/>
                  <a:gd name="T74" fmla="*/ 181 w 275"/>
                  <a:gd name="T75" fmla="*/ 162 h 356"/>
                  <a:gd name="T76" fmla="*/ 179 w 275"/>
                  <a:gd name="T77" fmla="*/ 144 h 356"/>
                  <a:gd name="T78" fmla="*/ 171 w 275"/>
                  <a:gd name="T79" fmla="*/ 135 h 356"/>
                  <a:gd name="T80" fmla="*/ 161 w 275"/>
                  <a:gd name="T81" fmla="*/ 129 h 356"/>
                  <a:gd name="T82" fmla="*/ 156 w 275"/>
                  <a:gd name="T83" fmla="*/ 116 h 356"/>
                  <a:gd name="T84" fmla="*/ 150 w 275"/>
                  <a:gd name="T85" fmla="*/ 110 h 356"/>
                  <a:gd name="T86" fmla="*/ 148 w 275"/>
                  <a:gd name="T87" fmla="*/ 119 h 356"/>
                  <a:gd name="T88" fmla="*/ 138 w 275"/>
                  <a:gd name="T89" fmla="*/ 112 h 356"/>
                  <a:gd name="T90" fmla="*/ 133 w 275"/>
                  <a:gd name="T91" fmla="*/ 100 h 356"/>
                  <a:gd name="T92" fmla="*/ 134 w 275"/>
                  <a:gd name="T93" fmla="*/ 89 h 356"/>
                  <a:gd name="T94" fmla="*/ 125 w 275"/>
                  <a:gd name="T95" fmla="*/ 89 h 356"/>
                  <a:gd name="T96" fmla="*/ 121 w 275"/>
                  <a:gd name="T97" fmla="*/ 77 h 356"/>
                  <a:gd name="T98" fmla="*/ 108 w 275"/>
                  <a:gd name="T99" fmla="*/ 71 h 356"/>
                  <a:gd name="T100" fmla="*/ 102 w 275"/>
                  <a:gd name="T101" fmla="*/ 64 h 356"/>
                  <a:gd name="T102" fmla="*/ 100 w 275"/>
                  <a:gd name="T103" fmla="*/ 52 h 356"/>
                  <a:gd name="T104" fmla="*/ 75 w 275"/>
                  <a:gd name="T105" fmla="*/ 39 h 356"/>
                  <a:gd name="T106" fmla="*/ 71 w 275"/>
                  <a:gd name="T107" fmla="*/ 21 h 356"/>
                  <a:gd name="T108" fmla="*/ 56 w 275"/>
                  <a:gd name="T109" fmla="*/ 12 h 356"/>
                  <a:gd name="T110" fmla="*/ 25 w 275"/>
                  <a:gd name="T111" fmla="*/ 8 h 356"/>
                  <a:gd name="T112" fmla="*/ 19 w 275"/>
                  <a:gd name="T113" fmla="*/ 0 h 35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75"/>
                  <a:gd name="T172" fmla="*/ 0 h 356"/>
                  <a:gd name="T173" fmla="*/ 275 w 275"/>
                  <a:gd name="T174" fmla="*/ 356 h 35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75" h="356">
                    <a:moveTo>
                      <a:pt x="4" y="0"/>
                    </a:moveTo>
                    <a:lnTo>
                      <a:pt x="2" y="4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10" y="37"/>
                    </a:lnTo>
                    <a:lnTo>
                      <a:pt x="29" y="54"/>
                    </a:lnTo>
                    <a:lnTo>
                      <a:pt x="46" y="69"/>
                    </a:lnTo>
                    <a:lnTo>
                      <a:pt x="54" y="83"/>
                    </a:lnTo>
                    <a:lnTo>
                      <a:pt x="60" y="96"/>
                    </a:lnTo>
                    <a:lnTo>
                      <a:pt x="67" y="112"/>
                    </a:lnTo>
                    <a:lnTo>
                      <a:pt x="77" y="116"/>
                    </a:lnTo>
                    <a:lnTo>
                      <a:pt x="88" y="121"/>
                    </a:lnTo>
                    <a:lnTo>
                      <a:pt x="94" y="125"/>
                    </a:lnTo>
                    <a:lnTo>
                      <a:pt x="98" y="141"/>
                    </a:lnTo>
                    <a:lnTo>
                      <a:pt x="100" y="158"/>
                    </a:lnTo>
                    <a:lnTo>
                      <a:pt x="102" y="171"/>
                    </a:lnTo>
                    <a:lnTo>
                      <a:pt x="111" y="183"/>
                    </a:lnTo>
                    <a:lnTo>
                      <a:pt x="134" y="202"/>
                    </a:lnTo>
                    <a:lnTo>
                      <a:pt x="144" y="223"/>
                    </a:lnTo>
                    <a:lnTo>
                      <a:pt x="152" y="246"/>
                    </a:lnTo>
                    <a:lnTo>
                      <a:pt x="161" y="267"/>
                    </a:lnTo>
                    <a:lnTo>
                      <a:pt x="165" y="273"/>
                    </a:lnTo>
                    <a:lnTo>
                      <a:pt x="175" y="283"/>
                    </a:lnTo>
                    <a:lnTo>
                      <a:pt x="182" y="300"/>
                    </a:lnTo>
                    <a:lnTo>
                      <a:pt x="186" y="317"/>
                    </a:lnTo>
                    <a:lnTo>
                      <a:pt x="196" y="329"/>
                    </a:lnTo>
                    <a:lnTo>
                      <a:pt x="202" y="333"/>
                    </a:lnTo>
                    <a:lnTo>
                      <a:pt x="209" y="335"/>
                    </a:lnTo>
                    <a:lnTo>
                      <a:pt x="219" y="337"/>
                    </a:lnTo>
                    <a:lnTo>
                      <a:pt x="219" y="346"/>
                    </a:lnTo>
                    <a:lnTo>
                      <a:pt x="225" y="350"/>
                    </a:lnTo>
                    <a:lnTo>
                      <a:pt x="234" y="354"/>
                    </a:lnTo>
                    <a:lnTo>
                      <a:pt x="242" y="356"/>
                    </a:lnTo>
                    <a:lnTo>
                      <a:pt x="240" y="354"/>
                    </a:lnTo>
                    <a:lnTo>
                      <a:pt x="240" y="350"/>
                    </a:lnTo>
                    <a:lnTo>
                      <a:pt x="246" y="346"/>
                    </a:lnTo>
                    <a:lnTo>
                      <a:pt x="250" y="346"/>
                    </a:lnTo>
                    <a:lnTo>
                      <a:pt x="259" y="348"/>
                    </a:lnTo>
                    <a:lnTo>
                      <a:pt x="269" y="348"/>
                    </a:lnTo>
                    <a:lnTo>
                      <a:pt x="269" y="335"/>
                    </a:lnTo>
                    <a:lnTo>
                      <a:pt x="267" y="323"/>
                    </a:lnTo>
                    <a:lnTo>
                      <a:pt x="261" y="313"/>
                    </a:lnTo>
                    <a:lnTo>
                      <a:pt x="261" y="310"/>
                    </a:lnTo>
                    <a:lnTo>
                      <a:pt x="271" y="306"/>
                    </a:lnTo>
                    <a:lnTo>
                      <a:pt x="273" y="298"/>
                    </a:lnTo>
                    <a:lnTo>
                      <a:pt x="275" y="288"/>
                    </a:lnTo>
                    <a:lnTo>
                      <a:pt x="275" y="283"/>
                    </a:lnTo>
                    <a:lnTo>
                      <a:pt x="267" y="275"/>
                    </a:lnTo>
                    <a:lnTo>
                      <a:pt x="265" y="271"/>
                    </a:lnTo>
                    <a:lnTo>
                      <a:pt x="265" y="256"/>
                    </a:lnTo>
                    <a:lnTo>
                      <a:pt x="257" y="256"/>
                    </a:lnTo>
                    <a:lnTo>
                      <a:pt x="248" y="258"/>
                    </a:lnTo>
                    <a:lnTo>
                      <a:pt x="242" y="256"/>
                    </a:lnTo>
                    <a:lnTo>
                      <a:pt x="236" y="246"/>
                    </a:lnTo>
                    <a:lnTo>
                      <a:pt x="236" y="229"/>
                    </a:lnTo>
                    <a:lnTo>
                      <a:pt x="238" y="217"/>
                    </a:lnTo>
                    <a:lnTo>
                      <a:pt x="227" y="217"/>
                    </a:lnTo>
                    <a:lnTo>
                      <a:pt x="211" y="215"/>
                    </a:lnTo>
                    <a:lnTo>
                      <a:pt x="215" y="194"/>
                    </a:lnTo>
                    <a:lnTo>
                      <a:pt x="213" y="198"/>
                    </a:lnTo>
                    <a:lnTo>
                      <a:pt x="217" y="202"/>
                    </a:lnTo>
                    <a:lnTo>
                      <a:pt x="219" y="202"/>
                    </a:lnTo>
                    <a:lnTo>
                      <a:pt x="217" y="194"/>
                    </a:lnTo>
                    <a:lnTo>
                      <a:pt x="217" y="185"/>
                    </a:lnTo>
                    <a:lnTo>
                      <a:pt x="215" y="175"/>
                    </a:lnTo>
                    <a:lnTo>
                      <a:pt x="211" y="173"/>
                    </a:lnTo>
                    <a:lnTo>
                      <a:pt x="205" y="171"/>
                    </a:lnTo>
                    <a:lnTo>
                      <a:pt x="204" y="167"/>
                    </a:lnTo>
                    <a:lnTo>
                      <a:pt x="204" y="162"/>
                    </a:lnTo>
                    <a:lnTo>
                      <a:pt x="196" y="162"/>
                    </a:lnTo>
                    <a:lnTo>
                      <a:pt x="196" y="156"/>
                    </a:lnTo>
                    <a:lnTo>
                      <a:pt x="198" y="152"/>
                    </a:lnTo>
                    <a:lnTo>
                      <a:pt x="200" y="144"/>
                    </a:lnTo>
                    <a:lnTo>
                      <a:pt x="194" y="150"/>
                    </a:lnTo>
                    <a:lnTo>
                      <a:pt x="186" y="156"/>
                    </a:lnTo>
                    <a:lnTo>
                      <a:pt x="181" y="162"/>
                    </a:lnTo>
                    <a:lnTo>
                      <a:pt x="179" y="154"/>
                    </a:lnTo>
                    <a:lnTo>
                      <a:pt x="179" y="144"/>
                    </a:lnTo>
                    <a:lnTo>
                      <a:pt x="175" y="137"/>
                    </a:lnTo>
                    <a:lnTo>
                      <a:pt x="171" y="135"/>
                    </a:lnTo>
                    <a:lnTo>
                      <a:pt x="165" y="133"/>
                    </a:lnTo>
                    <a:lnTo>
                      <a:pt x="161" y="129"/>
                    </a:lnTo>
                    <a:lnTo>
                      <a:pt x="157" y="123"/>
                    </a:lnTo>
                    <a:lnTo>
                      <a:pt x="156" y="116"/>
                    </a:lnTo>
                    <a:lnTo>
                      <a:pt x="154" y="112"/>
                    </a:lnTo>
                    <a:lnTo>
                      <a:pt x="150" y="110"/>
                    </a:lnTo>
                    <a:lnTo>
                      <a:pt x="148" y="116"/>
                    </a:lnTo>
                    <a:lnTo>
                      <a:pt x="148" y="119"/>
                    </a:lnTo>
                    <a:lnTo>
                      <a:pt x="144" y="116"/>
                    </a:lnTo>
                    <a:lnTo>
                      <a:pt x="138" y="112"/>
                    </a:lnTo>
                    <a:lnTo>
                      <a:pt x="134" y="108"/>
                    </a:lnTo>
                    <a:lnTo>
                      <a:pt x="133" y="100"/>
                    </a:lnTo>
                    <a:lnTo>
                      <a:pt x="134" y="94"/>
                    </a:lnTo>
                    <a:lnTo>
                      <a:pt x="134" y="89"/>
                    </a:lnTo>
                    <a:lnTo>
                      <a:pt x="131" y="87"/>
                    </a:lnTo>
                    <a:lnTo>
                      <a:pt x="125" y="89"/>
                    </a:lnTo>
                    <a:lnTo>
                      <a:pt x="121" y="89"/>
                    </a:lnTo>
                    <a:lnTo>
                      <a:pt x="121" y="77"/>
                    </a:lnTo>
                    <a:lnTo>
                      <a:pt x="115" y="73"/>
                    </a:lnTo>
                    <a:lnTo>
                      <a:pt x="108" y="71"/>
                    </a:lnTo>
                    <a:lnTo>
                      <a:pt x="102" y="69"/>
                    </a:lnTo>
                    <a:lnTo>
                      <a:pt x="102" y="64"/>
                    </a:lnTo>
                    <a:lnTo>
                      <a:pt x="100" y="58"/>
                    </a:lnTo>
                    <a:lnTo>
                      <a:pt x="100" y="52"/>
                    </a:lnTo>
                    <a:lnTo>
                      <a:pt x="81" y="43"/>
                    </a:lnTo>
                    <a:lnTo>
                      <a:pt x="75" y="39"/>
                    </a:lnTo>
                    <a:lnTo>
                      <a:pt x="73" y="31"/>
                    </a:lnTo>
                    <a:lnTo>
                      <a:pt x="71" y="21"/>
                    </a:lnTo>
                    <a:lnTo>
                      <a:pt x="67" y="16"/>
                    </a:lnTo>
                    <a:lnTo>
                      <a:pt x="56" y="12"/>
                    </a:lnTo>
                    <a:lnTo>
                      <a:pt x="27" y="12"/>
                    </a:lnTo>
                    <a:lnTo>
                      <a:pt x="25" y="8"/>
                    </a:lnTo>
                    <a:lnTo>
                      <a:pt x="21" y="2"/>
                    </a:lnTo>
                    <a:lnTo>
                      <a:pt x="19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4" name="Freeform 172"/>
              <p:cNvSpPr>
                <a:spLocks/>
              </p:cNvSpPr>
              <p:nvPr/>
            </p:nvSpPr>
            <p:spPr bwMode="gray">
              <a:xfrm>
                <a:off x="4385" y="2721"/>
                <a:ext cx="120" cy="116"/>
              </a:xfrm>
              <a:custGeom>
                <a:avLst/>
                <a:gdLst>
                  <a:gd name="T0" fmla="*/ 2 w 240"/>
                  <a:gd name="T1" fmla="*/ 90 h 232"/>
                  <a:gd name="T2" fmla="*/ 9 w 240"/>
                  <a:gd name="T3" fmla="*/ 148 h 232"/>
                  <a:gd name="T4" fmla="*/ 11 w 240"/>
                  <a:gd name="T5" fmla="*/ 155 h 232"/>
                  <a:gd name="T6" fmla="*/ 15 w 240"/>
                  <a:gd name="T7" fmla="*/ 159 h 232"/>
                  <a:gd name="T8" fmla="*/ 23 w 240"/>
                  <a:gd name="T9" fmla="*/ 153 h 232"/>
                  <a:gd name="T10" fmla="*/ 40 w 240"/>
                  <a:gd name="T11" fmla="*/ 209 h 232"/>
                  <a:gd name="T12" fmla="*/ 65 w 240"/>
                  <a:gd name="T13" fmla="*/ 211 h 232"/>
                  <a:gd name="T14" fmla="*/ 76 w 240"/>
                  <a:gd name="T15" fmla="*/ 209 h 232"/>
                  <a:gd name="T16" fmla="*/ 76 w 240"/>
                  <a:gd name="T17" fmla="*/ 219 h 232"/>
                  <a:gd name="T18" fmla="*/ 92 w 240"/>
                  <a:gd name="T19" fmla="*/ 225 h 232"/>
                  <a:gd name="T20" fmla="*/ 105 w 240"/>
                  <a:gd name="T21" fmla="*/ 217 h 232"/>
                  <a:gd name="T22" fmla="*/ 136 w 240"/>
                  <a:gd name="T23" fmla="*/ 219 h 232"/>
                  <a:gd name="T24" fmla="*/ 146 w 240"/>
                  <a:gd name="T25" fmla="*/ 225 h 232"/>
                  <a:gd name="T26" fmla="*/ 147 w 240"/>
                  <a:gd name="T27" fmla="*/ 232 h 232"/>
                  <a:gd name="T28" fmla="*/ 167 w 240"/>
                  <a:gd name="T29" fmla="*/ 221 h 232"/>
                  <a:gd name="T30" fmla="*/ 174 w 240"/>
                  <a:gd name="T31" fmla="*/ 221 h 232"/>
                  <a:gd name="T32" fmla="*/ 180 w 240"/>
                  <a:gd name="T33" fmla="*/ 209 h 232"/>
                  <a:gd name="T34" fmla="*/ 186 w 240"/>
                  <a:gd name="T35" fmla="*/ 200 h 232"/>
                  <a:gd name="T36" fmla="*/ 192 w 240"/>
                  <a:gd name="T37" fmla="*/ 190 h 232"/>
                  <a:gd name="T38" fmla="*/ 199 w 240"/>
                  <a:gd name="T39" fmla="*/ 192 h 232"/>
                  <a:gd name="T40" fmla="*/ 197 w 240"/>
                  <a:gd name="T41" fmla="*/ 175 h 232"/>
                  <a:gd name="T42" fmla="*/ 197 w 240"/>
                  <a:gd name="T43" fmla="*/ 167 h 232"/>
                  <a:gd name="T44" fmla="*/ 211 w 240"/>
                  <a:gd name="T45" fmla="*/ 155 h 232"/>
                  <a:gd name="T46" fmla="*/ 215 w 240"/>
                  <a:gd name="T47" fmla="*/ 105 h 232"/>
                  <a:gd name="T48" fmla="*/ 226 w 240"/>
                  <a:gd name="T49" fmla="*/ 100 h 232"/>
                  <a:gd name="T50" fmla="*/ 236 w 240"/>
                  <a:gd name="T51" fmla="*/ 100 h 232"/>
                  <a:gd name="T52" fmla="*/ 240 w 240"/>
                  <a:gd name="T53" fmla="*/ 96 h 232"/>
                  <a:gd name="T54" fmla="*/ 238 w 240"/>
                  <a:gd name="T55" fmla="*/ 86 h 232"/>
                  <a:gd name="T56" fmla="*/ 222 w 240"/>
                  <a:gd name="T57" fmla="*/ 80 h 232"/>
                  <a:gd name="T58" fmla="*/ 217 w 240"/>
                  <a:gd name="T59" fmla="*/ 65 h 232"/>
                  <a:gd name="T60" fmla="*/ 218 w 240"/>
                  <a:gd name="T61" fmla="*/ 46 h 232"/>
                  <a:gd name="T62" fmla="*/ 205 w 240"/>
                  <a:gd name="T63" fmla="*/ 30 h 232"/>
                  <a:gd name="T64" fmla="*/ 209 w 240"/>
                  <a:gd name="T65" fmla="*/ 19 h 232"/>
                  <a:gd name="T66" fmla="*/ 211 w 240"/>
                  <a:gd name="T67" fmla="*/ 13 h 232"/>
                  <a:gd name="T68" fmla="*/ 211 w 240"/>
                  <a:gd name="T69" fmla="*/ 11 h 232"/>
                  <a:gd name="T70" fmla="*/ 207 w 240"/>
                  <a:gd name="T71" fmla="*/ 2 h 232"/>
                  <a:gd name="T72" fmla="*/ 172 w 240"/>
                  <a:gd name="T73" fmla="*/ 0 h 232"/>
                  <a:gd name="T74" fmla="*/ 163 w 240"/>
                  <a:gd name="T75" fmla="*/ 27 h 232"/>
                  <a:gd name="T76" fmla="*/ 151 w 240"/>
                  <a:gd name="T77" fmla="*/ 40 h 232"/>
                  <a:gd name="T78" fmla="*/ 140 w 240"/>
                  <a:gd name="T79" fmla="*/ 52 h 232"/>
                  <a:gd name="T80" fmla="*/ 134 w 240"/>
                  <a:gd name="T81" fmla="*/ 73 h 232"/>
                  <a:gd name="T82" fmla="*/ 119 w 240"/>
                  <a:gd name="T83" fmla="*/ 86 h 232"/>
                  <a:gd name="T84" fmla="*/ 99 w 240"/>
                  <a:gd name="T85" fmla="*/ 82 h 232"/>
                  <a:gd name="T86" fmla="*/ 80 w 240"/>
                  <a:gd name="T87" fmla="*/ 92 h 232"/>
                  <a:gd name="T88" fmla="*/ 42 w 240"/>
                  <a:gd name="T89" fmla="*/ 94 h 232"/>
                  <a:gd name="T90" fmla="*/ 25 w 240"/>
                  <a:gd name="T91" fmla="*/ 86 h 232"/>
                  <a:gd name="T92" fmla="*/ 21 w 240"/>
                  <a:gd name="T93" fmla="*/ 61 h 23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40"/>
                  <a:gd name="T142" fmla="*/ 0 h 232"/>
                  <a:gd name="T143" fmla="*/ 240 w 240"/>
                  <a:gd name="T144" fmla="*/ 232 h 23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40" h="232">
                    <a:moveTo>
                      <a:pt x="21" y="61"/>
                    </a:moveTo>
                    <a:lnTo>
                      <a:pt x="2" y="90"/>
                    </a:lnTo>
                    <a:lnTo>
                      <a:pt x="0" y="109"/>
                    </a:lnTo>
                    <a:lnTo>
                      <a:pt x="9" y="148"/>
                    </a:lnTo>
                    <a:lnTo>
                      <a:pt x="13" y="152"/>
                    </a:lnTo>
                    <a:lnTo>
                      <a:pt x="11" y="155"/>
                    </a:lnTo>
                    <a:lnTo>
                      <a:pt x="9" y="161"/>
                    </a:lnTo>
                    <a:lnTo>
                      <a:pt x="15" y="159"/>
                    </a:lnTo>
                    <a:lnTo>
                      <a:pt x="19" y="155"/>
                    </a:lnTo>
                    <a:lnTo>
                      <a:pt x="23" y="153"/>
                    </a:lnTo>
                    <a:lnTo>
                      <a:pt x="28" y="171"/>
                    </a:lnTo>
                    <a:lnTo>
                      <a:pt x="40" y="209"/>
                    </a:lnTo>
                    <a:lnTo>
                      <a:pt x="53" y="211"/>
                    </a:lnTo>
                    <a:lnTo>
                      <a:pt x="65" y="211"/>
                    </a:lnTo>
                    <a:lnTo>
                      <a:pt x="75" y="209"/>
                    </a:lnTo>
                    <a:lnTo>
                      <a:pt x="76" y="209"/>
                    </a:lnTo>
                    <a:lnTo>
                      <a:pt x="78" y="213"/>
                    </a:lnTo>
                    <a:lnTo>
                      <a:pt x="76" y="219"/>
                    </a:lnTo>
                    <a:lnTo>
                      <a:pt x="76" y="221"/>
                    </a:lnTo>
                    <a:lnTo>
                      <a:pt x="92" y="225"/>
                    </a:lnTo>
                    <a:lnTo>
                      <a:pt x="98" y="225"/>
                    </a:lnTo>
                    <a:lnTo>
                      <a:pt x="105" y="217"/>
                    </a:lnTo>
                    <a:lnTo>
                      <a:pt x="134" y="217"/>
                    </a:lnTo>
                    <a:lnTo>
                      <a:pt x="136" y="219"/>
                    </a:lnTo>
                    <a:lnTo>
                      <a:pt x="142" y="223"/>
                    </a:lnTo>
                    <a:lnTo>
                      <a:pt x="146" y="225"/>
                    </a:lnTo>
                    <a:lnTo>
                      <a:pt x="144" y="228"/>
                    </a:lnTo>
                    <a:lnTo>
                      <a:pt x="147" y="232"/>
                    </a:lnTo>
                    <a:lnTo>
                      <a:pt x="165" y="221"/>
                    </a:lnTo>
                    <a:lnTo>
                      <a:pt x="167" y="221"/>
                    </a:lnTo>
                    <a:lnTo>
                      <a:pt x="170" y="223"/>
                    </a:lnTo>
                    <a:lnTo>
                      <a:pt x="174" y="221"/>
                    </a:lnTo>
                    <a:lnTo>
                      <a:pt x="178" y="215"/>
                    </a:lnTo>
                    <a:lnTo>
                      <a:pt x="180" y="209"/>
                    </a:lnTo>
                    <a:lnTo>
                      <a:pt x="184" y="202"/>
                    </a:lnTo>
                    <a:lnTo>
                      <a:pt x="186" y="200"/>
                    </a:lnTo>
                    <a:lnTo>
                      <a:pt x="188" y="196"/>
                    </a:lnTo>
                    <a:lnTo>
                      <a:pt x="192" y="190"/>
                    </a:lnTo>
                    <a:lnTo>
                      <a:pt x="194" y="190"/>
                    </a:lnTo>
                    <a:lnTo>
                      <a:pt x="199" y="192"/>
                    </a:lnTo>
                    <a:lnTo>
                      <a:pt x="201" y="190"/>
                    </a:lnTo>
                    <a:lnTo>
                      <a:pt x="197" y="175"/>
                    </a:lnTo>
                    <a:lnTo>
                      <a:pt x="194" y="167"/>
                    </a:lnTo>
                    <a:lnTo>
                      <a:pt x="197" y="167"/>
                    </a:lnTo>
                    <a:lnTo>
                      <a:pt x="201" y="161"/>
                    </a:lnTo>
                    <a:lnTo>
                      <a:pt x="211" y="155"/>
                    </a:lnTo>
                    <a:lnTo>
                      <a:pt x="211" y="109"/>
                    </a:lnTo>
                    <a:lnTo>
                      <a:pt x="215" y="105"/>
                    </a:lnTo>
                    <a:lnTo>
                      <a:pt x="220" y="102"/>
                    </a:lnTo>
                    <a:lnTo>
                      <a:pt x="226" y="100"/>
                    </a:lnTo>
                    <a:lnTo>
                      <a:pt x="230" y="98"/>
                    </a:lnTo>
                    <a:lnTo>
                      <a:pt x="236" y="100"/>
                    </a:lnTo>
                    <a:lnTo>
                      <a:pt x="240" y="100"/>
                    </a:lnTo>
                    <a:lnTo>
                      <a:pt x="240" y="9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0" y="84"/>
                    </a:lnTo>
                    <a:lnTo>
                      <a:pt x="222" y="80"/>
                    </a:lnTo>
                    <a:lnTo>
                      <a:pt x="218" y="75"/>
                    </a:lnTo>
                    <a:lnTo>
                      <a:pt x="217" y="65"/>
                    </a:lnTo>
                    <a:lnTo>
                      <a:pt x="218" y="55"/>
                    </a:lnTo>
                    <a:lnTo>
                      <a:pt x="218" y="46"/>
                    </a:lnTo>
                    <a:lnTo>
                      <a:pt x="215" y="40"/>
                    </a:lnTo>
                    <a:lnTo>
                      <a:pt x="205" y="30"/>
                    </a:lnTo>
                    <a:lnTo>
                      <a:pt x="205" y="25"/>
                    </a:lnTo>
                    <a:lnTo>
                      <a:pt x="209" y="19"/>
                    </a:lnTo>
                    <a:lnTo>
                      <a:pt x="211" y="17"/>
                    </a:lnTo>
                    <a:lnTo>
                      <a:pt x="211" y="13"/>
                    </a:lnTo>
                    <a:lnTo>
                      <a:pt x="213" y="15"/>
                    </a:lnTo>
                    <a:lnTo>
                      <a:pt x="211" y="11"/>
                    </a:lnTo>
                    <a:lnTo>
                      <a:pt x="209" y="4"/>
                    </a:lnTo>
                    <a:lnTo>
                      <a:pt x="207" y="2"/>
                    </a:lnTo>
                    <a:lnTo>
                      <a:pt x="188" y="4"/>
                    </a:lnTo>
                    <a:lnTo>
                      <a:pt x="172" y="0"/>
                    </a:lnTo>
                    <a:lnTo>
                      <a:pt x="167" y="9"/>
                    </a:lnTo>
                    <a:lnTo>
                      <a:pt x="163" y="27"/>
                    </a:lnTo>
                    <a:lnTo>
                      <a:pt x="157" y="32"/>
                    </a:lnTo>
                    <a:lnTo>
                      <a:pt x="151" y="40"/>
                    </a:lnTo>
                    <a:lnTo>
                      <a:pt x="147" y="48"/>
                    </a:lnTo>
                    <a:lnTo>
                      <a:pt x="140" y="52"/>
                    </a:lnTo>
                    <a:lnTo>
                      <a:pt x="138" y="61"/>
                    </a:lnTo>
                    <a:lnTo>
                      <a:pt x="134" y="73"/>
                    </a:lnTo>
                    <a:lnTo>
                      <a:pt x="130" y="80"/>
                    </a:lnTo>
                    <a:lnTo>
                      <a:pt x="119" y="86"/>
                    </a:lnTo>
                    <a:lnTo>
                      <a:pt x="105" y="86"/>
                    </a:lnTo>
                    <a:lnTo>
                      <a:pt x="99" y="82"/>
                    </a:lnTo>
                    <a:lnTo>
                      <a:pt x="86" y="84"/>
                    </a:lnTo>
                    <a:lnTo>
                      <a:pt x="80" y="92"/>
                    </a:lnTo>
                    <a:lnTo>
                      <a:pt x="53" y="96"/>
                    </a:lnTo>
                    <a:lnTo>
                      <a:pt x="42" y="94"/>
                    </a:lnTo>
                    <a:lnTo>
                      <a:pt x="34" y="90"/>
                    </a:lnTo>
                    <a:lnTo>
                      <a:pt x="25" y="86"/>
                    </a:lnTo>
                    <a:lnTo>
                      <a:pt x="21" y="73"/>
                    </a:lnTo>
                    <a:lnTo>
                      <a:pt x="21" y="6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5" name="Freeform 173"/>
              <p:cNvSpPr>
                <a:spLocks/>
              </p:cNvSpPr>
              <p:nvPr/>
            </p:nvSpPr>
            <p:spPr bwMode="gray">
              <a:xfrm>
                <a:off x="4513" y="2931"/>
                <a:ext cx="22" cy="12"/>
              </a:xfrm>
              <a:custGeom>
                <a:avLst/>
                <a:gdLst>
                  <a:gd name="T0" fmla="*/ 2 w 42"/>
                  <a:gd name="T1" fmla="*/ 0 h 23"/>
                  <a:gd name="T2" fmla="*/ 2 w 42"/>
                  <a:gd name="T3" fmla="*/ 3 h 23"/>
                  <a:gd name="T4" fmla="*/ 0 w 42"/>
                  <a:gd name="T5" fmla="*/ 7 h 23"/>
                  <a:gd name="T6" fmla="*/ 0 w 42"/>
                  <a:gd name="T7" fmla="*/ 11 h 23"/>
                  <a:gd name="T8" fmla="*/ 11 w 42"/>
                  <a:gd name="T9" fmla="*/ 17 h 23"/>
                  <a:gd name="T10" fmla="*/ 25 w 42"/>
                  <a:gd name="T11" fmla="*/ 19 h 23"/>
                  <a:gd name="T12" fmla="*/ 42 w 42"/>
                  <a:gd name="T13" fmla="*/ 23 h 23"/>
                  <a:gd name="T14" fmla="*/ 42 w 42"/>
                  <a:gd name="T15" fmla="*/ 19 h 23"/>
                  <a:gd name="T16" fmla="*/ 40 w 42"/>
                  <a:gd name="T17" fmla="*/ 15 h 23"/>
                  <a:gd name="T18" fmla="*/ 42 w 42"/>
                  <a:gd name="T19" fmla="*/ 11 h 23"/>
                  <a:gd name="T20" fmla="*/ 29 w 42"/>
                  <a:gd name="T21" fmla="*/ 7 h 23"/>
                  <a:gd name="T22" fmla="*/ 17 w 42"/>
                  <a:gd name="T23" fmla="*/ 3 h 23"/>
                  <a:gd name="T24" fmla="*/ 2 w 42"/>
                  <a:gd name="T25" fmla="*/ 0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2"/>
                  <a:gd name="T40" fmla="*/ 0 h 23"/>
                  <a:gd name="T41" fmla="*/ 42 w 42"/>
                  <a:gd name="T42" fmla="*/ 23 h 2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2" h="23">
                    <a:moveTo>
                      <a:pt x="2" y="0"/>
                    </a:moveTo>
                    <a:lnTo>
                      <a:pt x="2" y="3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11" y="17"/>
                    </a:lnTo>
                    <a:lnTo>
                      <a:pt x="25" y="19"/>
                    </a:lnTo>
                    <a:lnTo>
                      <a:pt x="42" y="23"/>
                    </a:lnTo>
                    <a:lnTo>
                      <a:pt x="42" y="19"/>
                    </a:lnTo>
                    <a:lnTo>
                      <a:pt x="40" y="15"/>
                    </a:lnTo>
                    <a:lnTo>
                      <a:pt x="42" y="11"/>
                    </a:lnTo>
                    <a:lnTo>
                      <a:pt x="29" y="7"/>
                    </a:lnTo>
                    <a:lnTo>
                      <a:pt x="17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6" name="Freeform 174"/>
              <p:cNvSpPr>
                <a:spLocks/>
              </p:cNvSpPr>
              <p:nvPr/>
            </p:nvSpPr>
            <p:spPr bwMode="gray">
              <a:xfrm>
                <a:off x="4553" y="2914"/>
                <a:ext cx="56" cy="38"/>
              </a:xfrm>
              <a:custGeom>
                <a:avLst/>
                <a:gdLst>
                  <a:gd name="T0" fmla="*/ 101 w 113"/>
                  <a:gd name="T1" fmla="*/ 0 h 77"/>
                  <a:gd name="T2" fmla="*/ 96 w 113"/>
                  <a:gd name="T3" fmla="*/ 4 h 77"/>
                  <a:gd name="T4" fmla="*/ 88 w 113"/>
                  <a:gd name="T5" fmla="*/ 10 h 77"/>
                  <a:gd name="T6" fmla="*/ 82 w 113"/>
                  <a:gd name="T7" fmla="*/ 12 h 77"/>
                  <a:gd name="T8" fmla="*/ 76 w 113"/>
                  <a:gd name="T9" fmla="*/ 12 h 77"/>
                  <a:gd name="T10" fmla="*/ 67 w 113"/>
                  <a:gd name="T11" fmla="*/ 10 h 77"/>
                  <a:gd name="T12" fmla="*/ 55 w 113"/>
                  <a:gd name="T13" fmla="*/ 12 h 77"/>
                  <a:gd name="T14" fmla="*/ 55 w 113"/>
                  <a:gd name="T15" fmla="*/ 15 h 77"/>
                  <a:gd name="T16" fmla="*/ 57 w 113"/>
                  <a:gd name="T17" fmla="*/ 21 h 77"/>
                  <a:gd name="T18" fmla="*/ 55 w 113"/>
                  <a:gd name="T19" fmla="*/ 23 h 77"/>
                  <a:gd name="T20" fmla="*/ 51 w 113"/>
                  <a:gd name="T21" fmla="*/ 25 h 77"/>
                  <a:gd name="T22" fmla="*/ 48 w 113"/>
                  <a:gd name="T23" fmla="*/ 23 h 77"/>
                  <a:gd name="T24" fmla="*/ 44 w 113"/>
                  <a:gd name="T25" fmla="*/ 23 h 77"/>
                  <a:gd name="T26" fmla="*/ 44 w 113"/>
                  <a:gd name="T27" fmla="*/ 33 h 77"/>
                  <a:gd name="T28" fmla="*/ 40 w 113"/>
                  <a:gd name="T29" fmla="*/ 35 h 77"/>
                  <a:gd name="T30" fmla="*/ 38 w 113"/>
                  <a:gd name="T31" fmla="*/ 37 h 77"/>
                  <a:gd name="T32" fmla="*/ 32 w 113"/>
                  <a:gd name="T33" fmla="*/ 37 h 77"/>
                  <a:gd name="T34" fmla="*/ 25 w 113"/>
                  <a:gd name="T35" fmla="*/ 44 h 77"/>
                  <a:gd name="T36" fmla="*/ 23 w 113"/>
                  <a:gd name="T37" fmla="*/ 52 h 77"/>
                  <a:gd name="T38" fmla="*/ 19 w 113"/>
                  <a:gd name="T39" fmla="*/ 58 h 77"/>
                  <a:gd name="T40" fmla="*/ 13 w 113"/>
                  <a:gd name="T41" fmla="*/ 60 h 77"/>
                  <a:gd name="T42" fmla="*/ 9 w 113"/>
                  <a:gd name="T43" fmla="*/ 61 h 77"/>
                  <a:gd name="T44" fmla="*/ 3 w 113"/>
                  <a:gd name="T45" fmla="*/ 61 h 77"/>
                  <a:gd name="T46" fmla="*/ 3 w 113"/>
                  <a:gd name="T47" fmla="*/ 65 h 77"/>
                  <a:gd name="T48" fmla="*/ 1 w 113"/>
                  <a:gd name="T49" fmla="*/ 71 h 77"/>
                  <a:gd name="T50" fmla="*/ 0 w 113"/>
                  <a:gd name="T51" fmla="*/ 73 h 77"/>
                  <a:gd name="T52" fmla="*/ 3 w 113"/>
                  <a:gd name="T53" fmla="*/ 73 h 77"/>
                  <a:gd name="T54" fmla="*/ 7 w 113"/>
                  <a:gd name="T55" fmla="*/ 75 h 77"/>
                  <a:gd name="T56" fmla="*/ 7 w 113"/>
                  <a:gd name="T57" fmla="*/ 77 h 77"/>
                  <a:gd name="T58" fmla="*/ 19 w 113"/>
                  <a:gd name="T59" fmla="*/ 67 h 77"/>
                  <a:gd name="T60" fmla="*/ 32 w 113"/>
                  <a:gd name="T61" fmla="*/ 58 h 77"/>
                  <a:gd name="T62" fmla="*/ 44 w 113"/>
                  <a:gd name="T63" fmla="*/ 50 h 77"/>
                  <a:gd name="T64" fmla="*/ 59 w 113"/>
                  <a:gd name="T65" fmla="*/ 50 h 77"/>
                  <a:gd name="T66" fmla="*/ 63 w 113"/>
                  <a:gd name="T67" fmla="*/ 46 h 77"/>
                  <a:gd name="T68" fmla="*/ 67 w 113"/>
                  <a:gd name="T69" fmla="*/ 35 h 77"/>
                  <a:gd name="T70" fmla="*/ 86 w 113"/>
                  <a:gd name="T71" fmla="*/ 25 h 77"/>
                  <a:gd name="T72" fmla="*/ 113 w 113"/>
                  <a:gd name="T73" fmla="*/ 8 h 77"/>
                  <a:gd name="T74" fmla="*/ 101 w 113"/>
                  <a:gd name="T75" fmla="*/ 0 h 7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3"/>
                  <a:gd name="T115" fmla="*/ 0 h 77"/>
                  <a:gd name="T116" fmla="*/ 113 w 113"/>
                  <a:gd name="T117" fmla="*/ 77 h 7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3" h="77">
                    <a:moveTo>
                      <a:pt x="101" y="0"/>
                    </a:moveTo>
                    <a:lnTo>
                      <a:pt x="96" y="4"/>
                    </a:lnTo>
                    <a:lnTo>
                      <a:pt x="88" y="10"/>
                    </a:lnTo>
                    <a:lnTo>
                      <a:pt x="82" y="12"/>
                    </a:lnTo>
                    <a:lnTo>
                      <a:pt x="76" y="12"/>
                    </a:lnTo>
                    <a:lnTo>
                      <a:pt x="67" y="10"/>
                    </a:lnTo>
                    <a:lnTo>
                      <a:pt x="55" y="12"/>
                    </a:lnTo>
                    <a:lnTo>
                      <a:pt x="55" y="15"/>
                    </a:lnTo>
                    <a:lnTo>
                      <a:pt x="57" y="21"/>
                    </a:lnTo>
                    <a:lnTo>
                      <a:pt x="55" y="23"/>
                    </a:lnTo>
                    <a:lnTo>
                      <a:pt x="51" y="25"/>
                    </a:lnTo>
                    <a:lnTo>
                      <a:pt x="48" y="23"/>
                    </a:lnTo>
                    <a:lnTo>
                      <a:pt x="44" y="23"/>
                    </a:lnTo>
                    <a:lnTo>
                      <a:pt x="44" y="33"/>
                    </a:lnTo>
                    <a:lnTo>
                      <a:pt x="40" y="35"/>
                    </a:lnTo>
                    <a:lnTo>
                      <a:pt x="38" y="37"/>
                    </a:lnTo>
                    <a:lnTo>
                      <a:pt x="32" y="37"/>
                    </a:lnTo>
                    <a:lnTo>
                      <a:pt x="25" y="44"/>
                    </a:lnTo>
                    <a:lnTo>
                      <a:pt x="23" y="52"/>
                    </a:lnTo>
                    <a:lnTo>
                      <a:pt x="19" y="58"/>
                    </a:lnTo>
                    <a:lnTo>
                      <a:pt x="13" y="60"/>
                    </a:lnTo>
                    <a:lnTo>
                      <a:pt x="9" y="61"/>
                    </a:lnTo>
                    <a:lnTo>
                      <a:pt x="3" y="61"/>
                    </a:lnTo>
                    <a:lnTo>
                      <a:pt x="3" y="65"/>
                    </a:lnTo>
                    <a:lnTo>
                      <a:pt x="1" y="71"/>
                    </a:lnTo>
                    <a:lnTo>
                      <a:pt x="0" y="73"/>
                    </a:lnTo>
                    <a:lnTo>
                      <a:pt x="3" y="73"/>
                    </a:lnTo>
                    <a:lnTo>
                      <a:pt x="7" y="75"/>
                    </a:lnTo>
                    <a:lnTo>
                      <a:pt x="7" y="77"/>
                    </a:lnTo>
                    <a:lnTo>
                      <a:pt x="19" y="67"/>
                    </a:lnTo>
                    <a:lnTo>
                      <a:pt x="32" y="58"/>
                    </a:lnTo>
                    <a:lnTo>
                      <a:pt x="44" y="50"/>
                    </a:lnTo>
                    <a:lnTo>
                      <a:pt x="59" y="50"/>
                    </a:lnTo>
                    <a:lnTo>
                      <a:pt x="63" y="46"/>
                    </a:lnTo>
                    <a:lnTo>
                      <a:pt x="67" y="35"/>
                    </a:lnTo>
                    <a:lnTo>
                      <a:pt x="86" y="25"/>
                    </a:lnTo>
                    <a:lnTo>
                      <a:pt x="113" y="8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7" name="Freeform 175"/>
              <p:cNvSpPr>
                <a:spLocks/>
              </p:cNvSpPr>
              <p:nvPr/>
            </p:nvSpPr>
            <p:spPr bwMode="gray">
              <a:xfrm>
                <a:off x="4520" y="2910"/>
                <a:ext cx="39" cy="12"/>
              </a:xfrm>
              <a:custGeom>
                <a:avLst/>
                <a:gdLst>
                  <a:gd name="T0" fmla="*/ 14 w 77"/>
                  <a:gd name="T1" fmla="*/ 0 h 23"/>
                  <a:gd name="T2" fmla="*/ 0 w 77"/>
                  <a:gd name="T3" fmla="*/ 8 h 23"/>
                  <a:gd name="T4" fmla="*/ 10 w 77"/>
                  <a:gd name="T5" fmla="*/ 18 h 23"/>
                  <a:gd name="T6" fmla="*/ 23 w 77"/>
                  <a:gd name="T7" fmla="*/ 23 h 23"/>
                  <a:gd name="T8" fmla="*/ 37 w 77"/>
                  <a:gd name="T9" fmla="*/ 23 h 23"/>
                  <a:gd name="T10" fmla="*/ 62 w 77"/>
                  <a:gd name="T11" fmla="*/ 16 h 23"/>
                  <a:gd name="T12" fmla="*/ 67 w 77"/>
                  <a:gd name="T13" fmla="*/ 18 h 23"/>
                  <a:gd name="T14" fmla="*/ 71 w 77"/>
                  <a:gd name="T15" fmla="*/ 20 h 23"/>
                  <a:gd name="T16" fmla="*/ 77 w 77"/>
                  <a:gd name="T17" fmla="*/ 20 h 23"/>
                  <a:gd name="T18" fmla="*/ 77 w 77"/>
                  <a:gd name="T19" fmla="*/ 4 h 23"/>
                  <a:gd name="T20" fmla="*/ 62 w 77"/>
                  <a:gd name="T21" fmla="*/ 8 h 23"/>
                  <a:gd name="T22" fmla="*/ 48 w 77"/>
                  <a:gd name="T23" fmla="*/ 10 h 23"/>
                  <a:gd name="T24" fmla="*/ 37 w 77"/>
                  <a:gd name="T25" fmla="*/ 8 h 23"/>
                  <a:gd name="T26" fmla="*/ 29 w 77"/>
                  <a:gd name="T27" fmla="*/ 6 h 23"/>
                  <a:gd name="T28" fmla="*/ 19 w 77"/>
                  <a:gd name="T29" fmla="*/ 2 h 23"/>
                  <a:gd name="T30" fmla="*/ 14 w 77"/>
                  <a:gd name="T31" fmla="*/ 0 h 2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7"/>
                  <a:gd name="T49" fmla="*/ 0 h 23"/>
                  <a:gd name="T50" fmla="*/ 77 w 77"/>
                  <a:gd name="T51" fmla="*/ 23 h 2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7" h="23">
                    <a:moveTo>
                      <a:pt x="14" y="0"/>
                    </a:moveTo>
                    <a:lnTo>
                      <a:pt x="0" y="8"/>
                    </a:lnTo>
                    <a:lnTo>
                      <a:pt x="10" y="18"/>
                    </a:lnTo>
                    <a:lnTo>
                      <a:pt x="23" y="23"/>
                    </a:lnTo>
                    <a:lnTo>
                      <a:pt x="37" y="23"/>
                    </a:lnTo>
                    <a:lnTo>
                      <a:pt x="62" y="16"/>
                    </a:lnTo>
                    <a:lnTo>
                      <a:pt x="67" y="18"/>
                    </a:lnTo>
                    <a:lnTo>
                      <a:pt x="71" y="20"/>
                    </a:lnTo>
                    <a:lnTo>
                      <a:pt x="77" y="20"/>
                    </a:lnTo>
                    <a:lnTo>
                      <a:pt x="77" y="4"/>
                    </a:lnTo>
                    <a:lnTo>
                      <a:pt x="62" y="8"/>
                    </a:lnTo>
                    <a:lnTo>
                      <a:pt x="48" y="10"/>
                    </a:lnTo>
                    <a:lnTo>
                      <a:pt x="37" y="8"/>
                    </a:lnTo>
                    <a:lnTo>
                      <a:pt x="29" y="6"/>
                    </a:lnTo>
                    <a:lnTo>
                      <a:pt x="19" y="2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8" name="Freeform 176"/>
              <p:cNvSpPr>
                <a:spLocks/>
              </p:cNvSpPr>
              <p:nvPr/>
            </p:nvSpPr>
            <p:spPr bwMode="gray">
              <a:xfrm>
                <a:off x="4484" y="2908"/>
                <a:ext cx="29" cy="16"/>
              </a:xfrm>
              <a:custGeom>
                <a:avLst/>
                <a:gdLst>
                  <a:gd name="T0" fmla="*/ 23 w 60"/>
                  <a:gd name="T1" fmla="*/ 0 h 31"/>
                  <a:gd name="T2" fmla="*/ 23 w 60"/>
                  <a:gd name="T3" fmla="*/ 4 h 31"/>
                  <a:gd name="T4" fmla="*/ 21 w 60"/>
                  <a:gd name="T5" fmla="*/ 6 h 31"/>
                  <a:gd name="T6" fmla="*/ 21 w 60"/>
                  <a:gd name="T7" fmla="*/ 8 h 31"/>
                  <a:gd name="T8" fmla="*/ 29 w 60"/>
                  <a:gd name="T9" fmla="*/ 12 h 31"/>
                  <a:gd name="T10" fmla="*/ 29 w 60"/>
                  <a:gd name="T11" fmla="*/ 18 h 31"/>
                  <a:gd name="T12" fmla="*/ 21 w 60"/>
                  <a:gd name="T13" fmla="*/ 20 h 31"/>
                  <a:gd name="T14" fmla="*/ 18 w 60"/>
                  <a:gd name="T15" fmla="*/ 18 h 31"/>
                  <a:gd name="T16" fmla="*/ 12 w 60"/>
                  <a:gd name="T17" fmla="*/ 16 h 31"/>
                  <a:gd name="T18" fmla="*/ 4 w 60"/>
                  <a:gd name="T19" fmla="*/ 12 h 31"/>
                  <a:gd name="T20" fmla="*/ 0 w 60"/>
                  <a:gd name="T21" fmla="*/ 31 h 31"/>
                  <a:gd name="T22" fmla="*/ 18 w 60"/>
                  <a:gd name="T23" fmla="*/ 29 h 31"/>
                  <a:gd name="T24" fmla="*/ 37 w 60"/>
                  <a:gd name="T25" fmla="*/ 27 h 31"/>
                  <a:gd name="T26" fmla="*/ 60 w 60"/>
                  <a:gd name="T27" fmla="*/ 24 h 31"/>
                  <a:gd name="T28" fmla="*/ 56 w 60"/>
                  <a:gd name="T29" fmla="*/ 22 h 31"/>
                  <a:gd name="T30" fmla="*/ 54 w 60"/>
                  <a:gd name="T31" fmla="*/ 16 h 31"/>
                  <a:gd name="T32" fmla="*/ 56 w 60"/>
                  <a:gd name="T33" fmla="*/ 12 h 31"/>
                  <a:gd name="T34" fmla="*/ 35 w 60"/>
                  <a:gd name="T35" fmla="*/ 12 h 31"/>
                  <a:gd name="T36" fmla="*/ 35 w 60"/>
                  <a:gd name="T37" fmla="*/ 4 h 31"/>
                  <a:gd name="T38" fmla="*/ 31 w 60"/>
                  <a:gd name="T39" fmla="*/ 4 h 31"/>
                  <a:gd name="T40" fmla="*/ 29 w 60"/>
                  <a:gd name="T41" fmla="*/ 2 h 31"/>
                  <a:gd name="T42" fmla="*/ 23 w 60"/>
                  <a:gd name="T43" fmla="*/ 0 h 3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60"/>
                  <a:gd name="T67" fmla="*/ 0 h 31"/>
                  <a:gd name="T68" fmla="*/ 60 w 60"/>
                  <a:gd name="T69" fmla="*/ 31 h 3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60" h="31">
                    <a:moveTo>
                      <a:pt x="23" y="0"/>
                    </a:moveTo>
                    <a:lnTo>
                      <a:pt x="23" y="4"/>
                    </a:lnTo>
                    <a:lnTo>
                      <a:pt x="21" y="6"/>
                    </a:lnTo>
                    <a:lnTo>
                      <a:pt x="21" y="8"/>
                    </a:lnTo>
                    <a:lnTo>
                      <a:pt x="29" y="12"/>
                    </a:lnTo>
                    <a:lnTo>
                      <a:pt x="29" y="18"/>
                    </a:lnTo>
                    <a:lnTo>
                      <a:pt x="21" y="20"/>
                    </a:lnTo>
                    <a:lnTo>
                      <a:pt x="18" y="18"/>
                    </a:lnTo>
                    <a:lnTo>
                      <a:pt x="12" y="16"/>
                    </a:lnTo>
                    <a:lnTo>
                      <a:pt x="4" y="12"/>
                    </a:lnTo>
                    <a:lnTo>
                      <a:pt x="0" y="31"/>
                    </a:lnTo>
                    <a:lnTo>
                      <a:pt x="18" y="29"/>
                    </a:lnTo>
                    <a:lnTo>
                      <a:pt x="37" y="27"/>
                    </a:lnTo>
                    <a:lnTo>
                      <a:pt x="60" y="24"/>
                    </a:lnTo>
                    <a:lnTo>
                      <a:pt x="56" y="22"/>
                    </a:lnTo>
                    <a:lnTo>
                      <a:pt x="54" y="16"/>
                    </a:lnTo>
                    <a:lnTo>
                      <a:pt x="56" y="12"/>
                    </a:lnTo>
                    <a:lnTo>
                      <a:pt x="35" y="12"/>
                    </a:lnTo>
                    <a:lnTo>
                      <a:pt x="35" y="4"/>
                    </a:lnTo>
                    <a:lnTo>
                      <a:pt x="31" y="4"/>
                    </a:lnTo>
                    <a:lnTo>
                      <a:pt x="29" y="2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89" name="Freeform 177"/>
              <p:cNvSpPr>
                <a:spLocks/>
              </p:cNvSpPr>
              <p:nvPr/>
            </p:nvSpPr>
            <p:spPr bwMode="gray">
              <a:xfrm>
                <a:off x="4746" y="2897"/>
                <a:ext cx="3" cy="4"/>
              </a:xfrm>
              <a:custGeom>
                <a:avLst/>
                <a:gdLst>
                  <a:gd name="T0" fmla="*/ 0 w 6"/>
                  <a:gd name="T1" fmla="*/ 0 h 8"/>
                  <a:gd name="T2" fmla="*/ 6 w 6"/>
                  <a:gd name="T3" fmla="*/ 8 h 8"/>
                  <a:gd name="T4" fmla="*/ 6 w 6"/>
                  <a:gd name="T5" fmla="*/ 2 h 8"/>
                  <a:gd name="T6" fmla="*/ 0 w 6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8"/>
                  <a:gd name="T14" fmla="*/ 6 w 6"/>
                  <a:gd name="T15" fmla="*/ 8 h 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8">
                    <a:moveTo>
                      <a:pt x="0" y="0"/>
                    </a:moveTo>
                    <a:lnTo>
                      <a:pt x="6" y="8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0" name="Freeform 178"/>
              <p:cNvSpPr>
                <a:spLocks/>
              </p:cNvSpPr>
              <p:nvPr/>
            </p:nvSpPr>
            <p:spPr bwMode="gray">
              <a:xfrm>
                <a:off x="4342" y="2868"/>
                <a:ext cx="117" cy="46"/>
              </a:xfrm>
              <a:custGeom>
                <a:avLst/>
                <a:gdLst>
                  <a:gd name="T0" fmla="*/ 14 w 234"/>
                  <a:gd name="T1" fmla="*/ 0 h 92"/>
                  <a:gd name="T2" fmla="*/ 10 w 234"/>
                  <a:gd name="T3" fmla="*/ 13 h 92"/>
                  <a:gd name="T4" fmla="*/ 4 w 234"/>
                  <a:gd name="T5" fmla="*/ 25 h 92"/>
                  <a:gd name="T6" fmla="*/ 0 w 234"/>
                  <a:gd name="T7" fmla="*/ 34 h 92"/>
                  <a:gd name="T8" fmla="*/ 16 w 234"/>
                  <a:gd name="T9" fmla="*/ 38 h 92"/>
                  <a:gd name="T10" fmla="*/ 27 w 234"/>
                  <a:gd name="T11" fmla="*/ 38 h 92"/>
                  <a:gd name="T12" fmla="*/ 25 w 234"/>
                  <a:gd name="T13" fmla="*/ 42 h 92"/>
                  <a:gd name="T14" fmla="*/ 21 w 234"/>
                  <a:gd name="T15" fmla="*/ 46 h 92"/>
                  <a:gd name="T16" fmla="*/ 21 w 234"/>
                  <a:gd name="T17" fmla="*/ 50 h 92"/>
                  <a:gd name="T18" fmla="*/ 35 w 234"/>
                  <a:gd name="T19" fmla="*/ 52 h 92"/>
                  <a:gd name="T20" fmla="*/ 44 w 234"/>
                  <a:gd name="T21" fmla="*/ 48 h 92"/>
                  <a:gd name="T22" fmla="*/ 56 w 234"/>
                  <a:gd name="T23" fmla="*/ 50 h 92"/>
                  <a:gd name="T24" fmla="*/ 56 w 234"/>
                  <a:gd name="T25" fmla="*/ 57 h 92"/>
                  <a:gd name="T26" fmla="*/ 62 w 234"/>
                  <a:gd name="T27" fmla="*/ 59 h 92"/>
                  <a:gd name="T28" fmla="*/ 69 w 234"/>
                  <a:gd name="T29" fmla="*/ 61 h 92"/>
                  <a:gd name="T30" fmla="*/ 81 w 234"/>
                  <a:gd name="T31" fmla="*/ 61 h 92"/>
                  <a:gd name="T32" fmla="*/ 94 w 234"/>
                  <a:gd name="T33" fmla="*/ 57 h 92"/>
                  <a:gd name="T34" fmla="*/ 110 w 234"/>
                  <a:gd name="T35" fmla="*/ 57 h 92"/>
                  <a:gd name="T36" fmla="*/ 121 w 234"/>
                  <a:gd name="T37" fmla="*/ 61 h 92"/>
                  <a:gd name="T38" fmla="*/ 135 w 234"/>
                  <a:gd name="T39" fmla="*/ 69 h 92"/>
                  <a:gd name="T40" fmla="*/ 146 w 234"/>
                  <a:gd name="T41" fmla="*/ 73 h 92"/>
                  <a:gd name="T42" fmla="*/ 165 w 234"/>
                  <a:gd name="T43" fmla="*/ 75 h 92"/>
                  <a:gd name="T44" fmla="*/ 185 w 234"/>
                  <a:gd name="T45" fmla="*/ 73 h 92"/>
                  <a:gd name="T46" fmla="*/ 198 w 234"/>
                  <a:gd name="T47" fmla="*/ 73 h 92"/>
                  <a:gd name="T48" fmla="*/ 204 w 234"/>
                  <a:gd name="T49" fmla="*/ 77 h 92"/>
                  <a:gd name="T50" fmla="*/ 208 w 234"/>
                  <a:gd name="T51" fmla="*/ 84 h 92"/>
                  <a:gd name="T52" fmla="*/ 213 w 234"/>
                  <a:gd name="T53" fmla="*/ 88 h 92"/>
                  <a:gd name="T54" fmla="*/ 229 w 234"/>
                  <a:gd name="T55" fmla="*/ 92 h 92"/>
                  <a:gd name="T56" fmla="*/ 234 w 234"/>
                  <a:gd name="T57" fmla="*/ 92 h 92"/>
                  <a:gd name="T58" fmla="*/ 233 w 234"/>
                  <a:gd name="T59" fmla="*/ 88 h 92"/>
                  <a:gd name="T60" fmla="*/ 227 w 234"/>
                  <a:gd name="T61" fmla="*/ 80 h 92"/>
                  <a:gd name="T62" fmla="*/ 225 w 234"/>
                  <a:gd name="T63" fmla="*/ 77 h 92"/>
                  <a:gd name="T64" fmla="*/ 225 w 234"/>
                  <a:gd name="T65" fmla="*/ 65 h 92"/>
                  <a:gd name="T66" fmla="*/ 229 w 234"/>
                  <a:gd name="T67" fmla="*/ 57 h 92"/>
                  <a:gd name="T68" fmla="*/ 223 w 234"/>
                  <a:gd name="T69" fmla="*/ 55 h 92"/>
                  <a:gd name="T70" fmla="*/ 217 w 234"/>
                  <a:gd name="T71" fmla="*/ 50 h 92"/>
                  <a:gd name="T72" fmla="*/ 188 w 234"/>
                  <a:gd name="T73" fmla="*/ 50 h 92"/>
                  <a:gd name="T74" fmla="*/ 190 w 234"/>
                  <a:gd name="T75" fmla="*/ 44 h 92"/>
                  <a:gd name="T76" fmla="*/ 192 w 234"/>
                  <a:gd name="T77" fmla="*/ 40 h 92"/>
                  <a:gd name="T78" fmla="*/ 192 w 234"/>
                  <a:gd name="T79" fmla="*/ 34 h 92"/>
                  <a:gd name="T80" fmla="*/ 190 w 234"/>
                  <a:gd name="T81" fmla="*/ 30 h 92"/>
                  <a:gd name="T82" fmla="*/ 188 w 234"/>
                  <a:gd name="T83" fmla="*/ 29 h 92"/>
                  <a:gd name="T84" fmla="*/ 188 w 234"/>
                  <a:gd name="T85" fmla="*/ 23 h 92"/>
                  <a:gd name="T86" fmla="*/ 171 w 234"/>
                  <a:gd name="T87" fmla="*/ 21 h 92"/>
                  <a:gd name="T88" fmla="*/ 156 w 234"/>
                  <a:gd name="T89" fmla="*/ 21 h 92"/>
                  <a:gd name="T90" fmla="*/ 146 w 234"/>
                  <a:gd name="T91" fmla="*/ 19 h 92"/>
                  <a:gd name="T92" fmla="*/ 144 w 234"/>
                  <a:gd name="T93" fmla="*/ 17 h 92"/>
                  <a:gd name="T94" fmla="*/ 142 w 234"/>
                  <a:gd name="T95" fmla="*/ 13 h 92"/>
                  <a:gd name="T96" fmla="*/ 137 w 234"/>
                  <a:gd name="T97" fmla="*/ 11 h 92"/>
                  <a:gd name="T98" fmla="*/ 133 w 234"/>
                  <a:gd name="T99" fmla="*/ 21 h 92"/>
                  <a:gd name="T100" fmla="*/ 131 w 234"/>
                  <a:gd name="T101" fmla="*/ 23 h 92"/>
                  <a:gd name="T102" fmla="*/ 108 w 234"/>
                  <a:gd name="T103" fmla="*/ 23 h 92"/>
                  <a:gd name="T104" fmla="*/ 92 w 234"/>
                  <a:gd name="T105" fmla="*/ 17 h 92"/>
                  <a:gd name="T106" fmla="*/ 81 w 234"/>
                  <a:gd name="T107" fmla="*/ 7 h 92"/>
                  <a:gd name="T108" fmla="*/ 69 w 234"/>
                  <a:gd name="T109" fmla="*/ 0 h 92"/>
                  <a:gd name="T110" fmla="*/ 58 w 234"/>
                  <a:gd name="T111" fmla="*/ 2 h 92"/>
                  <a:gd name="T112" fmla="*/ 46 w 234"/>
                  <a:gd name="T113" fmla="*/ 6 h 92"/>
                  <a:gd name="T114" fmla="*/ 37 w 234"/>
                  <a:gd name="T115" fmla="*/ 7 h 92"/>
                  <a:gd name="T116" fmla="*/ 27 w 234"/>
                  <a:gd name="T117" fmla="*/ 7 h 92"/>
                  <a:gd name="T118" fmla="*/ 21 w 234"/>
                  <a:gd name="T119" fmla="*/ 4 h 92"/>
                  <a:gd name="T120" fmla="*/ 14 w 234"/>
                  <a:gd name="T121" fmla="*/ 0 h 9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34"/>
                  <a:gd name="T184" fmla="*/ 0 h 92"/>
                  <a:gd name="T185" fmla="*/ 234 w 234"/>
                  <a:gd name="T186" fmla="*/ 92 h 9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34" h="92">
                    <a:moveTo>
                      <a:pt x="14" y="0"/>
                    </a:moveTo>
                    <a:lnTo>
                      <a:pt x="10" y="13"/>
                    </a:lnTo>
                    <a:lnTo>
                      <a:pt x="4" y="25"/>
                    </a:lnTo>
                    <a:lnTo>
                      <a:pt x="0" y="34"/>
                    </a:lnTo>
                    <a:lnTo>
                      <a:pt x="16" y="38"/>
                    </a:lnTo>
                    <a:lnTo>
                      <a:pt x="27" y="38"/>
                    </a:lnTo>
                    <a:lnTo>
                      <a:pt x="25" y="42"/>
                    </a:lnTo>
                    <a:lnTo>
                      <a:pt x="21" y="46"/>
                    </a:lnTo>
                    <a:lnTo>
                      <a:pt x="21" y="50"/>
                    </a:lnTo>
                    <a:lnTo>
                      <a:pt x="35" y="52"/>
                    </a:lnTo>
                    <a:lnTo>
                      <a:pt x="44" y="48"/>
                    </a:lnTo>
                    <a:lnTo>
                      <a:pt x="56" y="50"/>
                    </a:lnTo>
                    <a:lnTo>
                      <a:pt x="56" y="57"/>
                    </a:lnTo>
                    <a:lnTo>
                      <a:pt x="62" y="59"/>
                    </a:lnTo>
                    <a:lnTo>
                      <a:pt x="69" y="61"/>
                    </a:lnTo>
                    <a:lnTo>
                      <a:pt x="81" y="61"/>
                    </a:lnTo>
                    <a:lnTo>
                      <a:pt x="94" y="57"/>
                    </a:lnTo>
                    <a:lnTo>
                      <a:pt x="110" y="57"/>
                    </a:lnTo>
                    <a:lnTo>
                      <a:pt x="121" y="61"/>
                    </a:lnTo>
                    <a:lnTo>
                      <a:pt x="135" y="69"/>
                    </a:lnTo>
                    <a:lnTo>
                      <a:pt x="146" y="73"/>
                    </a:lnTo>
                    <a:lnTo>
                      <a:pt x="165" y="75"/>
                    </a:lnTo>
                    <a:lnTo>
                      <a:pt x="185" y="73"/>
                    </a:lnTo>
                    <a:lnTo>
                      <a:pt x="198" y="73"/>
                    </a:lnTo>
                    <a:lnTo>
                      <a:pt x="204" y="77"/>
                    </a:lnTo>
                    <a:lnTo>
                      <a:pt x="208" y="84"/>
                    </a:lnTo>
                    <a:lnTo>
                      <a:pt x="213" y="88"/>
                    </a:lnTo>
                    <a:lnTo>
                      <a:pt x="229" y="92"/>
                    </a:lnTo>
                    <a:lnTo>
                      <a:pt x="234" y="92"/>
                    </a:lnTo>
                    <a:lnTo>
                      <a:pt x="233" y="88"/>
                    </a:lnTo>
                    <a:lnTo>
                      <a:pt x="227" y="80"/>
                    </a:lnTo>
                    <a:lnTo>
                      <a:pt x="225" y="77"/>
                    </a:lnTo>
                    <a:lnTo>
                      <a:pt x="225" y="65"/>
                    </a:lnTo>
                    <a:lnTo>
                      <a:pt x="229" y="57"/>
                    </a:lnTo>
                    <a:lnTo>
                      <a:pt x="223" y="55"/>
                    </a:lnTo>
                    <a:lnTo>
                      <a:pt x="217" y="50"/>
                    </a:lnTo>
                    <a:lnTo>
                      <a:pt x="188" y="50"/>
                    </a:lnTo>
                    <a:lnTo>
                      <a:pt x="190" y="44"/>
                    </a:lnTo>
                    <a:lnTo>
                      <a:pt x="192" y="40"/>
                    </a:lnTo>
                    <a:lnTo>
                      <a:pt x="192" y="34"/>
                    </a:lnTo>
                    <a:lnTo>
                      <a:pt x="190" y="30"/>
                    </a:lnTo>
                    <a:lnTo>
                      <a:pt x="188" y="29"/>
                    </a:lnTo>
                    <a:lnTo>
                      <a:pt x="188" y="23"/>
                    </a:lnTo>
                    <a:lnTo>
                      <a:pt x="171" y="21"/>
                    </a:lnTo>
                    <a:lnTo>
                      <a:pt x="156" y="21"/>
                    </a:lnTo>
                    <a:lnTo>
                      <a:pt x="146" y="19"/>
                    </a:lnTo>
                    <a:lnTo>
                      <a:pt x="144" y="17"/>
                    </a:lnTo>
                    <a:lnTo>
                      <a:pt x="142" y="13"/>
                    </a:lnTo>
                    <a:lnTo>
                      <a:pt x="137" y="11"/>
                    </a:lnTo>
                    <a:lnTo>
                      <a:pt x="133" y="21"/>
                    </a:lnTo>
                    <a:lnTo>
                      <a:pt x="131" y="23"/>
                    </a:lnTo>
                    <a:lnTo>
                      <a:pt x="108" y="23"/>
                    </a:lnTo>
                    <a:lnTo>
                      <a:pt x="92" y="17"/>
                    </a:lnTo>
                    <a:lnTo>
                      <a:pt x="81" y="7"/>
                    </a:lnTo>
                    <a:lnTo>
                      <a:pt x="69" y="0"/>
                    </a:lnTo>
                    <a:lnTo>
                      <a:pt x="58" y="2"/>
                    </a:lnTo>
                    <a:lnTo>
                      <a:pt x="46" y="6"/>
                    </a:lnTo>
                    <a:lnTo>
                      <a:pt x="37" y="7"/>
                    </a:lnTo>
                    <a:lnTo>
                      <a:pt x="27" y="7"/>
                    </a:lnTo>
                    <a:lnTo>
                      <a:pt x="21" y="4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1" name="Freeform 179"/>
              <p:cNvSpPr>
                <a:spLocks/>
              </p:cNvSpPr>
              <p:nvPr/>
            </p:nvSpPr>
            <p:spPr bwMode="gray">
              <a:xfrm>
                <a:off x="4274" y="2822"/>
                <a:ext cx="2" cy="4"/>
              </a:xfrm>
              <a:custGeom>
                <a:avLst/>
                <a:gdLst>
                  <a:gd name="T0" fmla="*/ 0 w 6"/>
                  <a:gd name="T1" fmla="*/ 0 h 7"/>
                  <a:gd name="T2" fmla="*/ 6 w 6"/>
                  <a:gd name="T3" fmla="*/ 7 h 7"/>
                  <a:gd name="T4" fmla="*/ 6 w 6"/>
                  <a:gd name="T5" fmla="*/ 1 h 7"/>
                  <a:gd name="T6" fmla="*/ 0 w 6"/>
                  <a:gd name="T7" fmla="*/ 0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7"/>
                  <a:gd name="T14" fmla="*/ 6 w 6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7">
                    <a:moveTo>
                      <a:pt x="0" y="0"/>
                    </a:moveTo>
                    <a:lnTo>
                      <a:pt x="6" y="7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2" name="Freeform 180"/>
              <p:cNvSpPr>
                <a:spLocks/>
              </p:cNvSpPr>
              <p:nvPr/>
            </p:nvSpPr>
            <p:spPr bwMode="gray">
              <a:xfrm>
                <a:off x="4342" y="2808"/>
                <a:ext cx="14" cy="20"/>
              </a:xfrm>
              <a:custGeom>
                <a:avLst/>
                <a:gdLst>
                  <a:gd name="T0" fmla="*/ 0 w 29"/>
                  <a:gd name="T1" fmla="*/ 0 h 38"/>
                  <a:gd name="T2" fmla="*/ 2 w 29"/>
                  <a:gd name="T3" fmla="*/ 5 h 38"/>
                  <a:gd name="T4" fmla="*/ 2 w 29"/>
                  <a:gd name="T5" fmla="*/ 11 h 38"/>
                  <a:gd name="T6" fmla="*/ 0 w 29"/>
                  <a:gd name="T7" fmla="*/ 15 h 38"/>
                  <a:gd name="T8" fmla="*/ 12 w 29"/>
                  <a:gd name="T9" fmla="*/ 15 h 38"/>
                  <a:gd name="T10" fmla="*/ 14 w 29"/>
                  <a:gd name="T11" fmla="*/ 27 h 38"/>
                  <a:gd name="T12" fmla="*/ 16 w 29"/>
                  <a:gd name="T13" fmla="*/ 34 h 38"/>
                  <a:gd name="T14" fmla="*/ 21 w 29"/>
                  <a:gd name="T15" fmla="*/ 38 h 38"/>
                  <a:gd name="T16" fmla="*/ 29 w 29"/>
                  <a:gd name="T17" fmla="*/ 34 h 38"/>
                  <a:gd name="T18" fmla="*/ 25 w 29"/>
                  <a:gd name="T19" fmla="*/ 17 h 38"/>
                  <a:gd name="T20" fmla="*/ 18 w 29"/>
                  <a:gd name="T21" fmla="*/ 5 h 38"/>
                  <a:gd name="T22" fmla="*/ 14 w 29"/>
                  <a:gd name="T23" fmla="*/ 2 h 38"/>
                  <a:gd name="T24" fmla="*/ 6 w 29"/>
                  <a:gd name="T25" fmla="*/ 2 h 38"/>
                  <a:gd name="T26" fmla="*/ 0 w 29"/>
                  <a:gd name="T27" fmla="*/ 0 h 3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9"/>
                  <a:gd name="T43" fmla="*/ 0 h 38"/>
                  <a:gd name="T44" fmla="*/ 29 w 29"/>
                  <a:gd name="T45" fmla="*/ 38 h 3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9" h="38">
                    <a:moveTo>
                      <a:pt x="0" y="0"/>
                    </a:moveTo>
                    <a:lnTo>
                      <a:pt x="2" y="5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12" y="15"/>
                    </a:lnTo>
                    <a:lnTo>
                      <a:pt x="14" y="27"/>
                    </a:lnTo>
                    <a:lnTo>
                      <a:pt x="16" y="34"/>
                    </a:lnTo>
                    <a:lnTo>
                      <a:pt x="21" y="38"/>
                    </a:lnTo>
                    <a:lnTo>
                      <a:pt x="29" y="34"/>
                    </a:lnTo>
                    <a:lnTo>
                      <a:pt x="25" y="17"/>
                    </a:lnTo>
                    <a:lnTo>
                      <a:pt x="18" y="5"/>
                    </a:lnTo>
                    <a:lnTo>
                      <a:pt x="14" y="2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3" name="Freeform 181"/>
              <p:cNvSpPr>
                <a:spLocks/>
              </p:cNvSpPr>
              <p:nvPr/>
            </p:nvSpPr>
            <p:spPr bwMode="gray">
              <a:xfrm>
                <a:off x="4507" y="2758"/>
                <a:ext cx="76" cy="108"/>
              </a:xfrm>
              <a:custGeom>
                <a:avLst/>
                <a:gdLst>
                  <a:gd name="T0" fmla="*/ 133 w 154"/>
                  <a:gd name="T1" fmla="*/ 17 h 215"/>
                  <a:gd name="T2" fmla="*/ 100 w 154"/>
                  <a:gd name="T3" fmla="*/ 25 h 215"/>
                  <a:gd name="T4" fmla="*/ 64 w 154"/>
                  <a:gd name="T5" fmla="*/ 19 h 215"/>
                  <a:gd name="T6" fmla="*/ 54 w 154"/>
                  <a:gd name="T7" fmla="*/ 15 h 215"/>
                  <a:gd name="T8" fmla="*/ 41 w 154"/>
                  <a:gd name="T9" fmla="*/ 25 h 215"/>
                  <a:gd name="T10" fmla="*/ 35 w 154"/>
                  <a:gd name="T11" fmla="*/ 19 h 215"/>
                  <a:gd name="T12" fmla="*/ 31 w 154"/>
                  <a:gd name="T13" fmla="*/ 27 h 215"/>
                  <a:gd name="T14" fmla="*/ 23 w 154"/>
                  <a:gd name="T15" fmla="*/ 32 h 215"/>
                  <a:gd name="T16" fmla="*/ 20 w 154"/>
                  <a:gd name="T17" fmla="*/ 48 h 215"/>
                  <a:gd name="T18" fmla="*/ 23 w 154"/>
                  <a:gd name="T19" fmla="*/ 65 h 215"/>
                  <a:gd name="T20" fmla="*/ 16 w 154"/>
                  <a:gd name="T21" fmla="*/ 75 h 215"/>
                  <a:gd name="T22" fmla="*/ 12 w 154"/>
                  <a:gd name="T23" fmla="*/ 86 h 215"/>
                  <a:gd name="T24" fmla="*/ 14 w 154"/>
                  <a:gd name="T25" fmla="*/ 105 h 215"/>
                  <a:gd name="T26" fmla="*/ 2 w 154"/>
                  <a:gd name="T27" fmla="*/ 134 h 215"/>
                  <a:gd name="T28" fmla="*/ 4 w 154"/>
                  <a:gd name="T29" fmla="*/ 151 h 215"/>
                  <a:gd name="T30" fmla="*/ 14 w 154"/>
                  <a:gd name="T31" fmla="*/ 175 h 215"/>
                  <a:gd name="T32" fmla="*/ 10 w 154"/>
                  <a:gd name="T33" fmla="*/ 215 h 215"/>
                  <a:gd name="T34" fmla="*/ 41 w 154"/>
                  <a:gd name="T35" fmla="*/ 209 h 215"/>
                  <a:gd name="T36" fmla="*/ 37 w 154"/>
                  <a:gd name="T37" fmla="*/ 176 h 215"/>
                  <a:gd name="T38" fmla="*/ 39 w 154"/>
                  <a:gd name="T39" fmla="*/ 171 h 215"/>
                  <a:gd name="T40" fmla="*/ 54 w 154"/>
                  <a:gd name="T41" fmla="*/ 144 h 215"/>
                  <a:gd name="T42" fmla="*/ 70 w 154"/>
                  <a:gd name="T43" fmla="*/ 200 h 215"/>
                  <a:gd name="T44" fmla="*/ 79 w 154"/>
                  <a:gd name="T45" fmla="*/ 201 h 215"/>
                  <a:gd name="T46" fmla="*/ 85 w 154"/>
                  <a:gd name="T47" fmla="*/ 184 h 215"/>
                  <a:gd name="T48" fmla="*/ 104 w 154"/>
                  <a:gd name="T49" fmla="*/ 180 h 215"/>
                  <a:gd name="T50" fmla="*/ 108 w 154"/>
                  <a:gd name="T51" fmla="*/ 180 h 215"/>
                  <a:gd name="T52" fmla="*/ 100 w 154"/>
                  <a:gd name="T53" fmla="*/ 173 h 215"/>
                  <a:gd name="T54" fmla="*/ 89 w 154"/>
                  <a:gd name="T55" fmla="*/ 161 h 215"/>
                  <a:gd name="T56" fmla="*/ 93 w 154"/>
                  <a:gd name="T57" fmla="*/ 151 h 215"/>
                  <a:gd name="T58" fmla="*/ 81 w 154"/>
                  <a:gd name="T59" fmla="*/ 142 h 215"/>
                  <a:gd name="T60" fmla="*/ 75 w 154"/>
                  <a:gd name="T61" fmla="*/ 125 h 215"/>
                  <a:gd name="T62" fmla="*/ 58 w 154"/>
                  <a:gd name="T63" fmla="*/ 115 h 215"/>
                  <a:gd name="T64" fmla="*/ 64 w 154"/>
                  <a:gd name="T65" fmla="*/ 107 h 215"/>
                  <a:gd name="T66" fmla="*/ 75 w 154"/>
                  <a:gd name="T67" fmla="*/ 107 h 215"/>
                  <a:gd name="T68" fmla="*/ 89 w 154"/>
                  <a:gd name="T69" fmla="*/ 98 h 215"/>
                  <a:gd name="T70" fmla="*/ 96 w 154"/>
                  <a:gd name="T71" fmla="*/ 105 h 215"/>
                  <a:gd name="T72" fmla="*/ 106 w 154"/>
                  <a:gd name="T73" fmla="*/ 100 h 215"/>
                  <a:gd name="T74" fmla="*/ 100 w 154"/>
                  <a:gd name="T75" fmla="*/ 92 h 215"/>
                  <a:gd name="T76" fmla="*/ 112 w 154"/>
                  <a:gd name="T77" fmla="*/ 73 h 215"/>
                  <a:gd name="T78" fmla="*/ 60 w 154"/>
                  <a:gd name="T79" fmla="*/ 80 h 215"/>
                  <a:gd name="T80" fmla="*/ 50 w 154"/>
                  <a:gd name="T81" fmla="*/ 73 h 215"/>
                  <a:gd name="T82" fmla="*/ 43 w 154"/>
                  <a:gd name="T83" fmla="*/ 75 h 215"/>
                  <a:gd name="T84" fmla="*/ 41 w 154"/>
                  <a:gd name="T85" fmla="*/ 61 h 215"/>
                  <a:gd name="T86" fmla="*/ 45 w 154"/>
                  <a:gd name="T87" fmla="*/ 38 h 215"/>
                  <a:gd name="T88" fmla="*/ 110 w 154"/>
                  <a:gd name="T89" fmla="*/ 44 h 215"/>
                  <a:gd name="T90" fmla="*/ 137 w 154"/>
                  <a:gd name="T91" fmla="*/ 34 h 215"/>
                  <a:gd name="T92" fmla="*/ 154 w 154"/>
                  <a:gd name="T93" fmla="*/ 5 h 21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54"/>
                  <a:gd name="T142" fmla="*/ 0 h 215"/>
                  <a:gd name="T143" fmla="*/ 154 w 154"/>
                  <a:gd name="T144" fmla="*/ 215 h 215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54" h="215">
                    <a:moveTo>
                      <a:pt x="144" y="0"/>
                    </a:moveTo>
                    <a:lnTo>
                      <a:pt x="133" y="17"/>
                    </a:lnTo>
                    <a:lnTo>
                      <a:pt x="123" y="25"/>
                    </a:lnTo>
                    <a:lnTo>
                      <a:pt x="100" y="25"/>
                    </a:lnTo>
                    <a:lnTo>
                      <a:pt x="79" y="23"/>
                    </a:lnTo>
                    <a:lnTo>
                      <a:pt x="64" y="19"/>
                    </a:lnTo>
                    <a:lnTo>
                      <a:pt x="64" y="11"/>
                    </a:lnTo>
                    <a:lnTo>
                      <a:pt x="54" y="15"/>
                    </a:lnTo>
                    <a:lnTo>
                      <a:pt x="45" y="21"/>
                    </a:lnTo>
                    <a:lnTo>
                      <a:pt x="41" y="25"/>
                    </a:lnTo>
                    <a:lnTo>
                      <a:pt x="37" y="23"/>
                    </a:lnTo>
                    <a:lnTo>
                      <a:pt x="35" y="19"/>
                    </a:lnTo>
                    <a:lnTo>
                      <a:pt x="31" y="19"/>
                    </a:lnTo>
                    <a:lnTo>
                      <a:pt x="31" y="27"/>
                    </a:lnTo>
                    <a:lnTo>
                      <a:pt x="29" y="30"/>
                    </a:lnTo>
                    <a:lnTo>
                      <a:pt x="23" y="32"/>
                    </a:lnTo>
                    <a:lnTo>
                      <a:pt x="22" y="34"/>
                    </a:lnTo>
                    <a:lnTo>
                      <a:pt x="20" y="48"/>
                    </a:lnTo>
                    <a:lnTo>
                      <a:pt x="23" y="57"/>
                    </a:lnTo>
                    <a:lnTo>
                      <a:pt x="23" y="65"/>
                    </a:lnTo>
                    <a:lnTo>
                      <a:pt x="22" y="71"/>
                    </a:lnTo>
                    <a:lnTo>
                      <a:pt x="16" y="75"/>
                    </a:lnTo>
                    <a:lnTo>
                      <a:pt x="14" y="78"/>
                    </a:lnTo>
                    <a:lnTo>
                      <a:pt x="12" y="86"/>
                    </a:lnTo>
                    <a:lnTo>
                      <a:pt x="14" y="96"/>
                    </a:lnTo>
                    <a:lnTo>
                      <a:pt x="14" y="105"/>
                    </a:lnTo>
                    <a:lnTo>
                      <a:pt x="4" y="125"/>
                    </a:lnTo>
                    <a:lnTo>
                      <a:pt x="2" y="134"/>
                    </a:lnTo>
                    <a:lnTo>
                      <a:pt x="0" y="150"/>
                    </a:lnTo>
                    <a:lnTo>
                      <a:pt x="4" y="151"/>
                    </a:lnTo>
                    <a:lnTo>
                      <a:pt x="16" y="153"/>
                    </a:lnTo>
                    <a:lnTo>
                      <a:pt x="14" y="175"/>
                    </a:lnTo>
                    <a:lnTo>
                      <a:pt x="10" y="194"/>
                    </a:lnTo>
                    <a:lnTo>
                      <a:pt x="10" y="215"/>
                    </a:lnTo>
                    <a:lnTo>
                      <a:pt x="29" y="213"/>
                    </a:lnTo>
                    <a:lnTo>
                      <a:pt x="41" y="209"/>
                    </a:lnTo>
                    <a:lnTo>
                      <a:pt x="45" y="188"/>
                    </a:lnTo>
                    <a:lnTo>
                      <a:pt x="37" y="176"/>
                    </a:lnTo>
                    <a:lnTo>
                      <a:pt x="37" y="175"/>
                    </a:lnTo>
                    <a:lnTo>
                      <a:pt x="39" y="171"/>
                    </a:lnTo>
                    <a:lnTo>
                      <a:pt x="41" y="173"/>
                    </a:lnTo>
                    <a:lnTo>
                      <a:pt x="54" y="144"/>
                    </a:lnTo>
                    <a:lnTo>
                      <a:pt x="64" y="169"/>
                    </a:lnTo>
                    <a:lnTo>
                      <a:pt x="70" y="200"/>
                    </a:lnTo>
                    <a:lnTo>
                      <a:pt x="73" y="200"/>
                    </a:lnTo>
                    <a:lnTo>
                      <a:pt x="79" y="201"/>
                    </a:lnTo>
                    <a:lnTo>
                      <a:pt x="85" y="200"/>
                    </a:lnTo>
                    <a:lnTo>
                      <a:pt x="85" y="184"/>
                    </a:lnTo>
                    <a:lnTo>
                      <a:pt x="93" y="184"/>
                    </a:lnTo>
                    <a:lnTo>
                      <a:pt x="104" y="180"/>
                    </a:lnTo>
                    <a:lnTo>
                      <a:pt x="106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00" y="173"/>
                    </a:lnTo>
                    <a:lnTo>
                      <a:pt x="93" y="167"/>
                    </a:lnTo>
                    <a:lnTo>
                      <a:pt x="89" y="161"/>
                    </a:lnTo>
                    <a:lnTo>
                      <a:pt x="89" y="155"/>
                    </a:lnTo>
                    <a:lnTo>
                      <a:pt x="93" y="151"/>
                    </a:lnTo>
                    <a:lnTo>
                      <a:pt x="93" y="146"/>
                    </a:lnTo>
                    <a:lnTo>
                      <a:pt x="81" y="142"/>
                    </a:lnTo>
                    <a:lnTo>
                      <a:pt x="75" y="138"/>
                    </a:lnTo>
                    <a:lnTo>
                      <a:pt x="75" y="125"/>
                    </a:lnTo>
                    <a:lnTo>
                      <a:pt x="73" y="119"/>
                    </a:lnTo>
                    <a:lnTo>
                      <a:pt x="58" y="115"/>
                    </a:lnTo>
                    <a:lnTo>
                      <a:pt x="58" y="107"/>
                    </a:lnTo>
                    <a:lnTo>
                      <a:pt x="64" y="107"/>
                    </a:lnTo>
                    <a:lnTo>
                      <a:pt x="70" y="109"/>
                    </a:lnTo>
                    <a:lnTo>
                      <a:pt x="75" y="107"/>
                    </a:lnTo>
                    <a:lnTo>
                      <a:pt x="83" y="103"/>
                    </a:lnTo>
                    <a:lnTo>
                      <a:pt x="89" y="98"/>
                    </a:lnTo>
                    <a:lnTo>
                      <a:pt x="96" y="92"/>
                    </a:lnTo>
                    <a:lnTo>
                      <a:pt x="96" y="105"/>
                    </a:lnTo>
                    <a:lnTo>
                      <a:pt x="100" y="103"/>
                    </a:lnTo>
                    <a:lnTo>
                      <a:pt x="106" y="100"/>
                    </a:lnTo>
                    <a:lnTo>
                      <a:pt x="116" y="100"/>
                    </a:lnTo>
                    <a:lnTo>
                      <a:pt x="100" y="92"/>
                    </a:lnTo>
                    <a:lnTo>
                      <a:pt x="100" y="86"/>
                    </a:lnTo>
                    <a:lnTo>
                      <a:pt x="112" y="73"/>
                    </a:lnTo>
                    <a:lnTo>
                      <a:pt x="66" y="73"/>
                    </a:lnTo>
                    <a:lnTo>
                      <a:pt x="60" y="80"/>
                    </a:lnTo>
                    <a:lnTo>
                      <a:pt x="50" y="80"/>
                    </a:lnTo>
                    <a:lnTo>
                      <a:pt x="50" y="73"/>
                    </a:lnTo>
                    <a:lnTo>
                      <a:pt x="48" y="73"/>
                    </a:lnTo>
                    <a:lnTo>
                      <a:pt x="43" y="75"/>
                    </a:lnTo>
                    <a:lnTo>
                      <a:pt x="41" y="73"/>
                    </a:lnTo>
                    <a:lnTo>
                      <a:pt x="41" y="61"/>
                    </a:lnTo>
                    <a:lnTo>
                      <a:pt x="43" y="48"/>
                    </a:lnTo>
                    <a:lnTo>
                      <a:pt x="45" y="38"/>
                    </a:lnTo>
                    <a:lnTo>
                      <a:pt x="75" y="42"/>
                    </a:lnTo>
                    <a:lnTo>
                      <a:pt x="110" y="44"/>
                    </a:lnTo>
                    <a:lnTo>
                      <a:pt x="137" y="38"/>
                    </a:lnTo>
                    <a:lnTo>
                      <a:pt x="137" y="34"/>
                    </a:lnTo>
                    <a:lnTo>
                      <a:pt x="146" y="25"/>
                    </a:lnTo>
                    <a:lnTo>
                      <a:pt x="154" y="5"/>
                    </a:lnTo>
                    <a:lnTo>
                      <a:pt x="14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4" name="Freeform 182"/>
              <p:cNvSpPr>
                <a:spLocks/>
              </p:cNvSpPr>
              <p:nvPr/>
            </p:nvSpPr>
            <p:spPr bwMode="gray">
              <a:xfrm>
                <a:off x="4657" y="2794"/>
                <a:ext cx="119" cy="133"/>
              </a:xfrm>
              <a:custGeom>
                <a:avLst/>
                <a:gdLst>
                  <a:gd name="T0" fmla="*/ 238 w 238"/>
                  <a:gd name="T1" fmla="*/ 200 h 267"/>
                  <a:gd name="T2" fmla="*/ 238 w 238"/>
                  <a:gd name="T3" fmla="*/ 180 h 267"/>
                  <a:gd name="T4" fmla="*/ 232 w 238"/>
                  <a:gd name="T5" fmla="*/ 61 h 267"/>
                  <a:gd name="T6" fmla="*/ 222 w 238"/>
                  <a:gd name="T7" fmla="*/ 59 h 267"/>
                  <a:gd name="T8" fmla="*/ 205 w 238"/>
                  <a:gd name="T9" fmla="*/ 59 h 267"/>
                  <a:gd name="T10" fmla="*/ 174 w 238"/>
                  <a:gd name="T11" fmla="*/ 40 h 267"/>
                  <a:gd name="T12" fmla="*/ 151 w 238"/>
                  <a:gd name="T13" fmla="*/ 40 h 267"/>
                  <a:gd name="T14" fmla="*/ 146 w 238"/>
                  <a:gd name="T15" fmla="*/ 52 h 267"/>
                  <a:gd name="T16" fmla="*/ 134 w 238"/>
                  <a:gd name="T17" fmla="*/ 56 h 267"/>
                  <a:gd name="T18" fmla="*/ 125 w 238"/>
                  <a:gd name="T19" fmla="*/ 65 h 267"/>
                  <a:gd name="T20" fmla="*/ 119 w 238"/>
                  <a:gd name="T21" fmla="*/ 79 h 267"/>
                  <a:gd name="T22" fmla="*/ 96 w 238"/>
                  <a:gd name="T23" fmla="*/ 82 h 267"/>
                  <a:gd name="T24" fmla="*/ 92 w 238"/>
                  <a:gd name="T25" fmla="*/ 69 h 267"/>
                  <a:gd name="T26" fmla="*/ 86 w 238"/>
                  <a:gd name="T27" fmla="*/ 61 h 267"/>
                  <a:gd name="T28" fmla="*/ 77 w 238"/>
                  <a:gd name="T29" fmla="*/ 63 h 267"/>
                  <a:gd name="T30" fmla="*/ 77 w 238"/>
                  <a:gd name="T31" fmla="*/ 29 h 267"/>
                  <a:gd name="T32" fmla="*/ 71 w 238"/>
                  <a:gd name="T33" fmla="*/ 7 h 267"/>
                  <a:gd name="T34" fmla="*/ 61 w 238"/>
                  <a:gd name="T35" fmla="*/ 2 h 267"/>
                  <a:gd name="T36" fmla="*/ 44 w 238"/>
                  <a:gd name="T37" fmla="*/ 4 h 267"/>
                  <a:gd name="T38" fmla="*/ 29 w 238"/>
                  <a:gd name="T39" fmla="*/ 0 h 267"/>
                  <a:gd name="T40" fmla="*/ 21 w 238"/>
                  <a:gd name="T41" fmla="*/ 7 h 267"/>
                  <a:gd name="T42" fmla="*/ 13 w 238"/>
                  <a:gd name="T43" fmla="*/ 11 h 267"/>
                  <a:gd name="T44" fmla="*/ 0 w 238"/>
                  <a:gd name="T45" fmla="*/ 9 h 267"/>
                  <a:gd name="T46" fmla="*/ 2 w 238"/>
                  <a:gd name="T47" fmla="*/ 23 h 267"/>
                  <a:gd name="T48" fmla="*/ 0 w 238"/>
                  <a:gd name="T49" fmla="*/ 34 h 267"/>
                  <a:gd name="T50" fmla="*/ 15 w 238"/>
                  <a:gd name="T51" fmla="*/ 32 h 267"/>
                  <a:gd name="T52" fmla="*/ 23 w 238"/>
                  <a:gd name="T53" fmla="*/ 42 h 267"/>
                  <a:gd name="T54" fmla="*/ 61 w 238"/>
                  <a:gd name="T55" fmla="*/ 48 h 267"/>
                  <a:gd name="T56" fmla="*/ 63 w 238"/>
                  <a:gd name="T57" fmla="*/ 57 h 267"/>
                  <a:gd name="T58" fmla="*/ 34 w 238"/>
                  <a:gd name="T59" fmla="*/ 63 h 267"/>
                  <a:gd name="T60" fmla="*/ 50 w 238"/>
                  <a:gd name="T61" fmla="*/ 69 h 267"/>
                  <a:gd name="T62" fmla="*/ 32 w 238"/>
                  <a:gd name="T63" fmla="*/ 67 h 267"/>
                  <a:gd name="T64" fmla="*/ 50 w 238"/>
                  <a:gd name="T65" fmla="*/ 98 h 267"/>
                  <a:gd name="T66" fmla="*/ 57 w 238"/>
                  <a:gd name="T67" fmla="*/ 86 h 267"/>
                  <a:gd name="T68" fmla="*/ 65 w 238"/>
                  <a:gd name="T69" fmla="*/ 86 h 267"/>
                  <a:gd name="T70" fmla="*/ 73 w 238"/>
                  <a:gd name="T71" fmla="*/ 94 h 267"/>
                  <a:gd name="T72" fmla="*/ 86 w 238"/>
                  <a:gd name="T73" fmla="*/ 104 h 267"/>
                  <a:gd name="T74" fmla="*/ 88 w 238"/>
                  <a:gd name="T75" fmla="*/ 113 h 267"/>
                  <a:gd name="T76" fmla="*/ 123 w 238"/>
                  <a:gd name="T77" fmla="*/ 121 h 267"/>
                  <a:gd name="T78" fmla="*/ 142 w 238"/>
                  <a:gd name="T79" fmla="*/ 136 h 267"/>
                  <a:gd name="T80" fmla="*/ 146 w 238"/>
                  <a:gd name="T81" fmla="*/ 142 h 267"/>
                  <a:gd name="T82" fmla="*/ 155 w 238"/>
                  <a:gd name="T83" fmla="*/ 138 h 267"/>
                  <a:gd name="T84" fmla="*/ 176 w 238"/>
                  <a:gd name="T85" fmla="*/ 171 h 267"/>
                  <a:gd name="T86" fmla="*/ 190 w 238"/>
                  <a:gd name="T87" fmla="*/ 225 h 267"/>
                  <a:gd name="T88" fmla="*/ 178 w 238"/>
                  <a:gd name="T89" fmla="*/ 225 h 267"/>
                  <a:gd name="T90" fmla="*/ 169 w 238"/>
                  <a:gd name="T91" fmla="*/ 230 h 267"/>
                  <a:gd name="T92" fmla="*/ 157 w 238"/>
                  <a:gd name="T93" fmla="*/ 244 h 267"/>
                  <a:gd name="T94" fmla="*/ 174 w 238"/>
                  <a:gd name="T95" fmla="*/ 242 h 267"/>
                  <a:gd name="T96" fmla="*/ 184 w 238"/>
                  <a:gd name="T97" fmla="*/ 232 h 267"/>
                  <a:gd name="T98" fmla="*/ 209 w 238"/>
                  <a:gd name="T99" fmla="*/ 236 h 267"/>
                  <a:gd name="T100" fmla="*/ 224 w 238"/>
                  <a:gd name="T101" fmla="*/ 248 h 267"/>
                  <a:gd name="T102" fmla="*/ 238 w 238"/>
                  <a:gd name="T103" fmla="*/ 267 h 26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38"/>
                  <a:gd name="T157" fmla="*/ 0 h 267"/>
                  <a:gd name="T158" fmla="*/ 238 w 238"/>
                  <a:gd name="T159" fmla="*/ 267 h 26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38" h="267">
                    <a:moveTo>
                      <a:pt x="238" y="267"/>
                    </a:moveTo>
                    <a:lnTo>
                      <a:pt x="238" y="200"/>
                    </a:lnTo>
                    <a:lnTo>
                      <a:pt x="232" y="188"/>
                    </a:lnTo>
                    <a:lnTo>
                      <a:pt x="238" y="180"/>
                    </a:lnTo>
                    <a:lnTo>
                      <a:pt x="236" y="65"/>
                    </a:lnTo>
                    <a:lnTo>
                      <a:pt x="232" y="61"/>
                    </a:lnTo>
                    <a:lnTo>
                      <a:pt x="232" y="59"/>
                    </a:lnTo>
                    <a:lnTo>
                      <a:pt x="222" y="59"/>
                    </a:lnTo>
                    <a:lnTo>
                      <a:pt x="213" y="61"/>
                    </a:lnTo>
                    <a:lnTo>
                      <a:pt x="205" y="59"/>
                    </a:lnTo>
                    <a:lnTo>
                      <a:pt x="190" y="52"/>
                    </a:lnTo>
                    <a:lnTo>
                      <a:pt x="174" y="40"/>
                    </a:lnTo>
                    <a:lnTo>
                      <a:pt x="155" y="36"/>
                    </a:lnTo>
                    <a:lnTo>
                      <a:pt x="151" y="40"/>
                    </a:lnTo>
                    <a:lnTo>
                      <a:pt x="149" y="48"/>
                    </a:lnTo>
                    <a:lnTo>
                      <a:pt x="146" y="52"/>
                    </a:lnTo>
                    <a:lnTo>
                      <a:pt x="140" y="56"/>
                    </a:lnTo>
                    <a:lnTo>
                      <a:pt x="134" y="56"/>
                    </a:lnTo>
                    <a:lnTo>
                      <a:pt x="128" y="59"/>
                    </a:lnTo>
                    <a:lnTo>
                      <a:pt x="125" y="65"/>
                    </a:lnTo>
                    <a:lnTo>
                      <a:pt x="123" y="75"/>
                    </a:lnTo>
                    <a:lnTo>
                      <a:pt x="119" y="79"/>
                    </a:lnTo>
                    <a:lnTo>
                      <a:pt x="113" y="82"/>
                    </a:lnTo>
                    <a:lnTo>
                      <a:pt x="96" y="82"/>
                    </a:lnTo>
                    <a:lnTo>
                      <a:pt x="94" y="75"/>
                    </a:lnTo>
                    <a:lnTo>
                      <a:pt x="92" y="69"/>
                    </a:lnTo>
                    <a:lnTo>
                      <a:pt x="88" y="59"/>
                    </a:lnTo>
                    <a:lnTo>
                      <a:pt x="86" y="61"/>
                    </a:lnTo>
                    <a:lnTo>
                      <a:pt x="80" y="65"/>
                    </a:lnTo>
                    <a:lnTo>
                      <a:pt x="77" y="63"/>
                    </a:lnTo>
                    <a:lnTo>
                      <a:pt x="75" y="48"/>
                    </a:lnTo>
                    <a:lnTo>
                      <a:pt x="77" y="29"/>
                    </a:lnTo>
                    <a:lnTo>
                      <a:pt x="77" y="9"/>
                    </a:lnTo>
                    <a:lnTo>
                      <a:pt x="71" y="7"/>
                    </a:lnTo>
                    <a:lnTo>
                      <a:pt x="67" y="6"/>
                    </a:lnTo>
                    <a:lnTo>
                      <a:pt x="61" y="2"/>
                    </a:lnTo>
                    <a:lnTo>
                      <a:pt x="50" y="7"/>
                    </a:lnTo>
                    <a:lnTo>
                      <a:pt x="44" y="4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5" y="2"/>
                    </a:lnTo>
                    <a:lnTo>
                      <a:pt x="21" y="7"/>
                    </a:lnTo>
                    <a:lnTo>
                      <a:pt x="19" y="9"/>
                    </a:lnTo>
                    <a:lnTo>
                      <a:pt x="13" y="11"/>
                    </a:lnTo>
                    <a:lnTo>
                      <a:pt x="7" y="9"/>
                    </a:lnTo>
                    <a:lnTo>
                      <a:pt x="0" y="9"/>
                    </a:lnTo>
                    <a:lnTo>
                      <a:pt x="2" y="15"/>
                    </a:lnTo>
                    <a:lnTo>
                      <a:pt x="2" y="23"/>
                    </a:lnTo>
                    <a:lnTo>
                      <a:pt x="0" y="27"/>
                    </a:lnTo>
                    <a:lnTo>
                      <a:pt x="0" y="34"/>
                    </a:lnTo>
                    <a:lnTo>
                      <a:pt x="7" y="32"/>
                    </a:lnTo>
                    <a:lnTo>
                      <a:pt x="15" y="32"/>
                    </a:lnTo>
                    <a:lnTo>
                      <a:pt x="23" y="36"/>
                    </a:lnTo>
                    <a:lnTo>
                      <a:pt x="23" y="42"/>
                    </a:lnTo>
                    <a:lnTo>
                      <a:pt x="25" y="48"/>
                    </a:lnTo>
                    <a:lnTo>
                      <a:pt x="61" y="48"/>
                    </a:lnTo>
                    <a:lnTo>
                      <a:pt x="65" y="52"/>
                    </a:lnTo>
                    <a:lnTo>
                      <a:pt x="63" y="57"/>
                    </a:lnTo>
                    <a:lnTo>
                      <a:pt x="61" y="59"/>
                    </a:lnTo>
                    <a:lnTo>
                      <a:pt x="34" y="63"/>
                    </a:lnTo>
                    <a:lnTo>
                      <a:pt x="19" y="63"/>
                    </a:lnTo>
                    <a:lnTo>
                      <a:pt x="50" y="69"/>
                    </a:lnTo>
                    <a:lnTo>
                      <a:pt x="30" y="71"/>
                    </a:lnTo>
                    <a:lnTo>
                      <a:pt x="32" y="67"/>
                    </a:lnTo>
                    <a:lnTo>
                      <a:pt x="38" y="79"/>
                    </a:lnTo>
                    <a:lnTo>
                      <a:pt x="50" y="98"/>
                    </a:lnTo>
                    <a:lnTo>
                      <a:pt x="54" y="90"/>
                    </a:lnTo>
                    <a:lnTo>
                      <a:pt x="57" y="86"/>
                    </a:lnTo>
                    <a:lnTo>
                      <a:pt x="57" y="84"/>
                    </a:lnTo>
                    <a:lnTo>
                      <a:pt x="65" y="86"/>
                    </a:lnTo>
                    <a:lnTo>
                      <a:pt x="65" y="90"/>
                    </a:lnTo>
                    <a:lnTo>
                      <a:pt x="73" y="94"/>
                    </a:lnTo>
                    <a:lnTo>
                      <a:pt x="84" y="98"/>
                    </a:lnTo>
                    <a:lnTo>
                      <a:pt x="86" y="104"/>
                    </a:lnTo>
                    <a:lnTo>
                      <a:pt x="86" y="109"/>
                    </a:lnTo>
                    <a:lnTo>
                      <a:pt x="88" y="113"/>
                    </a:lnTo>
                    <a:lnTo>
                      <a:pt x="105" y="119"/>
                    </a:lnTo>
                    <a:lnTo>
                      <a:pt x="123" y="121"/>
                    </a:lnTo>
                    <a:lnTo>
                      <a:pt x="138" y="125"/>
                    </a:lnTo>
                    <a:lnTo>
                      <a:pt x="142" y="136"/>
                    </a:lnTo>
                    <a:lnTo>
                      <a:pt x="144" y="140"/>
                    </a:lnTo>
                    <a:lnTo>
                      <a:pt x="146" y="142"/>
                    </a:lnTo>
                    <a:lnTo>
                      <a:pt x="148" y="138"/>
                    </a:lnTo>
                    <a:lnTo>
                      <a:pt x="155" y="138"/>
                    </a:lnTo>
                    <a:lnTo>
                      <a:pt x="171" y="144"/>
                    </a:lnTo>
                    <a:lnTo>
                      <a:pt x="176" y="171"/>
                    </a:lnTo>
                    <a:lnTo>
                      <a:pt x="184" y="200"/>
                    </a:lnTo>
                    <a:lnTo>
                      <a:pt x="190" y="225"/>
                    </a:lnTo>
                    <a:lnTo>
                      <a:pt x="184" y="227"/>
                    </a:lnTo>
                    <a:lnTo>
                      <a:pt x="178" y="225"/>
                    </a:lnTo>
                    <a:lnTo>
                      <a:pt x="173" y="225"/>
                    </a:lnTo>
                    <a:lnTo>
                      <a:pt x="169" y="230"/>
                    </a:lnTo>
                    <a:lnTo>
                      <a:pt x="163" y="238"/>
                    </a:lnTo>
                    <a:lnTo>
                      <a:pt x="157" y="244"/>
                    </a:lnTo>
                    <a:lnTo>
                      <a:pt x="167" y="242"/>
                    </a:lnTo>
                    <a:lnTo>
                      <a:pt x="174" y="242"/>
                    </a:lnTo>
                    <a:lnTo>
                      <a:pt x="184" y="240"/>
                    </a:lnTo>
                    <a:lnTo>
                      <a:pt x="184" y="232"/>
                    </a:lnTo>
                    <a:lnTo>
                      <a:pt x="196" y="232"/>
                    </a:lnTo>
                    <a:lnTo>
                      <a:pt x="209" y="236"/>
                    </a:lnTo>
                    <a:lnTo>
                      <a:pt x="219" y="236"/>
                    </a:lnTo>
                    <a:lnTo>
                      <a:pt x="224" y="248"/>
                    </a:lnTo>
                    <a:lnTo>
                      <a:pt x="236" y="267"/>
                    </a:lnTo>
                    <a:lnTo>
                      <a:pt x="238" y="26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5" name="Freeform 183"/>
              <p:cNvSpPr>
                <a:spLocks/>
              </p:cNvSpPr>
              <p:nvPr/>
            </p:nvSpPr>
            <p:spPr bwMode="gray">
              <a:xfrm>
                <a:off x="3880" y="2207"/>
                <a:ext cx="366" cy="452"/>
              </a:xfrm>
              <a:custGeom>
                <a:avLst/>
                <a:gdLst>
                  <a:gd name="T0" fmla="*/ 480 w 731"/>
                  <a:gd name="T1" fmla="*/ 493 h 905"/>
                  <a:gd name="T2" fmla="*/ 470 w 731"/>
                  <a:gd name="T3" fmla="*/ 518 h 905"/>
                  <a:gd name="T4" fmla="*/ 420 w 731"/>
                  <a:gd name="T5" fmla="*/ 553 h 905"/>
                  <a:gd name="T6" fmla="*/ 405 w 731"/>
                  <a:gd name="T7" fmla="*/ 572 h 905"/>
                  <a:gd name="T8" fmla="*/ 374 w 731"/>
                  <a:gd name="T9" fmla="*/ 616 h 905"/>
                  <a:gd name="T10" fmla="*/ 344 w 731"/>
                  <a:gd name="T11" fmla="*/ 643 h 905"/>
                  <a:gd name="T12" fmla="*/ 296 w 731"/>
                  <a:gd name="T13" fmla="*/ 666 h 905"/>
                  <a:gd name="T14" fmla="*/ 290 w 731"/>
                  <a:gd name="T15" fmla="*/ 713 h 905"/>
                  <a:gd name="T16" fmla="*/ 294 w 731"/>
                  <a:gd name="T17" fmla="*/ 778 h 905"/>
                  <a:gd name="T18" fmla="*/ 265 w 731"/>
                  <a:gd name="T19" fmla="*/ 855 h 905"/>
                  <a:gd name="T20" fmla="*/ 244 w 731"/>
                  <a:gd name="T21" fmla="*/ 887 h 905"/>
                  <a:gd name="T22" fmla="*/ 221 w 731"/>
                  <a:gd name="T23" fmla="*/ 897 h 905"/>
                  <a:gd name="T24" fmla="*/ 198 w 731"/>
                  <a:gd name="T25" fmla="*/ 862 h 905"/>
                  <a:gd name="T26" fmla="*/ 188 w 731"/>
                  <a:gd name="T27" fmla="*/ 822 h 905"/>
                  <a:gd name="T28" fmla="*/ 156 w 731"/>
                  <a:gd name="T29" fmla="*/ 734 h 905"/>
                  <a:gd name="T30" fmla="*/ 129 w 731"/>
                  <a:gd name="T31" fmla="*/ 647 h 905"/>
                  <a:gd name="T32" fmla="*/ 117 w 731"/>
                  <a:gd name="T33" fmla="*/ 567 h 905"/>
                  <a:gd name="T34" fmla="*/ 111 w 731"/>
                  <a:gd name="T35" fmla="*/ 497 h 905"/>
                  <a:gd name="T36" fmla="*/ 104 w 731"/>
                  <a:gd name="T37" fmla="*/ 474 h 905"/>
                  <a:gd name="T38" fmla="*/ 98 w 731"/>
                  <a:gd name="T39" fmla="*/ 490 h 905"/>
                  <a:gd name="T40" fmla="*/ 40 w 731"/>
                  <a:gd name="T41" fmla="*/ 493 h 905"/>
                  <a:gd name="T42" fmla="*/ 33 w 731"/>
                  <a:gd name="T43" fmla="*/ 457 h 905"/>
                  <a:gd name="T44" fmla="*/ 33 w 731"/>
                  <a:gd name="T45" fmla="*/ 438 h 905"/>
                  <a:gd name="T46" fmla="*/ 0 w 731"/>
                  <a:gd name="T47" fmla="*/ 407 h 905"/>
                  <a:gd name="T48" fmla="*/ 29 w 731"/>
                  <a:gd name="T49" fmla="*/ 346 h 905"/>
                  <a:gd name="T50" fmla="*/ 54 w 731"/>
                  <a:gd name="T51" fmla="*/ 292 h 905"/>
                  <a:gd name="T52" fmla="*/ 111 w 731"/>
                  <a:gd name="T53" fmla="*/ 228 h 905"/>
                  <a:gd name="T54" fmla="*/ 148 w 731"/>
                  <a:gd name="T55" fmla="*/ 157 h 905"/>
                  <a:gd name="T56" fmla="*/ 110 w 731"/>
                  <a:gd name="T57" fmla="*/ 90 h 905"/>
                  <a:gd name="T58" fmla="*/ 150 w 731"/>
                  <a:gd name="T59" fmla="*/ 63 h 905"/>
                  <a:gd name="T60" fmla="*/ 211 w 731"/>
                  <a:gd name="T61" fmla="*/ 15 h 905"/>
                  <a:gd name="T62" fmla="*/ 273 w 731"/>
                  <a:gd name="T63" fmla="*/ 23 h 905"/>
                  <a:gd name="T64" fmla="*/ 246 w 731"/>
                  <a:gd name="T65" fmla="*/ 80 h 905"/>
                  <a:gd name="T66" fmla="*/ 271 w 731"/>
                  <a:gd name="T67" fmla="*/ 130 h 905"/>
                  <a:gd name="T68" fmla="*/ 280 w 731"/>
                  <a:gd name="T69" fmla="*/ 180 h 905"/>
                  <a:gd name="T70" fmla="*/ 296 w 731"/>
                  <a:gd name="T71" fmla="*/ 234 h 905"/>
                  <a:gd name="T72" fmla="*/ 376 w 731"/>
                  <a:gd name="T73" fmla="*/ 284 h 905"/>
                  <a:gd name="T74" fmla="*/ 459 w 731"/>
                  <a:gd name="T75" fmla="*/ 322 h 905"/>
                  <a:gd name="T76" fmla="*/ 493 w 731"/>
                  <a:gd name="T77" fmla="*/ 305 h 905"/>
                  <a:gd name="T78" fmla="*/ 526 w 731"/>
                  <a:gd name="T79" fmla="*/ 297 h 905"/>
                  <a:gd name="T80" fmla="*/ 603 w 731"/>
                  <a:gd name="T81" fmla="*/ 301 h 905"/>
                  <a:gd name="T82" fmla="*/ 647 w 731"/>
                  <a:gd name="T83" fmla="*/ 255 h 905"/>
                  <a:gd name="T84" fmla="*/ 693 w 731"/>
                  <a:gd name="T85" fmla="*/ 276 h 905"/>
                  <a:gd name="T86" fmla="*/ 731 w 731"/>
                  <a:gd name="T87" fmla="*/ 299 h 905"/>
                  <a:gd name="T88" fmla="*/ 691 w 731"/>
                  <a:gd name="T89" fmla="*/ 355 h 905"/>
                  <a:gd name="T90" fmla="*/ 664 w 731"/>
                  <a:gd name="T91" fmla="*/ 395 h 905"/>
                  <a:gd name="T92" fmla="*/ 641 w 731"/>
                  <a:gd name="T93" fmla="*/ 463 h 905"/>
                  <a:gd name="T94" fmla="*/ 614 w 731"/>
                  <a:gd name="T95" fmla="*/ 453 h 905"/>
                  <a:gd name="T96" fmla="*/ 597 w 731"/>
                  <a:gd name="T97" fmla="*/ 409 h 905"/>
                  <a:gd name="T98" fmla="*/ 595 w 731"/>
                  <a:gd name="T99" fmla="*/ 374 h 905"/>
                  <a:gd name="T100" fmla="*/ 520 w 731"/>
                  <a:gd name="T101" fmla="*/ 342 h 905"/>
                  <a:gd name="T102" fmla="*/ 486 w 731"/>
                  <a:gd name="T103" fmla="*/ 374 h 905"/>
                  <a:gd name="T104" fmla="*/ 514 w 731"/>
                  <a:gd name="T105" fmla="*/ 445 h 90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731"/>
                  <a:gd name="T160" fmla="*/ 0 h 905"/>
                  <a:gd name="T161" fmla="*/ 731 w 731"/>
                  <a:gd name="T162" fmla="*/ 905 h 905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731" h="905">
                    <a:moveTo>
                      <a:pt x="513" y="493"/>
                    </a:moveTo>
                    <a:lnTo>
                      <a:pt x="507" y="490"/>
                    </a:lnTo>
                    <a:lnTo>
                      <a:pt x="499" y="484"/>
                    </a:lnTo>
                    <a:lnTo>
                      <a:pt x="490" y="482"/>
                    </a:lnTo>
                    <a:lnTo>
                      <a:pt x="490" y="490"/>
                    </a:lnTo>
                    <a:lnTo>
                      <a:pt x="480" y="493"/>
                    </a:lnTo>
                    <a:lnTo>
                      <a:pt x="474" y="499"/>
                    </a:lnTo>
                    <a:lnTo>
                      <a:pt x="470" y="509"/>
                    </a:lnTo>
                    <a:lnTo>
                      <a:pt x="467" y="509"/>
                    </a:lnTo>
                    <a:lnTo>
                      <a:pt x="465" y="511"/>
                    </a:lnTo>
                    <a:lnTo>
                      <a:pt x="468" y="515"/>
                    </a:lnTo>
                    <a:lnTo>
                      <a:pt x="470" y="518"/>
                    </a:lnTo>
                    <a:lnTo>
                      <a:pt x="470" y="524"/>
                    </a:lnTo>
                    <a:lnTo>
                      <a:pt x="461" y="534"/>
                    </a:lnTo>
                    <a:lnTo>
                      <a:pt x="447" y="545"/>
                    </a:lnTo>
                    <a:lnTo>
                      <a:pt x="436" y="551"/>
                    </a:lnTo>
                    <a:lnTo>
                      <a:pt x="420" y="551"/>
                    </a:lnTo>
                    <a:lnTo>
                      <a:pt x="420" y="553"/>
                    </a:lnTo>
                    <a:lnTo>
                      <a:pt x="422" y="557"/>
                    </a:lnTo>
                    <a:lnTo>
                      <a:pt x="424" y="559"/>
                    </a:lnTo>
                    <a:lnTo>
                      <a:pt x="420" y="561"/>
                    </a:lnTo>
                    <a:lnTo>
                      <a:pt x="417" y="561"/>
                    </a:lnTo>
                    <a:lnTo>
                      <a:pt x="413" y="563"/>
                    </a:lnTo>
                    <a:lnTo>
                      <a:pt x="405" y="572"/>
                    </a:lnTo>
                    <a:lnTo>
                      <a:pt x="399" y="586"/>
                    </a:lnTo>
                    <a:lnTo>
                      <a:pt x="394" y="597"/>
                    </a:lnTo>
                    <a:lnTo>
                      <a:pt x="386" y="601"/>
                    </a:lnTo>
                    <a:lnTo>
                      <a:pt x="378" y="603"/>
                    </a:lnTo>
                    <a:lnTo>
                      <a:pt x="374" y="609"/>
                    </a:lnTo>
                    <a:lnTo>
                      <a:pt x="374" y="616"/>
                    </a:lnTo>
                    <a:lnTo>
                      <a:pt x="365" y="618"/>
                    </a:lnTo>
                    <a:lnTo>
                      <a:pt x="357" y="618"/>
                    </a:lnTo>
                    <a:lnTo>
                      <a:pt x="349" y="620"/>
                    </a:lnTo>
                    <a:lnTo>
                      <a:pt x="348" y="626"/>
                    </a:lnTo>
                    <a:lnTo>
                      <a:pt x="346" y="636"/>
                    </a:lnTo>
                    <a:lnTo>
                      <a:pt x="344" y="643"/>
                    </a:lnTo>
                    <a:lnTo>
                      <a:pt x="338" y="647"/>
                    </a:lnTo>
                    <a:lnTo>
                      <a:pt x="323" y="651"/>
                    </a:lnTo>
                    <a:lnTo>
                      <a:pt x="321" y="657"/>
                    </a:lnTo>
                    <a:lnTo>
                      <a:pt x="317" y="663"/>
                    </a:lnTo>
                    <a:lnTo>
                      <a:pt x="313" y="666"/>
                    </a:lnTo>
                    <a:lnTo>
                      <a:pt x="296" y="666"/>
                    </a:lnTo>
                    <a:lnTo>
                      <a:pt x="292" y="674"/>
                    </a:lnTo>
                    <a:lnTo>
                      <a:pt x="288" y="678"/>
                    </a:lnTo>
                    <a:lnTo>
                      <a:pt x="292" y="684"/>
                    </a:lnTo>
                    <a:lnTo>
                      <a:pt x="296" y="693"/>
                    </a:lnTo>
                    <a:lnTo>
                      <a:pt x="296" y="697"/>
                    </a:lnTo>
                    <a:lnTo>
                      <a:pt x="290" y="713"/>
                    </a:lnTo>
                    <a:lnTo>
                      <a:pt x="288" y="736"/>
                    </a:lnTo>
                    <a:lnTo>
                      <a:pt x="288" y="751"/>
                    </a:lnTo>
                    <a:lnTo>
                      <a:pt x="292" y="755"/>
                    </a:lnTo>
                    <a:lnTo>
                      <a:pt x="296" y="764"/>
                    </a:lnTo>
                    <a:lnTo>
                      <a:pt x="296" y="770"/>
                    </a:lnTo>
                    <a:lnTo>
                      <a:pt x="294" y="778"/>
                    </a:lnTo>
                    <a:lnTo>
                      <a:pt x="286" y="788"/>
                    </a:lnTo>
                    <a:lnTo>
                      <a:pt x="282" y="797"/>
                    </a:lnTo>
                    <a:lnTo>
                      <a:pt x="282" y="816"/>
                    </a:lnTo>
                    <a:lnTo>
                      <a:pt x="286" y="847"/>
                    </a:lnTo>
                    <a:lnTo>
                      <a:pt x="275" y="847"/>
                    </a:lnTo>
                    <a:lnTo>
                      <a:pt x="265" y="855"/>
                    </a:lnTo>
                    <a:lnTo>
                      <a:pt x="263" y="866"/>
                    </a:lnTo>
                    <a:lnTo>
                      <a:pt x="259" y="878"/>
                    </a:lnTo>
                    <a:lnTo>
                      <a:pt x="255" y="880"/>
                    </a:lnTo>
                    <a:lnTo>
                      <a:pt x="252" y="880"/>
                    </a:lnTo>
                    <a:lnTo>
                      <a:pt x="248" y="882"/>
                    </a:lnTo>
                    <a:lnTo>
                      <a:pt x="244" y="887"/>
                    </a:lnTo>
                    <a:lnTo>
                      <a:pt x="238" y="897"/>
                    </a:lnTo>
                    <a:lnTo>
                      <a:pt x="236" y="905"/>
                    </a:lnTo>
                    <a:lnTo>
                      <a:pt x="232" y="905"/>
                    </a:lnTo>
                    <a:lnTo>
                      <a:pt x="227" y="903"/>
                    </a:lnTo>
                    <a:lnTo>
                      <a:pt x="225" y="905"/>
                    </a:lnTo>
                    <a:lnTo>
                      <a:pt x="221" y="897"/>
                    </a:lnTo>
                    <a:lnTo>
                      <a:pt x="221" y="893"/>
                    </a:lnTo>
                    <a:lnTo>
                      <a:pt x="219" y="889"/>
                    </a:lnTo>
                    <a:lnTo>
                      <a:pt x="215" y="886"/>
                    </a:lnTo>
                    <a:lnTo>
                      <a:pt x="213" y="882"/>
                    </a:lnTo>
                    <a:lnTo>
                      <a:pt x="202" y="866"/>
                    </a:lnTo>
                    <a:lnTo>
                      <a:pt x="198" y="862"/>
                    </a:lnTo>
                    <a:lnTo>
                      <a:pt x="198" y="855"/>
                    </a:lnTo>
                    <a:lnTo>
                      <a:pt x="202" y="851"/>
                    </a:lnTo>
                    <a:lnTo>
                      <a:pt x="202" y="843"/>
                    </a:lnTo>
                    <a:lnTo>
                      <a:pt x="194" y="839"/>
                    </a:lnTo>
                    <a:lnTo>
                      <a:pt x="190" y="830"/>
                    </a:lnTo>
                    <a:lnTo>
                      <a:pt x="188" y="822"/>
                    </a:lnTo>
                    <a:lnTo>
                      <a:pt x="186" y="812"/>
                    </a:lnTo>
                    <a:lnTo>
                      <a:pt x="179" y="801"/>
                    </a:lnTo>
                    <a:lnTo>
                      <a:pt x="169" y="788"/>
                    </a:lnTo>
                    <a:lnTo>
                      <a:pt x="163" y="778"/>
                    </a:lnTo>
                    <a:lnTo>
                      <a:pt x="157" y="757"/>
                    </a:lnTo>
                    <a:lnTo>
                      <a:pt x="156" y="734"/>
                    </a:lnTo>
                    <a:lnTo>
                      <a:pt x="152" y="713"/>
                    </a:lnTo>
                    <a:lnTo>
                      <a:pt x="144" y="695"/>
                    </a:lnTo>
                    <a:lnTo>
                      <a:pt x="134" y="678"/>
                    </a:lnTo>
                    <a:lnTo>
                      <a:pt x="129" y="663"/>
                    </a:lnTo>
                    <a:lnTo>
                      <a:pt x="127" y="655"/>
                    </a:lnTo>
                    <a:lnTo>
                      <a:pt x="129" y="647"/>
                    </a:lnTo>
                    <a:lnTo>
                      <a:pt x="129" y="640"/>
                    </a:lnTo>
                    <a:lnTo>
                      <a:pt x="125" y="620"/>
                    </a:lnTo>
                    <a:lnTo>
                      <a:pt x="119" y="599"/>
                    </a:lnTo>
                    <a:lnTo>
                      <a:pt x="115" y="580"/>
                    </a:lnTo>
                    <a:lnTo>
                      <a:pt x="113" y="572"/>
                    </a:lnTo>
                    <a:lnTo>
                      <a:pt x="117" y="567"/>
                    </a:lnTo>
                    <a:lnTo>
                      <a:pt x="104" y="543"/>
                    </a:lnTo>
                    <a:lnTo>
                      <a:pt x="108" y="530"/>
                    </a:lnTo>
                    <a:lnTo>
                      <a:pt x="113" y="518"/>
                    </a:lnTo>
                    <a:lnTo>
                      <a:pt x="117" y="509"/>
                    </a:lnTo>
                    <a:lnTo>
                      <a:pt x="115" y="501"/>
                    </a:lnTo>
                    <a:lnTo>
                      <a:pt x="111" y="497"/>
                    </a:lnTo>
                    <a:lnTo>
                      <a:pt x="110" y="493"/>
                    </a:lnTo>
                    <a:lnTo>
                      <a:pt x="110" y="488"/>
                    </a:lnTo>
                    <a:lnTo>
                      <a:pt x="111" y="482"/>
                    </a:lnTo>
                    <a:lnTo>
                      <a:pt x="113" y="478"/>
                    </a:lnTo>
                    <a:lnTo>
                      <a:pt x="111" y="478"/>
                    </a:lnTo>
                    <a:lnTo>
                      <a:pt x="104" y="474"/>
                    </a:lnTo>
                    <a:lnTo>
                      <a:pt x="106" y="470"/>
                    </a:lnTo>
                    <a:lnTo>
                      <a:pt x="110" y="455"/>
                    </a:lnTo>
                    <a:lnTo>
                      <a:pt x="98" y="463"/>
                    </a:lnTo>
                    <a:lnTo>
                      <a:pt x="96" y="472"/>
                    </a:lnTo>
                    <a:lnTo>
                      <a:pt x="98" y="480"/>
                    </a:lnTo>
                    <a:lnTo>
                      <a:pt x="98" y="490"/>
                    </a:lnTo>
                    <a:lnTo>
                      <a:pt x="88" y="499"/>
                    </a:lnTo>
                    <a:lnTo>
                      <a:pt x="73" y="507"/>
                    </a:lnTo>
                    <a:lnTo>
                      <a:pt x="60" y="513"/>
                    </a:lnTo>
                    <a:lnTo>
                      <a:pt x="52" y="507"/>
                    </a:lnTo>
                    <a:lnTo>
                      <a:pt x="46" y="499"/>
                    </a:lnTo>
                    <a:lnTo>
                      <a:pt x="40" y="493"/>
                    </a:lnTo>
                    <a:lnTo>
                      <a:pt x="29" y="478"/>
                    </a:lnTo>
                    <a:lnTo>
                      <a:pt x="25" y="470"/>
                    </a:lnTo>
                    <a:lnTo>
                      <a:pt x="21" y="470"/>
                    </a:lnTo>
                    <a:lnTo>
                      <a:pt x="21" y="463"/>
                    </a:lnTo>
                    <a:lnTo>
                      <a:pt x="25" y="459"/>
                    </a:lnTo>
                    <a:lnTo>
                      <a:pt x="33" y="457"/>
                    </a:lnTo>
                    <a:lnTo>
                      <a:pt x="40" y="457"/>
                    </a:lnTo>
                    <a:lnTo>
                      <a:pt x="48" y="455"/>
                    </a:lnTo>
                    <a:lnTo>
                      <a:pt x="56" y="447"/>
                    </a:lnTo>
                    <a:lnTo>
                      <a:pt x="67" y="424"/>
                    </a:lnTo>
                    <a:lnTo>
                      <a:pt x="48" y="438"/>
                    </a:lnTo>
                    <a:lnTo>
                      <a:pt x="33" y="438"/>
                    </a:lnTo>
                    <a:lnTo>
                      <a:pt x="10" y="432"/>
                    </a:lnTo>
                    <a:lnTo>
                      <a:pt x="8" y="424"/>
                    </a:lnTo>
                    <a:lnTo>
                      <a:pt x="8" y="417"/>
                    </a:lnTo>
                    <a:lnTo>
                      <a:pt x="6" y="409"/>
                    </a:lnTo>
                    <a:lnTo>
                      <a:pt x="2" y="409"/>
                    </a:lnTo>
                    <a:lnTo>
                      <a:pt x="0" y="407"/>
                    </a:lnTo>
                    <a:lnTo>
                      <a:pt x="10" y="397"/>
                    </a:lnTo>
                    <a:lnTo>
                      <a:pt x="14" y="384"/>
                    </a:lnTo>
                    <a:lnTo>
                      <a:pt x="29" y="380"/>
                    </a:lnTo>
                    <a:lnTo>
                      <a:pt x="44" y="372"/>
                    </a:lnTo>
                    <a:lnTo>
                      <a:pt x="42" y="359"/>
                    </a:lnTo>
                    <a:lnTo>
                      <a:pt x="29" y="346"/>
                    </a:lnTo>
                    <a:lnTo>
                      <a:pt x="27" y="338"/>
                    </a:lnTo>
                    <a:lnTo>
                      <a:pt x="37" y="326"/>
                    </a:lnTo>
                    <a:lnTo>
                      <a:pt x="21" y="309"/>
                    </a:lnTo>
                    <a:lnTo>
                      <a:pt x="40" y="294"/>
                    </a:lnTo>
                    <a:lnTo>
                      <a:pt x="42" y="284"/>
                    </a:lnTo>
                    <a:lnTo>
                      <a:pt x="54" y="292"/>
                    </a:lnTo>
                    <a:lnTo>
                      <a:pt x="63" y="278"/>
                    </a:lnTo>
                    <a:lnTo>
                      <a:pt x="73" y="269"/>
                    </a:lnTo>
                    <a:lnTo>
                      <a:pt x="83" y="257"/>
                    </a:lnTo>
                    <a:lnTo>
                      <a:pt x="88" y="246"/>
                    </a:lnTo>
                    <a:lnTo>
                      <a:pt x="104" y="238"/>
                    </a:lnTo>
                    <a:lnTo>
                      <a:pt x="111" y="228"/>
                    </a:lnTo>
                    <a:lnTo>
                      <a:pt x="115" y="217"/>
                    </a:lnTo>
                    <a:lnTo>
                      <a:pt x="127" y="207"/>
                    </a:lnTo>
                    <a:lnTo>
                      <a:pt x="131" y="196"/>
                    </a:lnTo>
                    <a:lnTo>
                      <a:pt x="131" y="178"/>
                    </a:lnTo>
                    <a:lnTo>
                      <a:pt x="142" y="169"/>
                    </a:lnTo>
                    <a:lnTo>
                      <a:pt x="148" y="157"/>
                    </a:lnTo>
                    <a:lnTo>
                      <a:pt x="148" y="144"/>
                    </a:lnTo>
                    <a:lnTo>
                      <a:pt x="136" y="132"/>
                    </a:lnTo>
                    <a:lnTo>
                      <a:pt x="127" y="126"/>
                    </a:lnTo>
                    <a:lnTo>
                      <a:pt x="121" y="119"/>
                    </a:lnTo>
                    <a:lnTo>
                      <a:pt x="117" y="98"/>
                    </a:lnTo>
                    <a:lnTo>
                      <a:pt x="110" y="90"/>
                    </a:lnTo>
                    <a:lnTo>
                      <a:pt x="111" y="78"/>
                    </a:lnTo>
                    <a:lnTo>
                      <a:pt x="123" y="73"/>
                    </a:lnTo>
                    <a:lnTo>
                      <a:pt x="133" y="69"/>
                    </a:lnTo>
                    <a:lnTo>
                      <a:pt x="142" y="73"/>
                    </a:lnTo>
                    <a:lnTo>
                      <a:pt x="148" y="69"/>
                    </a:lnTo>
                    <a:lnTo>
                      <a:pt x="150" y="63"/>
                    </a:lnTo>
                    <a:lnTo>
                      <a:pt x="161" y="57"/>
                    </a:lnTo>
                    <a:lnTo>
                      <a:pt x="179" y="53"/>
                    </a:lnTo>
                    <a:lnTo>
                      <a:pt x="190" y="44"/>
                    </a:lnTo>
                    <a:lnTo>
                      <a:pt x="196" y="36"/>
                    </a:lnTo>
                    <a:lnTo>
                      <a:pt x="204" y="28"/>
                    </a:lnTo>
                    <a:lnTo>
                      <a:pt x="211" y="15"/>
                    </a:lnTo>
                    <a:lnTo>
                      <a:pt x="227" y="0"/>
                    </a:lnTo>
                    <a:lnTo>
                      <a:pt x="238" y="0"/>
                    </a:lnTo>
                    <a:lnTo>
                      <a:pt x="250" y="3"/>
                    </a:lnTo>
                    <a:lnTo>
                      <a:pt x="261" y="3"/>
                    </a:lnTo>
                    <a:lnTo>
                      <a:pt x="265" y="15"/>
                    </a:lnTo>
                    <a:lnTo>
                      <a:pt x="273" y="23"/>
                    </a:lnTo>
                    <a:lnTo>
                      <a:pt x="276" y="34"/>
                    </a:lnTo>
                    <a:lnTo>
                      <a:pt x="271" y="42"/>
                    </a:lnTo>
                    <a:lnTo>
                      <a:pt x="269" y="50"/>
                    </a:lnTo>
                    <a:lnTo>
                      <a:pt x="257" y="65"/>
                    </a:lnTo>
                    <a:lnTo>
                      <a:pt x="252" y="75"/>
                    </a:lnTo>
                    <a:lnTo>
                      <a:pt x="246" y="80"/>
                    </a:lnTo>
                    <a:lnTo>
                      <a:pt x="240" y="92"/>
                    </a:lnTo>
                    <a:lnTo>
                      <a:pt x="252" y="100"/>
                    </a:lnTo>
                    <a:lnTo>
                      <a:pt x="257" y="109"/>
                    </a:lnTo>
                    <a:lnTo>
                      <a:pt x="255" y="125"/>
                    </a:lnTo>
                    <a:lnTo>
                      <a:pt x="265" y="128"/>
                    </a:lnTo>
                    <a:lnTo>
                      <a:pt x="271" y="130"/>
                    </a:lnTo>
                    <a:lnTo>
                      <a:pt x="271" y="138"/>
                    </a:lnTo>
                    <a:lnTo>
                      <a:pt x="267" y="151"/>
                    </a:lnTo>
                    <a:lnTo>
                      <a:pt x="269" y="159"/>
                    </a:lnTo>
                    <a:lnTo>
                      <a:pt x="263" y="165"/>
                    </a:lnTo>
                    <a:lnTo>
                      <a:pt x="267" y="176"/>
                    </a:lnTo>
                    <a:lnTo>
                      <a:pt x="280" y="180"/>
                    </a:lnTo>
                    <a:lnTo>
                      <a:pt x="290" y="188"/>
                    </a:lnTo>
                    <a:lnTo>
                      <a:pt x="301" y="190"/>
                    </a:lnTo>
                    <a:lnTo>
                      <a:pt x="313" y="198"/>
                    </a:lnTo>
                    <a:lnTo>
                      <a:pt x="321" y="205"/>
                    </a:lnTo>
                    <a:lnTo>
                      <a:pt x="305" y="217"/>
                    </a:lnTo>
                    <a:lnTo>
                      <a:pt x="296" y="234"/>
                    </a:lnTo>
                    <a:lnTo>
                      <a:pt x="300" y="248"/>
                    </a:lnTo>
                    <a:lnTo>
                      <a:pt x="315" y="253"/>
                    </a:lnTo>
                    <a:lnTo>
                      <a:pt x="317" y="263"/>
                    </a:lnTo>
                    <a:lnTo>
                      <a:pt x="344" y="274"/>
                    </a:lnTo>
                    <a:lnTo>
                      <a:pt x="361" y="282"/>
                    </a:lnTo>
                    <a:lnTo>
                      <a:pt x="376" y="284"/>
                    </a:lnTo>
                    <a:lnTo>
                      <a:pt x="386" y="292"/>
                    </a:lnTo>
                    <a:lnTo>
                      <a:pt x="395" y="301"/>
                    </a:lnTo>
                    <a:lnTo>
                      <a:pt x="405" y="301"/>
                    </a:lnTo>
                    <a:lnTo>
                      <a:pt x="417" y="313"/>
                    </a:lnTo>
                    <a:lnTo>
                      <a:pt x="436" y="313"/>
                    </a:lnTo>
                    <a:lnTo>
                      <a:pt x="459" y="322"/>
                    </a:lnTo>
                    <a:lnTo>
                      <a:pt x="472" y="324"/>
                    </a:lnTo>
                    <a:lnTo>
                      <a:pt x="484" y="328"/>
                    </a:lnTo>
                    <a:lnTo>
                      <a:pt x="495" y="326"/>
                    </a:lnTo>
                    <a:lnTo>
                      <a:pt x="499" y="321"/>
                    </a:lnTo>
                    <a:lnTo>
                      <a:pt x="499" y="313"/>
                    </a:lnTo>
                    <a:lnTo>
                      <a:pt x="493" y="305"/>
                    </a:lnTo>
                    <a:lnTo>
                      <a:pt x="499" y="297"/>
                    </a:lnTo>
                    <a:lnTo>
                      <a:pt x="499" y="280"/>
                    </a:lnTo>
                    <a:lnTo>
                      <a:pt x="507" y="276"/>
                    </a:lnTo>
                    <a:lnTo>
                      <a:pt x="516" y="278"/>
                    </a:lnTo>
                    <a:lnTo>
                      <a:pt x="524" y="292"/>
                    </a:lnTo>
                    <a:lnTo>
                      <a:pt x="526" y="297"/>
                    </a:lnTo>
                    <a:lnTo>
                      <a:pt x="536" y="307"/>
                    </a:lnTo>
                    <a:lnTo>
                      <a:pt x="545" y="305"/>
                    </a:lnTo>
                    <a:lnTo>
                      <a:pt x="557" y="301"/>
                    </a:lnTo>
                    <a:lnTo>
                      <a:pt x="572" y="307"/>
                    </a:lnTo>
                    <a:lnTo>
                      <a:pt x="595" y="307"/>
                    </a:lnTo>
                    <a:lnTo>
                      <a:pt x="603" y="301"/>
                    </a:lnTo>
                    <a:lnTo>
                      <a:pt x="603" y="292"/>
                    </a:lnTo>
                    <a:lnTo>
                      <a:pt x="599" y="272"/>
                    </a:lnTo>
                    <a:lnTo>
                      <a:pt x="610" y="271"/>
                    </a:lnTo>
                    <a:lnTo>
                      <a:pt x="624" y="263"/>
                    </a:lnTo>
                    <a:lnTo>
                      <a:pt x="633" y="257"/>
                    </a:lnTo>
                    <a:lnTo>
                      <a:pt x="647" y="255"/>
                    </a:lnTo>
                    <a:lnTo>
                      <a:pt x="655" y="257"/>
                    </a:lnTo>
                    <a:lnTo>
                      <a:pt x="664" y="249"/>
                    </a:lnTo>
                    <a:lnTo>
                      <a:pt x="674" y="251"/>
                    </a:lnTo>
                    <a:lnTo>
                      <a:pt x="687" y="255"/>
                    </a:lnTo>
                    <a:lnTo>
                      <a:pt x="687" y="271"/>
                    </a:lnTo>
                    <a:lnTo>
                      <a:pt x="693" y="276"/>
                    </a:lnTo>
                    <a:lnTo>
                      <a:pt x="703" y="274"/>
                    </a:lnTo>
                    <a:lnTo>
                      <a:pt x="708" y="276"/>
                    </a:lnTo>
                    <a:lnTo>
                      <a:pt x="716" y="280"/>
                    </a:lnTo>
                    <a:lnTo>
                      <a:pt x="726" y="282"/>
                    </a:lnTo>
                    <a:lnTo>
                      <a:pt x="729" y="292"/>
                    </a:lnTo>
                    <a:lnTo>
                      <a:pt x="731" y="299"/>
                    </a:lnTo>
                    <a:lnTo>
                      <a:pt x="731" y="315"/>
                    </a:lnTo>
                    <a:lnTo>
                      <a:pt x="722" y="330"/>
                    </a:lnTo>
                    <a:lnTo>
                      <a:pt x="714" y="328"/>
                    </a:lnTo>
                    <a:lnTo>
                      <a:pt x="699" y="330"/>
                    </a:lnTo>
                    <a:lnTo>
                      <a:pt x="691" y="347"/>
                    </a:lnTo>
                    <a:lnTo>
                      <a:pt x="691" y="355"/>
                    </a:lnTo>
                    <a:lnTo>
                      <a:pt x="681" y="365"/>
                    </a:lnTo>
                    <a:lnTo>
                      <a:pt x="674" y="374"/>
                    </a:lnTo>
                    <a:lnTo>
                      <a:pt x="662" y="380"/>
                    </a:lnTo>
                    <a:lnTo>
                      <a:pt x="658" y="384"/>
                    </a:lnTo>
                    <a:lnTo>
                      <a:pt x="664" y="390"/>
                    </a:lnTo>
                    <a:lnTo>
                      <a:pt x="664" y="395"/>
                    </a:lnTo>
                    <a:lnTo>
                      <a:pt x="655" y="409"/>
                    </a:lnTo>
                    <a:lnTo>
                      <a:pt x="651" y="426"/>
                    </a:lnTo>
                    <a:lnTo>
                      <a:pt x="635" y="417"/>
                    </a:lnTo>
                    <a:lnTo>
                      <a:pt x="635" y="442"/>
                    </a:lnTo>
                    <a:lnTo>
                      <a:pt x="639" y="451"/>
                    </a:lnTo>
                    <a:lnTo>
                      <a:pt x="641" y="463"/>
                    </a:lnTo>
                    <a:lnTo>
                      <a:pt x="639" y="472"/>
                    </a:lnTo>
                    <a:lnTo>
                      <a:pt x="630" y="482"/>
                    </a:lnTo>
                    <a:lnTo>
                      <a:pt x="624" y="476"/>
                    </a:lnTo>
                    <a:lnTo>
                      <a:pt x="616" y="480"/>
                    </a:lnTo>
                    <a:lnTo>
                      <a:pt x="614" y="469"/>
                    </a:lnTo>
                    <a:lnTo>
                      <a:pt x="614" y="453"/>
                    </a:lnTo>
                    <a:lnTo>
                      <a:pt x="603" y="436"/>
                    </a:lnTo>
                    <a:lnTo>
                      <a:pt x="599" y="447"/>
                    </a:lnTo>
                    <a:lnTo>
                      <a:pt x="587" y="447"/>
                    </a:lnTo>
                    <a:lnTo>
                      <a:pt x="585" y="440"/>
                    </a:lnTo>
                    <a:lnTo>
                      <a:pt x="589" y="420"/>
                    </a:lnTo>
                    <a:lnTo>
                      <a:pt x="597" y="409"/>
                    </a:lnTo>
                    <a:lnTo>
                      <a:pt x="597" y="405"/>
                    </a:lnTo>
                    <a:lnTo>
                      <a:pt x="599" y="399"/>
                    </a:lnTo>
                    <a:lnTo>
                      <a:pt x="603" y="395"/>
                    </a:lnTo>
                    <a:lnTo>
                      <a:pt x="599" y="384"/>
                    </a:lnTo>
                    <a:lnTo>
                      <a:pt x="612" y="374"/>
                    </a:lnTo>
                    <a:lnTo>
                      <a:pt x="595" y="374"/>
                    </a:lnTo>
                    <a:lnTo>
                      <a:pt x="580" y="378"/>
                    </a:lnTo>
                    <a:lnTo>
                      <a:pt x="541" y="378"/>
                    </a:lnTo>
                    <a:lnTo>
                      <a:pt x="539" y="359"/>
                    </a:lnTo>
                    <a:lnTo>
                      <a:pt x="541" y="342"/>
                    </a:lnTo>
                    <a:lnTo>
                      <a:pt x="534" y="338"/>
                    </a:lnTo>
                    <a:lnTo>
                      <a:pt x="520" y="342"/>
                    </a:lnTo>
                    <a:lnTo>
                      <a:pt x="507" y="328"/>
                    </a:lnTo>
                    <a:lnTo>
                      <a:pt x="499" y="340"/>
                    </a:lnTo>
                    <a:lnTo>
                      <a:pt x="511" y="353"/>
                    </a:lnTo>
                    <a:lnTo>
                      <a:pt x="507" y="363"/>
                    </a:lnTo>
                    <a:lnTo>
                      <a:pt x="493" y="369"/>
                    </a:lnTo>
                    <a:lnTo>
                      <a:pt x="486" y="374"/>
                    </a:lnTo>
                    <a:lnTo>
                      <a:pt x="488" y="394"/>
                    </a:lnTo>
                    <a:lnTo>
                      <a:pt x="490" y="401"/>
                    </a:lnTo>
                    <a:lnTo>
                      <a:pt x="505" y="407"/>
                    </a:lnTo>
                    <a:lnTo>
                      <a:pt x="511" y="417"/>
                    </a:lnTo>
                    <a:lnTo>
                      <a:pt x="507" y="436"/>
                    </a:lnTo>
                    <a:lnTo>
                      <a:pt x="514" y="445"/>
                    </a:lnTo>
                    <a:lnTo>
                      <a:pt x="514" y="463"/>
                    </a:lnTo>
                    <a:lnTo>
                      <a:pt x="509" y="472"/>
                    </a:lnTo>
                    <a:lnTo>
                      <a:pt x="513" y="49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6" name="Freeform 184"/>
              <p:cNvSpPr>
                <a:spLocks noEditPoints="1"/>
              </p:cNvSpPr>
              <p:nvPr/>
            </p:nvSpPr>
            <p:spPr bwMode="gray">
              <a:xfrm>
                <a:off x="2731" y="1613"/>
                <a:ext cx="131" cy="67"/>
              </a:xfrm>
              <a:custGeom>
                <a:avLst/>
                <a:gdLst>
                  <a:gd name="T0" fmla="*/ 186 w 261"/>
                  <a:gd name="T1" fmla="*/ 19 h 135"/>
                  <a:gd name="T2" fmla="*/ 172 w 261"/>
                  <a:gd name="T3" fmla="*/ 25 h 135"/>
                  <a:gd name="T4" fmla="*/ 157 w 261"/>
                  <a:gd name="T5" fmla="*/ 27 h 135"/>
                  <a:gd name="T6" fmla="*/ 146 w 261"/>
                  <a:gd name="T7" fmla="*/ 19 h 135"/>
                  <a:gd name="T8" fmla="*/ 149 w 261"/>
                  <a:gd name="T9" fmla="*/ 37 h 135"/>
                  <a:gd name="T10" fmla="*/ 134 w 261"/>
                  <a:gd name="T11" fmla="*/ 17 h 135"/>
                  <a:gd name="T12" fmla="*/ 130 w 261"/>
                  <a:gd name="T13" fmla="*/ 17 h 135"/>
                  <a:gd name="T14" fmla="*/ 123 w 261"/>
                  <a:gd name="T15" fmla="*/ 19 h 135"/>
                  <a:gd name="T16" fmla="*/ 115 w 261"/>
                  <a:gd name="T17" fmla="*/ 27 h 135"/>
                  <a:gd name="T18" fmla="*/ 103 w 261"/>
                  <a:gd name="T19" fmla="*/ 25 h 135"/>
                  <a:gd name="T20" fmla="*/ 96 w 261"/>
                  <a:gd name="T21" fmla="*/ 29 h 135"/>
                  <a:gd name="T22" fmla="*/ 80 w 261"/>
                  <a:gd name="T23" fmla="*/ 46 h 135"/>
                  <a:gd name="T24" fmla="*/ 73 w 261"/>
                  <a:gd name="T25" fmla="*/ 58 h 135"/>
                  <a:gd name="T26" fmla="*/ 73 w 261"/>
                  <a:gd name="T27" fmla="*/ 44 h 135"/>
                  <a:gd name="T28" fmla="*/ 59 w 261"/>
                  <a:gd name="T29" fmla="*/ 19 h 135"/>
                  <a:gd name="T30" fmla="*/ 42 w 261"/>
                  <a:gd name="T31" fmla="*/ 17 h 135"/>
                  <a:gd name="T32" fmla="*/ 50 w 261"/>
                  <a:gd name="T33" fmla="*/ 37 h 135"/>
                  <a:gd name="T34" fmla="*/ 23 w 261"/>
                  <a:gd name="T35" fmla="*/ 31 h 135"/>
                  <a:gd name="T36" fmla="*/ 23 w 261"/>
                  <a:gd name="T37" fmla="*/ 42 h 135"/>
                  <a:gd name="T38" fmla="*/ 4 w 261"/>
                  <a:gd name="T39" fmla="*/ 52 h 135"/>
                  <a:gd name="T40" fmla="*/ 19 w 261"/>
                  <a:gd name="T41" fmla="*/ 58 h 135"/>
                  <a:gd name="T42" fmla="*/ 42 w 261"/>
                  <a:gd name="T43" fmla="*/ 44 h 135"/>
                  <a:gd name="T44" fmla="*/ 53 w 261"/>
                  <a:gd name="T45" fmla="*/ 65 h 135"/>
                  <a:gd name="T46" fmla="*/ 30 w 261"/>
                  <a:gd name="T47" fmla="*/ 65 h 135"/>
                  <a:gd name="T48" fmla="*/ 27 w 261"/>
                  <a:gd name="T49" fmla="*/ 73 h 135"/>
                  <a:gd name="T50" fmla="*/ 7 w 261"/>
                  <a:gd name="T51" fmla="*/ 79 h 135"/>
                  <a:gd name="T52" fmla="*/ 32 w 261"/>
                  <a:gd name="T53" fmla="*/ 81 h 135"/>
                  <a:gd name="T54" fmla="*/ 55 w 261"/>
                  <a:gd name="T55" fmla="*/ 104 h 135"/>
                  <a:gd name="T56" fmla="*/ 40 w 261"/>
                  <a:gd name="T57" fmla="*/ 111 h 135"/>
                  <a:gd name="T58" fmla="*/ 55 w 261"/>
                  <a:gd name="T59" fmla="*/ 115 h 135"/>
                  <a:gd name="T60" fmla="*/ 76 w 261"/>
                  <a:gd name="T61" fmla="*/ 111 h 135"/>
                  <a:gd name="T62" fmla="*/ 103 w 261"/>
                  <a:gd name="T63" fmla="*/ 119 h 135"/>
                  <a:gd name="T64" fmla="*/ 98 w 261"/>
                  <a:gd name="T65" fmla="*/ 131 h 135"/>
                  <a:gd name="T66" fmla="*/ 149 w 261"/>
                  <a:gd name="T67" fmla="*/ 135 h 135"/>
                  <a:gd name="T68" fmla="*/ 153 w 261"/>
                  <a:gd name="T69" fmla="*/ 123 h 135"/>
                  <a:gd name="T70" fmla="*/ 172 w 261"/>
                  <a:gd name="T71" fmla="*/ 119 h 135"/>
                  <a:gd name="T72" fmla="*/ 184 w 261"/>
                  <a:gd name="T73" fmla="*/ 113 h 135"/>
                  <a:gd name="T74" fmla="*/ 197 w 261"/>
                  <a:gd name="T75" fmla="*/ 111 h 135"/>
                  <a:gd name="T76" fmla="*/ 218 w 261"/>
                  <a:gd name="T77" fmla="*/ 102 h 135"/>
                  <a:gd name="T78" fmla="*/ 241 w 261"/>
                  <a:gd name="T79" fmla="*/ 81 h 135"/>
                  <a:gd name="T80" fmla="*/ 253 w 261"/>
                  <a:gd name="T81" fmla="*/ 73 h 135"/>
                  <a:gd name="T82" fmla="*/ 261 w 261"/>
                  <a:gd name="T83" fmla="*/ 73 h 135"/>
                  <a:gd name="T84" fmla="*/ 257 w 261"/>
                  <a:gd name="T85" fmla="*/ 46 h 135"/>
                  <a:gd name="T86" fmla="*/ 241 w 261"/>
                  <a:gd name="T87" fmla="*/ 38 h 135"/>
                  <a:gd name="T88" fmla="*/ 228 w 261"/>
                  <a:gd name="T89" fmla="*/ 42 h 135"/>
                  <a:gd name="T90" fmla="*/ 230 w 261"/>
                  <a:gd name="T91" fmla="*/ 27 h 135"/>
                  <a:gd name="T92" fmla="*/ 240 w 261"/>
                  <a:gd name="T93" fmla="*/ 10 h 135"/>
                  <a:gd name="T94" fmla="*/ 224 w 261"/>
                  <a:gd name="T95" fmla="*/ 19 h 135"/>
                  <a:gd name="T96" fmla="*/ 207 w 261"/>
                  <a:gd name="T97" fmla="*/ 6 h 135"/>
                  <a:gd name="T98" fmla="*/ 30 w 261"/>
                  <a:gd name="T99" fmla="*/ 10 h 135"/>
                  <a:gd name="T100" fmla="*/ 50 w 261"/>
                  <a:gd name="T101" fmla="*/ 2 h 135"/>
                  <a:gd name="T102" fmla="*/ 36 w 261"/>
                  <a:gd name="T103" fmla="*/ 2 h 13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61"/>
                  <a:gd name="T157" fmla="*/ 0 h 135"/>
                  <a:gd name="T158" fmla="*/ 261 w 261"/>
                  <a:gd name="T159" fmla="*/ 135 h 13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61" h="135">
                    <a:moveTo>
                      <a:pt x="195" y="4"/>
                    </a:moveTo>
                    <a:lnTo>
                      <a:pt x="195" y="19"/>
                    </a:lnTo>
                    <a:lnTo>
                      <a:pt x="186" y="19"/>
                    </a:lnTo>
                    <a:lnTo>
                      <a:pt x="178" y="17"/>
                    </a:lnTo>
                    <a:lnTo>
                      <a:pt x="172" y="17"/>
                    </a:lnTo>
                    <a:lnTo>
                      <a:pt x="172" y="25"/>
                    </a:lnTo>
                    <a:lnTo>
                      <a:pt x="167" y="25"/>
                    </a:lnTo>
                    <a:lnTo>
                      <a:pt x="161" y="27"/>
                    </a:lnTo>
                    <a:lnTo>
                      <a:pt x="157" y="27"/>
                    </a:lnTo>
                    <a:lnTo>
                      <a:pt x="155" y="25"/>
                    </a:lnTo>
                    <a:lnTo>
                      <a:pt x="151" y="23"/>
                    </a:lnTo>
                    <a:lnTo>
                      <a:pt x="146" y="19"/>
                    </a:lnTo>
                    <a:lnTo>
                      <a:pt x="147" y="25"/>
                    </a:lnTo>
                    <a:lnTo>
                      <a:pt x="147" y="33"/>
                    </a:lnTo>
                    <a:lnTo>
                      <a:pt x="149" y="37"/>
                    </a:lnTo>
                    <a:lnTo>
                      <a:pt x="138" y="31"/>
                    </a:lnTo>
                    <a:lnTo>
                      <a:pt x="136" y="25"/>
                    </a:lnTo>
                    <a:lnTo>
                      <a:pt x="134" y="17"/>
                    </a:lnTo>
                    <a:lnTo>
                      <a:pt x="134" y="12"/>
                    </a:lnTo>
                    <a:lnTo>
                      <a:pt x="132" y="15"/>
                    </a:lnTo>
                    <a:lnTo>
                      <a:pt x="130" y="17"/>
                    </a:lnTo>
                    <a:lnTo>
                      <a:pt x="130" y="19"/>
                    </a:lnTo>
                    <a:lnTo>
                      <a:pt x="126" y="21"/>
                    </a:lnTo>
                    <a:lnTo>
                      <a:pt x="123" y="19"/>
                    </a:lnTo>
                    <a:lnTo>
                      <a:pt x="119" y="19"/>
                    </a:lnTo>
                    <a:lnTo>
                      <a:pt x="119" y="25"/>
                    </a:lnTo>
                    <a:lnTo>
                      <a:pt x="115" y="27"/>
                    </a:lnTo>
                    <a:lnTo>
                      <a:pt x="115" y="37"/>
                    </a:lnTo>
                    <a:lnTo>
                      <a:pt x="107" y="37"/>
                    </a:lnTo>
                    <a:lnTo>
                      <a:pt x="103" y="25"/>
                    </a:lnTo>
                    <a:lnTo>
                      <a:pt x="103" y="19"/>
                    </a:lnTo>
                    <a:lnTo>
                      <a:pt x="96" y="19"/>
                    </a:lnTo>
                    <a:lnTo>
                      <a:pt x="96" y="29"/>
                    </a:lnTo>
                    <a:lnTo>
                      <a:pt x="98" y="38"/>
                    </a:lnTo>
                    <a:lnTo>
                      <a:pt x="96" y="46"/>
                    </a:lnTo>
                    <a:lnTo>
                      <a:pt x="80" y="46"/>
                    </a:lnTo>
                    <a:lnTo>
                      <a:pt x="80" y="52"/>
                    </a:lnTo>
                    <a:lnTo>
                      <a:pt x="76" y="56"/>
                    </a:lnTo>
                    <a:lnTo>
                      <a:pt x="73" y="58"/>
                    </a:lnTo>
                    <a:lnTo>
                      <a:pt x="71" y="52"/>
                    </a:lnTo>
                    <a:lnTo>
                      <a:pt x="69" y="44"/>
                    </a:lnTo>
                    <a:lnTo>
                      <a:pt x="73" y="44"/>
                    </a:lnTo>
                    <a:lnTo>
                      <a:pt x="73" y="27"/>
                    </a:lnTo>
                    <a:lnTo>
                      <a:pt x="65" y="27"/>
                    </a:lnTo>
                    <a:lnTo>
                      <a:pt x="59" y="19"/>
                    </a:lnTo>
                    <a:lnTo>
                      <a:pt x="55" y="15"/>
                    </a:lnTo>
                    <a:lnTo>
                      <a:pt x="50" y="15"/>
                    </a:lnTo>
                    <a:lnTo>
                      <a:pt x="42" y="17"/>
                    </a:lnTo>
                    <a:lnTo>
                      <a:pt x="48" y="21"/>
                    </a:lnTo>
                    <a:lnTo>
                      <a:pt x="53" y="31"/>
                    </a:lnTo>
                    <a:lnTo>
                      <a:pt x="50" y="37"/>
                    </a:lnTo>
                    <a:lnTo>
                      <a:pt x="38" y="27"/>
                    </a:lnTo>
                    <a:lnTo>
                      <a:pt x="27" y="31"/>
                    </a:lnTo>
                    <a:lnTo>
                      <a:pt x="23" y="31"/>
                    </a:lnTo>
                    <a:lnTo>
                      <a:pt x="25" y="37"/>
                    </a:lnTo>
                    <a:lnTo>
                      <a:pt x="27" y="38"/>
                    </a:lnTo>
                    <a:lnTo>
                      <a:pt x="23" y="42"/>
                    </a:lnTo>
                    <a:lnTo>
                      <a:pt x="11" y="46"/>
                    </a:lnTo>
                    <a:lnTo>
                      <a:pt x="9" y="50"/>
                    </a:lnTo>
                    <a:lnTo>
                      <a:pt x="4" y="52"/>
                    </a:lnTo>
                    <a:lnTo>
                      <a:pt x="0" y="56"/>
                    </a:lnTo>
                    <a:lnTo>
                      <a:pt x="5" y="58"/>
                    </a:lnTo>
                    <a:lnTo>
                      <a:pt x="19" y="58"/>
                    </a:lnTo>
                    <a:lnTo>
                      <a:pt x="25" y="54"/>
                    </a:lnTo>
                    <a:lnTo>
                      <a:pt x="34" y="48"/>
                    </a:lnTo>
                    <a:lnTo>
                      <a:pt x="42" y="44"/>
                    </a:lnTo>
                    <a:lnTo>
                      <a:pt x="50" y="46"/>
                    </a:lnTo>
                    <a:lnTo>
                      <a:pt x="44" y="56"/>
                    </a:lnTo>
                    <a:lnTo>
                      <a:pt x="53" y="65"/>
                    </a:lnTo>
                    <a:lnTo>
                      <a:pt x="46" y="67"/>
                    </a:lnTo>
                    <a:lnTo>
                      <a:pt x="38" y="67"/>
                    </a:lnTo>
                    <a:lnTo>
                      <a:pt x="30" y="65"/>
                    </a:lnTo>
                    <a:lnTo>
                      <a:pt x="28" y="69"/>
                    </a:lnTo>
                    <a:lnTo>
                      <a:pt x="27" y="71"/>
                    </a:lnTo>
                    <a:lnTo>
                      <a:pt x="27" y="73"/>
                    </a:lnTo>
                    <a:lnTo>
                      <a:pt x="19" y="77"/>
                    </a:lnTo>
                    <a:lnTo>
                      <a:pt x="11" y="77"/>
                    </a:lnTo>
                    <a:lnTo>
                      <a:pt x="7" y="79"/>
                    </a:lnTo>
                    <a:lnTo>
                      <a:pt x="11" y="85"/>
                    </a:lnTo>
                    <a:lnTo>
                      <a:pt x="21" y="83"/>
                    </a:lnTo>
                    <a:lnTo>
                      <a:pt x="32" y="81"/>
                    </a:lnTo>
                    <a:lnTo>
                      <a:pt x="46" y="81"/>
                    </a:lnTo>
                    <a:lnTo>
                      <a:pt x="65" y="100"/>
                    </a:lnTo>
                    <a:lnTo>
                      <a:pt x="55" y="104"/>
                    </a:lnTo>
                    <a:lnTo>
                      <a:pt x="48" y="106"/>
                    </a:lnTo>
                    <a:lnTo>
                      <a:pt x="38" y="108"/>
                    </a:lnTo>
                    <a:lnTo>
                      <a:pt x="40" y="111"/>
                    </a:lnTo>
                    <a:lnTo>
                      <a:pt x="46" y="119"/>
                    </a:lnTo>
                    <a:lnTo>
                      <a:pt x="51" y="117"/>
                    </a:lnTo>
                    <a:lnTo>
                      <a:pt x="55" y="115"/>
                    </a:lnTo>
                    <a:lnTo>
                      <a:pt x="63" y="115"/>
                    </a:lnTo>
                    <a:lnTo>
                      <a:pt x="69" y="113"/>
                    </a:lnTo>
                    <a:lnTo>
                      <a:pt x="76" y="111"/>
                    </a:lnTo>
                    <a:lnTo>
                      <a:pt x="84" y="113"/>
                    </a:lnTo>
                    <a:lnTo>
                      <a:pt x="94" y="117"/>
                    </a:lnTo>
                    <a:lnTo>
                      <a:pt x="103" y="119"/>
                    </a:lnTo>
                    <a:lnTo>
                      <a:pt x="103" y="127"/>
                    </a:lnTo>
                    <a:lnTo>
                      <a:pt x="99" y="127"/>
                    </a:lnTo>
                    <a:lnTo>
                      <a:pt x="98" y="131"/>
                    </a:lnTo>
                    <a:lnTo>
                      <a:pt x="96" y="133"/>
                    </a:lnTo>
                    <a:lnTo>
                      <a:pt x="96" y="135"/>
                    </a:lnTo>
                    <a:lnTo>
                      <a:pt x="149" y="135"/>
                    </a:lnTo>
                    <a:lnTo>
                      <a:pt x="151" y="131"/>
                    </a:lnTo>
                    <a:lnTo>
                      <a:pt x="155" y="125"/>
                    </a:lnTo>
                    <a:lnTo>
                      <a:pt x="153" y="123"/>
                    </a:lnTo>
                    <a:lnTo>
                      <a:pt x="149" y="111"/>
                    </a:lnTo>
                    <a:lnTo>
                      <a:pt x="165" y="119"/>
                    </a:lnTo>
                    <a:lnTo>
                      <a:pt x="172" y="119"/>
                    </a:lnTo>
                    <a:lnTo>
                      <a:pt x="178" y="113"/>
                    </a:lnTo>
                    <a:lnTo>
                      <a:pt x="184" y="111"/>
                    </a:lnTo>
                    <a:lnTo>
                      <a:pt x="184" y="113"/>
                    </a:lnTo>
                    <a:lnTo>
                      <a:pt x="188" y="115"/>
                    </a:lnTo>
                    <a:lnTo>
                      <a:pt x="192" y="115"/>
                    </a:lnTo>
                    <a:lnTo>
                      <a:pt x="197" y="111"/>
                    </a:lnTo>
                    <a:lnTo>
                      <a:pt x="203" y="106"/>
                    </a:lnTo>
                    <a:lnTo>
                      <a:pt x="211" y="100"/>
                    </a:lnTo>
                    <a:lnTo>
                      <a:pt x="218" y="102"/>
                    </a:lnTo>
                    <a:lnTo>
                      <a:pt x="222" y="100"/>
                    </a:lnTo>
                    <a:lnTo>
                      <a:pt x="232" y="92"/>
                    </a:lnTo>
                    <a:lnTo>
                      <a:pt x="241" y="81"/>
                    </a:lnTo>
                    <a:lnTo>
                      <a:pt x="249" y="71"/>
                    </a:lnTo>
                    <a:lnTo>
                      <a:pt x="245" y="73"/>
                    </a:lnTo>
                    <a:lnTo>
                      <a:pt x="253" y="73"/>
                    </a:lnTo>
                    <a:lnTo>
                      <a:pt x="253" y="79"/>
                    </a:lnTo>
                    <a:lnTo>
                      <a:pt x="257" y="77"/>
                    </a:lnTo>
                    <a:lnTo>
                      <a:pt x="261" y="73"/>
                    </a:lnTo>
                    <a:lnTo>
                      <a:pt x="259" y="63"/>
                    </a:lnTo>
                    <a:lnTo>
                      <a:pt x="257" y="56"/>
                    </a:lnTo>
                    <a:lnTo>
                      <a:pt x="257" y="46"/>
                    </a:lnTo>
                    <a:lnTo>
                      <a:pt x="249" y="44"/>
                    </a:lnTo>
                    <a:lnTo>
                      <a:pt x="243" y="40"/>
                    </a:lnTo>
                    <a:lnTo>
                      <a:pt x="241" y="38"/>
                    </a:lnTo>
                    <a:lnTo>
                      <a:pt x="234" y="46"/>
                    </a:lnTo>
                    <a:lnTo>
                      <a:pt x="230" y="46"/>
                    </a:lnTo>
                    <a:lnTo>
                      <a:pt x="228" y="42"/>
                    </a:lnTo>
                    <a:lnTo>
                      <a:pt x="234" y="37"/>
                    </a:lnTo>
                    <a:lnTo>
                      <a:pt x="234" y="31"/>
                    </a:lnTo>
                    <a:lnTo>
                      <a:pt x="230" y="27"/>
                    </a:lnTo>
                    <a:lnTo>
                      <a:pt x="226" y="25"/>
                    </a:lnTo>
                    <a:lnTo>
                      <a:pt x="230" y="19"/>
                    </a:lnTo>
                    <a:lnTo>
                      <a:pt x="240" y="10"/>
                    </a:lnTo>
                    <a:lnTo>
                      <a:pt x="232" y="13"/>
                    </a:lnTo>
                    <a:lnTo>
                      <a:pt x="222" y="17"/>
                    </a:lnTo>
                    <a:lnTo>
                      <a:pt x="224" y="19"/>
                    </a:lnTo>
                    <a:lnTo>
                      <a:pt x="220" y="21"/>
                    </a:lnTo>
                    <a:lnTo>
                      <a:pt x="213" y="13"/>
                    </a:lnTo>
                    <a:lnTo>
                      <a:pt x="207" y="6"/>
                    </a:lnTo>
                    <a:lnTo>
                      <a:pt x="195" y="4"/>
                    </a:lnTo>
                    <a:close/>
                    <a:moveTo>
                      <a:pt x="30" y="0"/>
                    </a:moveTo>
                    <a:lnTo>
                      <a:pt x="30" y="10"/>
                    </a:lnTo>
                    <a:lnTo>
                      <a:pt x="42" y="8"/>
                    </a:lnTo>
                    <a:lnTo>
                      <a:pt x="53" y="10"/>
                    </a:lnTo>
                    <a:lnTo>
                      <a:pt x="50" y="2"/>
                    </a:lnTo>
                    <a:lnTo>
                      <a:pt x="50" y="0"/>
                    </a:lnTo>
                    <a:lnTo>
                      <a:pt x="44" y="2"/>
                    </a:lnTo>
                    <a:lnTo>
                      <a:pt x="36" y="2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7" name="Freeform 185"/>
              <p:cNvSpPr>
                <a:spLocks/>
              </p:cNvSpPr>
              <p:nvPr/>
            </p:nvSpPr>
            <p:spPr bwMode="gray">
              <a:xfrm>
                <a:off x="3234" y="1986"/>
                <a:ext cx="88" cy="59"/>
              </a:xfrm>
              <a:custGeom>
                <a:avLst/>
                <a:gdLst>
                  <a:gd name="T0" fmla="*/ 133 w 177"/>
                  <a:gd name="T1" fmla="*/ 101 h 119"/>
                  <a:gd name="T2" fmla="*/ 146 w 177"/>
                  <a:gd name="T3" fmla="*/ 88 h 119"/>
                  <a:gd name="T4" fmla="*/ 154 w 177"/>
                  <a:gd name="T5" fmla="*/ 55 h 119"/>
                  <a:gd name="T6" fmla="*/ 167 w 177"/>
                  <a:gd name="T7" fmla="*/ 38 h 119"/>
                  <a:gd name="T8" fmla="*/ 173 w 177"/>
                  <a:gd name="T9" fmla="*/ 30 h 119"/>
                  <a:gd name="T10" fmla="*/ 177 w 177"/>
                  <a:gd name="T11" fmla="*/ 7 h 119"/>
                  <a:gd name="T12" fmla="*/ 169 w 177"/>
                  <a:gd name="T13" fmla="*/ 5 h 119"/>
                  <a:gd name="T14" fmla="*/ 160 w 177"/>
                  <a:gd name="T15" fmla="*/ 0 h 119"/>
                  <a:gd name="T16" fmla="*/ 133 w 177"/>
                  <a:gd name="T17" fmla="*/ 2 h 119"/>
                  <a:gd name="T18" fmla="*/ 117 w 177"/>
                  <a:gd name="T19" fmla="*/ 7 h 119"/>
                  <a:gd name="T20" fmla="*/ 110 w 177"/>
                  <a:gd name="T21" fmla="*/ 13 h 119"/>
                  <a:gd name="T22" fmla="*/ 100 w 177"/>
                  <a:gd name="T23" fmla="*/ 5 h 119"/>
                  <a:gd name="T24" fmla="*/ 85 w 177"/>
                  <a:gd name="T25" fmla="*/ 11 h 119"/>
                  <a:gd name="T26" fmla="*/ 71 w 177"/>
                  <a:gd name="T27" fmla="*/ 13 h 119"/>
                  <a:gd name="T28" fmla="*/ 69 w 177"/>
                  <a:gd name="T29" fmla="*/ 23 h 119"/>
                  <a:gd name="T30" fmla="*/ 48 w 177"/>
                  <a:gd name="T31" fmla="*/ 19 h 119"/>
                  <a:gd name="T32" fmla="*/ 31 w 177"/>
                  <a:gd name="T33" fmla="*/ 17 h 119"/>
                  <a:gd name="T34" fmla="*/ 22 w 177"/>
                  <a:gd name="T35" fmla="*/ 11 h 119"/>
                  <a:gd name="T36" fmla="*/ 14 w 177"/>
                  <a:gd name="T37" fmla="*/ 17 h 119"/>
                  <a:gd name="T38" fmla="*/ 14 w 177"/>
                  <a:gd name="T39" fmla="*/ 27 h 119"/>
                  <a:gd name="T40" fmla="*/ 10 w 177"/>
                  <a:gd name="T41" fmla="*/ 38 h 119"/>
                  <a:gd name="T42" fmla="*/ 0 w 177"/>
                  <a:gd name="T43" fmla="*/ 42 h 119"/>
                  <a:gd name="T44" fmla="*/ 4 w 177"/>
                  <a:gd name="T45" fmla="*/ 50 h 119"/>
                  <a:gd name="T46" fmla="*/ 6 w 177"/>
                  <a:gd name="T47" fmla="*/ 61 h 119"/>
                  <a:gd name="T48" fmla="*/ 4 w 177"/>
                  <a:gd name="T49" fmla="*/ 65 h 119"/>
                  <a:gd name="T50" fmla="*/ 16 w 177"/>
                  <a:gd name="T51" fmla="*/ 73 h 119"/>
                  <a:gd name="T52" fmla="*/ 23 w 177"/>
                  <a:gd name="T53" fmla="*/ 88 h 119"/>
                  <a:gd name="T54" fmla="*/ 37 w 177"/>
                  <a:gd name="T55" fmla="*/ 103 h 119"/>
                  <a:gd name="T56" fmla="*/ 58 w 177"/>
                  <a:gd name="T57" fmla="*/ 117 h 119"/>
                  <a:gd name="T58" fmla="*/ 77 w 177"/>
                  <a:gd name="T59" fmla="*/ 119 h 119"/>
                  <a:gd name="T60" fmla="*/ 96 w 177"/>
                  <a:gd name="T61" fmla="*/ 105 h 119"/>
                  <a:gd name="T62" fmla="*/ 110 w 177"/>
                  <a:gd name="T63" fmla="*/ 101 h 11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77"/>
                  <a:gd name="T97" fmla="*/ 0 h 119"/>
                  <a:gd name="T98" fmla="*/ 177 w 177"/>
                  <a:gd name="T99" fmla="*/ 119 h 11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77" h="119">
                    <a:moveTo>
                      <a:pt x="123" y="101"/>
                    </a:moveTo>
                    <a:lnTo>
                      <a:pt x="133" y="101"/>
                    </a:lnTo>
                    <a:lnTo>
                      <a:pt x="139" y="100"/>
                    </a:lnTo>
                    <a:lnTo>
                      <a:pt x="146" y="88"/>
                    </a:lnTo>
                    <a:lnTo>
                      <a:pt x="152" y="71"/>
                    </a:lnTo>
                    <a:lnTo>
                      <a:pt x="154" y="55"/>
                    </a:lnTo>
                    <a:lnTo>
                      <a:pt x="160" y="44"/>
                    </a:lnTo>
                    <a:lnTo>
                      <a:pt x="167" y="38"/>
                    </a:lnTo>
                    <a:lnTo>
                      <a:pt x="171" y="34"/>
                    </a:lnTo>
                    <a:lnTo>
                      <a:pt x="173" y="30"/>
                    </a:lnTo>
                    <a:lnTo>
                      <a:pt x="177" y="11"/>
                    </a:lnTo>
                    <a:lnTo>
                      <a:pt x="177" y="7"/>
                    </a:lnTo>
                    <a:lnTo>
                      <a:pt x="175" y="7"/>
                    </a:lnTo>
                    <a:lnTo>
                      <a:pt x="169" y="5"/>
                    </a:lnTo>
                    <a:lnTo>
                      <a:pt x="164" y="2"/>
                    </a:lnTo>
                    <a:lnTo>
                      <a:pt x="160" y="0"/>
                    </a:lnTo>
                    <a:lnTo>
                      <a:pt x="156" y="2"/>
                    </a:lnTo>
                    <a:lnTo>
                      <a:pt x="133" y="2"/>
                    </a:lnTo>
                    <a:lnTo>
                      <a:pt x="125" y="3"/>
                    </a:lnTo>
                    <a:lnTo>
                      <a:pt x="117" y="7"/>
                    </a:lnTo>
                    <a:lnTo>
                      <a:pt x="112" y="13"/>
                    </a:lnTo>
                    <a:lnTo>
                      <a:pt x="110" y="13"/>
                    </a:lnTo>
                    <a:lnTo>
                      <a:pt x="104" y="9"/>
                    </a:lnTo>
                    <a:lnTo>
                      <a:pt x="100" y="5"/>
                    </a:lnTo>
                    <a:lnTo>
                      <a:pt x="94" y="7"/>
                    </a:lnTo>
                    <a:lnTo>
                      <a:pt x="85" y="11"/>
                    </a:lnTo>
                    <a:lnTo>
                      <a:pt x="75" y="13"/>
                    </a:lnTo>
                    <a:lnTo>
                      <a:pt x="71" y="13"/>
                    </a:lnTo>
                    <a:lnTo>
                      <a:pt x="73" y="23"/>
                    </a:lnTo>
                    <a:lnTo>
                      <a:pt x="69" y="23"/>
                    </a:lnTo>
                    <a:lnTo>
                      <a:pt x="60" y="21"/>
                    </a:lnTo>
                    <a:lnTo>
                      <a:pt x="48" y="19"/>
                    </a:lnTo>
                    <a:lnTo>
                      <a:pt x="37" y="19"/>
                    </a:lnTo>
                    <a:lnTo>
                      <a:pt x="31" y="17"/>
                    </a:lnTo>
                    <a:lnTo>
                      <a:pt x="23" y="13"/>
                    </a:lnTo>
                    <a:lnTo>
                      <a:pt x="22" y="11"/>
                    </a:lnTo>
                    <a:lnTo>
                      <a:pt x="14" y="11"/>
                    </a:lnTo>
                    <a:lnTo>
                      <a:pt x="14" y="17"/>
                    </a:lnTo>
                    <a:lnTo>
                      <a:pt x="16" y="21"/>
                    </a:lnTo>
                    <a:lnTo>
                      <a:pt x="14" y="27"/>
                    </a:lnTo>
                    <a:lnTo>
                      <a:pt x="14" y="34"/>
                    </a:lnTo>
                    <a:lnTo>
                      <a:pt x="10" y="38"/>
                    </a:lnTo>
                    <a:lnTo>
                      <a:pt x="4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4" y="50"/>
                    </a:lnTo>
                    <a:lnTo>
                      <a:pt x="6" y="55"/>
                    </a:lnTo>
                    <a:lnTo>
                      <a:pt x="6" y="61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8" y="67"/>
                    </a:lnTo>
                    <a:lnTo>
                      <a:pt x="16" y="73"/>
                    </a:lnTo>
                    <a:lnTo>
                      <a:pt x="22" y="80"/>
                    </a:lnTo>
                    <a:lnTo>
                      <a:pt x="23" y="88"/>
                    </a:lnTo>
                    <a:lnTo>
                      <a:pt x="29" y="96"/>
                    </a:lnTo>
                    <a:lnTo>
                      <a:pt x="37" y="103"/>
                    </a:lnTo>
                    <a:lnTo>
                      <a:pt x="46" y="109"/>
                    </a:lnTo>
                    <a:lnTo>
                      <a:pt x="58" y="117"/>
                    </a:lnTo>
                    <a:lnTo>
                      <a:pt x="66" y="119"/>
                    </a:lnTo>
                    <a:lnTo>
                      <a:pt x="77" y="119"/>
                    </a:lnTo>
                    <a:lnTo>
                      <a:pt x="89" y="113"/>
                    </a:lnTo>
                    <a:lnTo>
                      <a:pt x="96" y="105"/>
                    </a:lnTo>
                    <a:lnTo>
                      <a:pt x="102" y="103"/>
                    </a:lnTo>
                    <a:lnTo>
                      <a:pt x="110" y="101"/>
                    </a:lnTo>
                    <a:lnTo>
                      <a:pt x="123" y="10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8" name="Freeform 186"/>
              <p:cNvSpPr>
                <a:spLocks/>
              </p:cNvSpPr>
              <p:nvPr/>
            </p:nvSpPr>
            <p:spPr bwMode="gray">
              <a:xfrm>
                <a:off x="1918" y="2531"/>
                <a:ext cx="76" cy="45"/>
              </a:xfrm>
              <a:custGeom>
                <a:avLst/>
                <a:gdLst>
                  <a:gd name="T0" fmla="*/ 154 w 154"/>
                  <a:gd name="T1" fmla="*/ 31 h 91"/>
                  <a:gd name="T2" fmla="*/ 150 w 154"/>
                  <a:gd name="T3" fmla="*/ 29 h 91"/>
                  <a:gd name="T4" fmla="*/ 140 w 154"/>
                  <a:gd name="T5" fmla="*/ 29 h 91"/>
                  <a:gd name="T6" fmla="*/ 134 w 154"/>
                  <a:gd name="T7" fmla="*/ 27 h 91"/>
                  <a:gd name="T8" fmla="*/ 131 w 154"/>
                  <a:gd name="T9" fmla="*/ 21 h 91"/>
                  <a:gd name="T10" fmla="*/ 129 w 154"/>
                  <a:gd name="T11" fmla="*/ 14 h 91"/>
                  <a:gd name="T12" fmla="*/ 127 w 154"/>
                  <a:gd name="T13" fmla="*/ 8 h 91"/>
                  <a:gd name="T14" fmla="*/ 115 w 154"/>
                  <a:gd name="T15" fmla="*/ 6 h 91"/>
                  <a:gd name="T16" fmla="*/ 102 w 154"/>
                  <a:gd name="T17" fmla="*/ 2 h 91"/>
                  <a:gd name="T18" fmla="*/ 92 w 154"/>
                  <a:gd name="T19" fmla="*/ 0 h 91"/>
                  <a:gd name="T20" fmla="*/ 81 w 154"/>
                  <a:gd name="T21" fmla="*/ 2 h 91"/>
                  <a:gd name="T22" fmla="*/ 61 w 154"/>
                  <a:gd name="T23" fmla="*/ 12 h 91"/>
                  <a:gd name="T24" fmla="*/ 21 w 154"/>
                  <a:gd name="T25" fmla="*/ 12 h 91"/>
                  <a:gd name="T26" fmla="*/ 21 w 154"/>
                  <a:gd name="T27" fmla="*/ 14 h 91"/>
                  <a:gd name="T28" fmla="*/ 19 w 154"/>
                  <a:gd name="T29" fmla="*/ 16 h 91"/>
                  <a:gd name="T30" fmla="*/ 14 w 154"/>
                  <a:gd name="T31" fmla="*/ 16 h 91"/>
                  <a:gd name="T32" fmla="*/ 8 w 154"/>
                  <a:gd name="T33" fmla="*/ 18 h 91"/>
                  <a:gd name="T34" fmla="*/ 6 w 154"/>
                  <a:gd name="T35" fmla="*/ 21 h 91"/>
                  <a:gd name="T36" fmla="*/ 6 w 154"/>
                  <a:gd name="T37" fmla="*/ 27 h 91"/>
                  <a:gd name="T38" fmla="*/ 4 w 154"/>
                  <a:gd name="T39" fmla="*/ 35 h 91"/>
                  <a:gd name="T40" fmla="*/ 2 w 154"/>
                  <a:gd name="T41" fmla="*/ 41 h 91"/>
                  <a:gd name="T42" fmla="*/ 0 w 154"/>
                  <a:gd name="T43" fmla="*/ 43 h 91"/>
                  <a:gd name="T44" fmla="*/ 4 w 154"/>
                  <a:gd name="T45" fmla="*/ 44 h 91"/>
                  <a:gd name="T46" fmla="*/ 14 w 154"/>
                  <a:gd name="T47" fmla="*/ 46 h 91"/>
                  <a:gd name="T48" fmla="*/ 21 w 154"/>
                  <a:gd name="T49" fmla="*/ 50 h 91"/>
                  <a:gd name="T50" fmla="*/ 25 w 154"/>
                  <a:gd name="T51" fmla="*/ 54 h 91"/>
                  <a:gd name="T52" fmla="*/ 29 w 154"/>
                  <a:gd name="T53" fmla="*/ 56 h 91"/>
                  <a:gd name="T54" fmla="*/ 35 w 154"/>
                  <a:gd name="T55" fmla="*/ 58 h 91"/>
                  <a:gd name="T56" fmla="*/ 42 w 154"/>
                  <a:gd name="T57" fmla="*/ 60 h 91"/>
                  <a:gd name="T58" fmla="*/ 46 w 154"/>
                  <a:gd name="T59" fmla="*/ 62 h 91"/>
                  <a:gd name="T60" fmla="*/ 46 w 154"/>
                  <a:gd name="T61" fmla="*/ 81 h 91"/>
                  <a:gd name="T62" fmla="*/ 52 w 154"/>
                  <a:gd name="T63" fmla="*/ 79 h 91"/>
                  <a:gd name="T64" fmla="*/ 52 w 154"/>
                  <a:gd name="T65" fmla="*/ 91 h 91"/>
                  <a:gd name="T66" fmla="*/ 56 w 154"/>
                  <a:gd name="T67" fmla="*/ 91 h 91"/>
                  <a:gd name="T68" fmla="*/ 61 w 154"/>
                  <a:gd name="T69" fmla="*/ 85 h 91"/>
                  <a:gd name="T70" fmla="*/ 61 w 154"/>
                  <a:gd name="T71" fmla="*/ 64 h 91"/>
                  <a:gd name="T72" fmla="*/ 63 w 154"/>
                  <a:gd name="T73" fmla="*/ 62 h 91"/>
                  <a:gd name="T74" fmla="*/ 79 w 154"/>
                  <a:gd name="T75" fmla="*/ 54 h 91"/>
                  <a:gd name="T76" fmla="*/ 90 w 154"/>
                  <a:gd name="T77" fmla="*/ 54 h 91"/>
                  <a:gd name="T78" fmla="*/ 96 w 154"/>
                  <a:gd name="T79" fmla="*/ 60 h 91"/>
                  <a:gd name="T80" fmla="*/ 108 w 154"/>
                  <a:gd name="T81" fmla="*/ 56 h 91"/>
                  <a:gd name="T82" fmla="*/ 113 w 154"/>
                  <a:gd name="T83" fmla="*/ 56 h 91"/>
                  <a:gd name="T84" fmla="*/ 121 w 154"/>
                  <a:gd name="T85" fmla="*/ 52 h 91"/>
                  <a:gd name="T86" fmla="*/ 123 w 154"/>
                  <a:gd name="T87" fmla="*/ 50 h 91"/>
                  <a:gd name="T88" fmla="*/ 127 w 154"/>
                  <a:gd name="T89" fmla="*/ 44 h 91"/>
                  <a:gd name="T90" fmla="*/ 131 w 154"/>
                  <a:gd name="T91" fmla="*/ 41 h 91"/>
                  <a:gd name="T92" fmla="*/ 134 w 154"/>
                  <a:gd name="T93" fmla="*/ 39 h 91"/>
                  <a:gd name="T94" fmla="*/ 152 w 154"/>
                  <a:gd name="T95" fmla="*/ 37 h 91"/>
                  <a:gd name="T96" fmla="*/ 154 w 154"/>
                  <a:gd name="T97" fmla="*/ 31 h 9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54"/>
                  <a:gd name="T148" fmla="*/ 0 h 91"/>
                  <a:gd name="T149" fmla="*/ 154 w 154"/>
                  <a:gd name="T150" fmla="*/ 91 h 9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54" h="91">
                    <a:moveTo>
                      <a:pt x="154" y="31"/>
                    </a:moveTo>
                    <a:lnTo>
                      <a:pt x="150" y="29"/>
                    </a:lnTo>
                    <a:lnTo>
                      <a:pt x="140" y="29"/>
                    </a:lnTo>
                    <a:lnTo>
                      <a:pt x="134" y="27"/>
                    </a:lnTo>
                    <a:lnTo>
                      <a:pt x="131" y="21"/>
                    </a:lnTo>
                    <a:lnTo>
                      <a:pt x="129" y="14"/>
                    </a:lnTo>
                    <a:lnTo>
                      <a:pt x="127" y="8"/>
                    </a:lnTo>
                    <a:lnTo>
                      <a:pt x="115" y="6"/>
                    </a:lnTo>
                    <a:lnTo>
                      <a:pt x="102" y="2"/>
                    </a:lnTo>
                    <a:lnTo>
                      <a:pt x="92" y="0"/>
                    </a:lnTo>
                    <a:lnTo>
                      <a:pt x="81" y="2"/>
                    </a:lnTo>
                    <a:lnTo>
                      <a:pt x="61" y="12"/>
                    </a:lnTo>
                    <a:lnTo>
                      <a:pt x="21" y="12"/>
                    </a:lnTo>
                    <a:lnTo>
                      <a:pt x="21" y="14"/>
                    </a:lnTo>
                    <a:lnTo>
                      <a:pt x="19" y="16"/>
                    </a:lnTo>
                    <a:lnTo>
                      <a:pt x="14" y="16"/>
                    </a:lnTo>
                    <a:lnTo>
                      <a:pt x="8" y="18"/>
                    </a:lnTo>
                    <a:lnTo>
                      <a:pt x="6" y="21"/>
                    </a:lnTo>
                    <a:lnTo>
                      <a:pt x="6" y="27"/>
                    </a:lnTo>
                    <a:lnTo>
                      <a:pt x="4" y="35"/>
                    </a:lnTo>
                    <a:lnTo>
                      <a:pt x="2" y="41"/>
                    </a:lnTo>
                    <a:lnTo>
                      <a:pt x="0" y="43"/>
                    </a:lnTo>
                    <a:lnTo>
                      <a:pt x="4" y="44"/>
                    </a:lnTo>
                    <a:lnTo>
                      <a:pt x="14" y="46"/>
                    </a:lnTo>
                    <a:lnTo>
                      <a:pt x="21" y="50"/>
                    </a:lnTo>
                    <a:lnTo>
                      <a:pt x="25" y="54"/>
                    </a:lnTo>
                    <a:lnTo>
                      <a:pt x="29" y="56"/>
                    </a:lnTo>
                    <a:lnTo>
                      <a:pt x="35" y="58"/>
                    </a:lnTo>
                    <a:lnTo>
                      <a:pt x="42" y="60"/>
                    </a:lnTo>
                    <a:lnTo>
                      <a:pt x="46" y="62"/>
                    </a:lnTo>
                    <a:lnTo>
                      <a:pt x="46" y="81"/>
                    </a:lnTo>
                    <a:lnTo>
                      <a:pt x="52" y="79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61" y="85"/>
                    </a:lnTo>
                    <a:lnTo>
                      <a:pt x="61" y="64"/>
                    </a:lnTo>
                    <a:lnTo>
                      <a:pt x="63" y="62"/>
                    </a:lnTo>
                    <a:lnTo>
                      <a:pt x="79" y="54"/>
                    </a:lnTo>
                    <a:lnTo>
                      <a:pt x="90" y="54"/>
                    </a:lnTo>
                    <a:lnTo>
                      <a:pt x="96" y="60"/>
                    </a:lnTo>
                    <a:lnTo>
                      <a:pt x="108" y="56"/>
                    </a:lnTo>
                    <a:lnTo>
                      <a:pt x="113" y="56"/>
                    </a:lnTo>
                    <a:lnTo>
                      <a:pt x="121" y="52"/>
                    </a:lnTo>
                    <a:lnTo>
                      <a:pt x="123" y="50"/>
                    </a:lnTo>
                    <a:lnTo>
                      <a:pt x="127" y="44"/>
                    </a:lnTo>
                    <a:lnTo>
                      <a:pt x="131" y="41"/>
                    </a:lnTo>
                    <a:lnTo>
                      <a:pt x="134" y="39"/>
                    </a:lnTo>
                    <a:lnTo>
                      <a:pt x="152" y="37"/>
                    </a:lnTo>
                    <a:lnTo>
                      <a:pt x="154" y="3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499" name="Freeform 187"/>
              <p:cNvSpPr>
                <a:spLocks/>
              </p:cNvSpPr>
              <p:nvPr/>
            </p:nvSpPr>
            <p:spPr bwMode="gray">
              <a:xfrm>
                <a:off x="2102" y="2473"/>
                <a:ext cx="35" cy="25"/>
              </a:xfrm>
              <a:custGeom>
                <a:avLst/>
                <a:gdLst>
                  <a:gd name="T0" fmla="*/ 71 w 71"/>
                  <a:gd name="T1" fmla="*/ 50 h 50"/>
                  <a:gd name="T2" fmla="*/ 71 w 71"/>
                  <a:gd name="T3" fmla="*/ 48 h 50"/>
                  <a:gd name="T4" fmla="*/ 69 w 71"/>
                  <a:gd name="T5" fmla="*/ 44 h 50"/>
                  <a:gd name="T6" fmla="*/ 69 w 71"/>
                  <a:gd name="T7" fmla="*/ 38 h 50"/>
                  <a:gd name="T8" fmla="*/ 67 w 71"/>
                  <a:gd name="T9" fmla="*/ 35 h 50"/>
                  <a:gd name="T10" fmla="*/ 63 w 71"/>
                  <a:gd name="T11" fmla="*/ 31 h 50"/>
                  <a:gd name="T12" fmla="*/ 65 w 71"/>
                  <a:gd name="T13" fmla="*/ 27 h 50"/>
                  <a:gd name="T14" fmla="*/ 67 w 71"/>
                  <a:gd name="T15" fmla="*/ 19 h 50"/>
                  <a:gd name="T16" fmla="*/ 65 w 71"/>
                  <a:gd name="T17" fmla="*/ 0 h 50"/>
                  <a:gd name="T18" fmla="*/ 55 w 71"/>
                  <a:gd name="T19" fmla="*/ 0 h 50"/>
                  <a:gd name="T20" fmla="*/ 44 w 71"/>
                  <a:gd name="T21" fmla="*/ 2 h 50"/>
                  <a:gd name="T22" fmla="*/ 34 w 71"/>
                  <a:gd name="T23" fmla="*/ 0 h 50"/>
                  <a:gd name="T24" fmla="*/ 36 w 71"/>
                  <a:gd name="T25" fmla="*/ 2 h 50"/>
                  <a:gd name="T26" fmla="*/ 40 w 71"/>
                  <a:gd name="T27" fmla="*/ 2 h 50"/>
                  <a:gd name="T28" fmla="*/ 46 w 71"/>
                  <a:gd name="T29" fmla="*/ 4 h 50"/>
                  <a:gd name="T30" fmla="*/ 42 w 71"/>
                  <a:gd name="T31" fmla="*/ 13 h 50"/>
                  <a:gd name="T32" fmla="*/ 42 w 71"/>
                  <a:gd name="T33" fmla="*/ 17 h 50"/>
                  <a:gd name="T34" fmla="*/ 44 w 71"/>
                  <a:gd name="T35" fmla="*/ 21 h 50"/>
                  <a:gd name="T36" fmla="*/ 46 w 71"/>
                  <a:gd name="T37" fmla="*/ 27 h 50"/>
                  <a:gd name="T38" fmla="*/ 51 w 71"/>
                  <a:gd name="T39" fmla="*/ 29 h 50"/>
                  <a:gd name="T40" fmla="*/ 51 w 71"/>
                  <a:gd name="T41" fmla="*/ 38 h 50"/>
                  <a:gd name="T42" fmla="*/ 49 w 71"/>
                  <a:gd name="T43" fmla="*/ 42 h 50"/>
                  <a:gd name="T44" fmla="*/ 40 w 71"/>
                  <a:gd name="T45" fmla="*/ 40 h 50"/>
                  <a:gd name="T46" fmla="*/ 28 w 71"/>
                  <a:gd name="T47" fmla="*/ 38 h 50"/>
                  <a:gd name="T48" fmla="*/ 23 w 71"/>
                  <a:gd name="T49" fmla="*/ 38 h 50"/>
                  <a:gd name="T50" fmla="*/ 15 w 71"/>
                  <a:gd name="T51" fmla="*/ 36 h 50"/>
                  <a:gd name="T52" fmla="*/ 9 w 71"/>
                  <a:gd name="T53" fmla="*/ 35 h 50"/>
                  <a:gd name="T54" fmla="*/ 3 w 71"/>
                  <a:gd name="T55" fmla="*/ 31 h 50"/>
                  <a:gd name="T56" fmla="*/ 3 w 71"/>
                  <a:gd name="T57" fmla="*/ 35 h 50"/>
                  <a:gd name="T58" fmla="*/ 0 w 71"/>
                  <a:gd name="T59" fmla="*/ 46 h 50"/>
                  <a:gd name="T60" fmla="*/ 7 w 71"/>
                  <a:gd name="T61" fmla="*/ 50 h 50"/>
                  <a:gd name="T62" fmla="*/ 71 w 71"/>
                  <a:gd name="T63" fmla="*/ 50 h 5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71"/>
                  <a:gd name="T97" fmla="*/ 0 h 50"/>
                  <a:gd name="T98" fmla="*/ 71 w 71"/>
                  <a:gd name="T99" fmla="*/ 50 h 5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71" h="50">
                    <a:moveTo>
                      <a:pt x="71" y="50"/>
                    </a:moveTo>
                    <a:lnTo>
                      <a:pt x="71" y="48"/>
                    </a:lnTo>
                    <a:lnTo>
                      <a:pt x="69" y="44"/>
                    </a:lnTo>
                    <a:lnTo>
                      <a:pt x="69" y="38"/>
                    </a:lnTo>
                    <a:lnTo>
                      <a:pt x="67" y="35"/>
                    </a:lnTo>
                    <a:lnTo>
                      <a:pt x="63" y="31"/>
                    </a:lnTo>
                    <a:lnTo>
                      <a:pt x="65" y="27"/>
                    </a:lnTo>
                    <a:lnTo>
                      <a:pt x="67" y="19"/>
                    </a:lnTo>
                    <a:lnTo>
                      <a:pt x="65" y="0"/>
                    </a:lnTo>
                    <a:lnTo>
                      <a:pt x="55" y="0"/>
                    </a:lnTo>
                    <a:lnTo>
                      <a:pt x="44" y="2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40" y="2"/>
                    </a:lnTo>
                    <a:lnTo>
                      <a:pt x="46" y="4"/>
                    </a:lnTo>
                    <a:lnTo>
                      <a:pt x="42" y="13"/>
                    </a:lnTo>
                    <a:lnTo>
                      <a:pt x="42" y="17"/>
                    </a:lnTo>
                    <a:lnTo>
                      <a:pt x="44" y="21"/>
                    </a:lnTo>
                    <a:lnTo>
                      <a:pt x="46" y="27"/>
                    </a:lnTo>
                    <a:lnTo>
                      <a:pt x="51" y="29"/>
                    </a:lnTo>
                    <a:lnTo>
                      <a:pt x="51" y="38"/>
                    </a:lnTo>
                    <a:lnTo>
                      <a:pt x="49" y="42"/>
                    </a:lnTo>
                    <a:lnTo>
                      <a:pt x="40" y="40"/>
                    </a:lnTo>
                    <a:lnTo>
                      <a:pt x="28" y="38"/>
                    </a:lnTo>
                    <a:lnTo>
                      <a:pt x="23" y="38"/>
                    </a:lnTo>
                    <a:lnTo>
                      <a:pt x="15" y="36"/>
                    </a:lnTo>
                    <a:lnTo>
                      <a:pt x="9" y="35"/>
                    </a:lnTo>
                    <a:lnTo>
                      <a:pt x="3" y="31"/>
                    </a:lnTo>
                    <a:lnTo>
                      <a:pt x="3" y="35"/>
                    </a:lnTo>
                    <a:lnTo>
                      <a:pt x="0" y="46"/>
                    </a:lnTo>
                    <a:lnTo>
                      <a:pt x="7" y="50"/>
                    </a:lnTo>
                    <a:lnTo>
                      <a:pt x="71" y="5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0" name="Freeform 188"/>
              <p:cNvSpPr>
                <a:spLocks/>
              </p:cNvSpPr>
              <p:nvPr/>
            </p:nvSpPr>
            <p:spPr bwMode="gray">
              <a:xfrm>
                <a:off x="2259" y="2649"/>
                <a:ext cx="60" cy="119"/>
              </a:xfrm>
              <a:custGeom>
                <a:avLst/>
                <a:gdLst>
                  <a:gd name="T0" fmla="*/ 117 w 119"/>
                  <a:gd name="T1" fmla="*/ 73 h 238"/>
                  <a:gd name="T2" fmla="*/ 116 w 119"/>
                  <a:gd name="T3" fmla="*/ 59 h 238"/>
                  <a:gd name="T4" fmla="*/ 108 w 119"/>
                  <a:gd name="T5" fmla="*/ 59 h 238"/>
                  <a:gd name="T6" fmla="*/ 102 w 119"/>
                  <a:gd name="T7" fmla="*/ 55 h 238"/>
                  <a:gd name="T8" fmla="*/ 96 w 119"/>
                  <a:gd name="T9" fmla="*/ 48 h 238"/>
                  <a:gd name="T10" fmla="*/ 87 w 119"/>
                  <a:gd name="T11" fmla="*/ 51 h 238"/>
                  <a:gd name="T12" fmla="*/ 81 w 119"/>
                  <a:gd name="T13" fmla="*/ 67 h 238"/>
                  <a:gd name="T14" fmla="*/ 75 w 119"/>
                  <a:gd name="T15" fmla="*/ 65 h 238"/>
                  <a:gd name="T16" fmla="*/ 75 w 119"/>
                  <a:gd name="T17" fmla="*/ 51 h 238"/>
                  <a:gd name="T18" fmla="*/ 77 w 119"/>
                  <a:gd name="T19" fmla="*/ 23 h 238"/>
                  <a:gd name="T20" fmla="*/ 69 w 119"/>
                  <a:gd name="T21" fmla="*/ 25 h 238"/>
                  <a:gd name="T22" fmla="*/ 62 w 119"/>
                  <a:gd name="T23" fmla="*/ 13 h 238"/>
                  <a:gd name="T24" fmla="*/ 56 w 119"/>
                  <a:gd name="T25" fmla="*/ 9 h 238"/>
                  <a:gd name="T26" fmla="*/ 50 w 119"/>
                  <a:gd name="T27" fmla="*/ 2 h 238"/>
                  <a:gd name="T28" fmla="*/ 43 w 119"/>
                  <a:gd name="T29" fmla="*/ 0 h 238"/>
                  <a:gd name="T30" fmla="*/ 41 w 119"/>
                  <a:gd name="T31" fmla="*/ 11 h 238"/>
                  <a:gd name="T32" fmla="*/ 29 w 119"/>
                  <a:gd name="T33" fmla="*/ 19 h 238"/>
                  <a:gd name="T34" fmla="*/ 18 w 119"/>
                  <a:gd name="T35" fmla="*/ 21 h 238"/>
                  <a:gd name="T36" fmla="*/ 16 w 119"/>
                  <a:gd name="T37" fmla="*/ 28 h 238"/>
                  <a:gd name="T38" fmla="*/ 25 w 119"/>
                  <a:gd name="T39" fmla="*/ 44 h 238"/>
                  <a:gd name="T40" fmla="*/ 33 w 119"/>
                  <a:gd name="T41" fmla="*/ 51 h 238"/>
                  <a:gd name="T42" fmla="*/ 20 w 119"/>
                  <a:gd name="T43" fmla="*/ 57 h 238"/>
                  <a:gd name="T44" fmla="*/ 8 w 119"/>
                  <a:gd name="T45" fmla="*/ 61 h 238"/>
                  <a:gd name="T46" fmla="*/ 10 w 119"/>
                  <a:gd name="T47" fmla="*/ 71 h 238"/>
                  <a:gd name="T48" fmla="*/ 21 w 119"/>
                  <a:gd name="T49" fmla="*/ 109 h 238"/>
                  <a:gd name="T50" fmla="*/ 35 w 119"/>
                  <a:gd name="T51" fmla="*/ 113 h 238"/>
                  <a:gd name="T52" fmla="*/ 46 w 119"/>
                  <a:gd name="T53" fmla="*/ 117 h 238"/>
                  <a:gd name="T54" fmla="*/ 39 w 119"/>
                  <a:gd name="T55" fmla="*/ 126 h 238"/>
                  <a:gd name="T56" fmla="*/ 52 w 119"/>
                  <a:gd name="T57" fmla="*/ 134 h 238"/>
                  <a:gd name="T58" fmla="*/ 52 w 119"/>
                  <a:gd name="T59" fmla="*/ 140 h 238"/>
                  <a:gd name="T60" fmla="*/ 56 w 119"/>
                  <a:gd name="T61" fmla="*/ 148 h 238"/>
                  <a:gd name="T62" fmla="*/ 46 w 119"/>
                  <a:gd name="T63" fmla="*/ 161 h 238"/>
                  <a:gd name="T64" fmla="*/ 39 w 119"/>
                  <a:gd name="T65" fmla="*/ 165 h 238"/>
                  <a:gd name="T66" fmla="*/ 37 w 119"/>
                  <a:gd name="T67" fmla="*/ 205 h 238"/>
                  <a:gd name="T68" fmla="*/ 41 w 119"/>
                  <a:gd name="T69" fmla="*/ 217 h 238"/>
                  <a:gd name="T70" fmla="*/ 48 w 119"/>
                  <a:gd name="T71" fmla="*/ 223 h 238"/>
                  <a:gd name="T72" fmla="*/ 58 w 119"/>
                  <a:gd name="T73" fmla="*/ 234 h 238"/>
                  <a:gd name="T74" fmla="*/ 68 w 119"/>
                  <a:gd name="T75" fmla="*/ 238 h 238"/>
                  <a:gd name="T76" fmla="*/ 73 w 119"/>
                  <a:gd name="T77" fmla="*/ 230 h 238"/>
                  <a:gd name="T78" fmla="*/ 81 w 119"/>
                  <a:gd name="T79" fmla="*/ 228 h 238"/>
                  <a:gd name="T80" fmla="*/ 85 w 119"/>
                  <a:gd name="T81" fmla="*/ 221 h 238"/>
                  <a:gd name="T82" fmla="*/ 91 w 119"/>
                  <a:gd name="T83" fmla="*/ 217 h 238"/>
                  <a:gd name="T84" fmla="*/ 102 w 119"/>
                  <a:gd name="T85" fmla="*/ 219 h 238"/>
                  <a:gd name="T86" fmla="*/ 108 w 119"/>
                  <a:gd name="T87" fmla="*/ 217 h 238"/>
                  <a:gd name="T88" fmla="*/ 102 w 119"/>
                  <a:gd name="T89" fmla="*/ 182 h 238"/>
                  <a:gd name="T90" fmla="*/ 104 w 119"/>
                  <a:gd name="T91" fmla="*/ 171 h 238"/>
                  <a:gd name="T92" fmla="*/ 98 w 119"/>
                  <a:gd name="T93" fmla="*/ 163 h 238"/>
                  <a:gd name="T94" fmla="*/ 94 w 119"/>
                  <a:gd name="T95" fmla="*/ 155 h 238"/>
                  <a:gd name="T96" fmla="*/ 96 w 119"/>
                  <a:gd name="T97" fmla="*/ 140 h 238"/>
                  <a:gd name="T98" fmla="*/ 94 w 119"/>
                  <a:gd name="T99" fmla="*/ 123 h 238"/>
                  <a:gd name="T100" fmla="*/ 104 w 119"/>
                  <a:gd name="T101" fmla="*/ 115 h 238"/>
                  <a:gd name="T102" fmla="*/ 108 w 119"/>
                  <a:gd name="T103" fmla="*/ 105 h 238"/>
                  <a:gd name="T104" fmla="*/ 110 w 119"/>
                  <a:gd name="T105" fmla="*/ 92 h 238"/>
                  <a:gd name="T106" fmla="*/ 119 w 119"/>
                  <a:gd name="T107" fmla="*/ 78 h 23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9"/>
                  <a:gd name="T163" fmla="*/ 0 h 238"/>
                  <a:gd name="T164" fmla="*/ 119 w 119"/>
                  <a:gd name="T165" fmla="*/ 238 h 238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9" h="238">
                    <a:moveTo>
                      <a:pt x="119" y="78"/>
                    </a:moveTo>
                    <a:lnTo>
                      <a:pt x="117" y="73"/>
                    </a:lnTo>
                    <a:lnTo>
                      <a:pt x="117" y="65"/>
                    </a:lnTo>
                    <a:lnTo>
                      <a:pt x="116" y="59"/>
                    </a:lnTo>
                    <a:lnTo>
                      <a:pt x="112" y="57"/>
                    </a:lnTo>
                    <a:lnTo>
                      <a:pt x="108" y="59"/>
                    </a:lnTo>
                    <a:lnTo>
                      <a:pt x="104" y="59"/>
                    </a:lnTo>
                    <a:lnTo>
                      <a:pt x="102" y="55"/>
                    </a:lnTo>
                    <a:lnTo>
                      <a:pt x="98" y="51"/>
                    </a:lnTo>
                    <a:lnTo>
                      <a:pt x="96" y="48"/>
                    </a:lnTo>
                    <a:lnTo>
                      <a:pt x="91" y="50"/>
                    </a:lnTo>
                    <a:lnTo>
                      <a:pt x="87" y="51"/>
                    </a:lnTo>
                    <a:lnTo>
                      <a:pt x="81" y="51"/>
                    </a:lnTo>
                    <a:lnTo>
                      <a:pt x="81" y="67"/>
                    </a:lnTo>
                    <a:lnTo>
                      <a:pt x="79" y="65"/>
                    </a:lnTo>
                    <a:lnTo>
                      <a:pt x="75" y="65"/>
                    </a:lnTo>
                    <a:lnTo>
                      <a:pt x="69" y="67"/>
                    </a:lnTo>
                    <a:lnTo>
                      <a:pt x="75" y="51"/>
                    </a:lnTo>
                    <a:lnTo>
                      <a:pt x="81" y="25"/>
                    </a:lnTo>
                    <a:lnTo>
                      <a:pt x="77" y="23"/>
                    </a:lnTo>
                    <a:lnTo>
                      <a:pt x="73" y="25"/>
                    </a:lnTo>
                    <a:lnTo>
                      <a:pt x="69" y="25"/>
                    </a:lnTo>
                    <a:lnTo>
                      <a:pt x="69" y="17"/>
                    </a:lnTo>
                    <a:lnTo>
                      <a:pt x="62" y="13"/>
                    </a:lnTo>
                    <a:lnTo>
                      <a:pt x="58" y="13"/>
                    </a:lnTo>
                    <a:lnTo>
                      <a:pt x="56" y="9"/>
                    </a:lnTo>
                    <a:lnTo>
                      <a:pt x="52" y="3"/>
                    </a:lnTo>
                    <a:lnTo>
                      <a:pt x="50" y="2"/>
                    </a:lnTo>
                    <a:lnTo>
                      <a:pt x="46" y="0"/>
                    </a:lnTo>
                    <a:lnTo>
                      <a:pt x="43" y="0"/>
                    </a:lnTo>
                    <a:lnTo>
                      <a:pt x="41" y="9"/>
                    </a:lnTo>
                    <a:lnTo>
                      <a:pt x="41" y="11"/>
                    </a:lnTo>
                    <a:lnTo>
                      <a:pt x="37" y="15"/>
                    </a:lnTo>
                    <a:lnTo>
                      <a:pt x="29" y="19"/>
                    </a:lnTo>
                    <a:lnTo>
                      <a:pt x="23" y="21"/>
                    </a:lnTo>
                    <a:lnTo>
                      <a:pt x="18" y="21"/>
                    </a:lnTo>
                    <a:lnTo>
                      <a:pt x="14" y="25"/>
                    </a:lnTo>
                    <a:lnTo>
                      <a:pt x="16" y="28"/>
                    </a:lnTo>
                    <a:lnTo>
                      <a:pt x="21" y="36"/>
                    </a:lnTo>
                    <a:lnTo>
                      <a:pt x="25" y="44"/>
                    </a:lnTo>
                    <a:lnTo>
                      <a:pt x="31" y="46"/>
                    </a:lnTo>
                    <a:lnTo>
                      <a:pt x="33" y="51"/>
                    </a:lnTo>
                    <a:lnTo>
                      <a:pt x="29" y="55"/>
                    </a:lnTo>
                    <a:lnTo>
                      <a:pt x="20" y="57"/>
                    </a:lnTo>
                    <a:lnTo>
                      <a:pt x="12" y="59"/>
                    </a:lnTo>
                    <a:lnTo>
                      <a:pt x="8" y="61"/>
                    </a:lnTo>
                    <a:lnTo>
                      <a:pt x="10" y="67"/>
                    </a:lnTo>
                    <a:lnTo>
                      <a:pt x="10" y="71"/>
                    </a:lnTo>
                    <a:lnTo>
                      <a:pt x="0" y="75"/>
                    </a:lnTo>
                    <a:lnTo>
                      <a:pt x="21" y="109"/>
                    </a:lnTo>
                    <a:lnTo>
                      <a:pt x="27" y="109"/>
                    </a:lnTo>
                    <a:lnTo>
                      <a:pt x="35" y="113"/>
                    </a:lnTo>
                    <a:lnTo>
                      <a:pt x="44" y="113"/>
                    </a:lnTo>
                    <a:lnTo>
                      <a:pt x="46" y="117"/>
                    </a:lnTo>
                    <a:lnTo>
                      <a:pt x="48" y="119"/>
                    </a:lnTo>
                    <a:lnTo>
                      <a:pt x="39" y="126"/>
                    </a:lnTo>
                    <a:lnTo>
                      <a:pt x="48" y="132"/>
                    </a:lnTo>
                    <a:lnTo>
                      <a:pt x="52" y="134"/>
                    </a:lnTo>
                    <a:lnTo>
                      <a:pt x="54" y="136"/>
                    </a:lnTo>
                    <a:lnTo>
                      <a:pt x="52" y="140"/>
                    </a:lnTo>
                    <a:lnTo>
                      <a:pt x="52" y="144"/>
                    </a:lnTo>
                    <a:lnTo>
                      <a:pt x="56" y="148"/>
                    </a:lnTo>
                    <a:lnTo>
                      <a:pt x="56" y="151"/>
                    </a:lnTo>
                    <a:lnTo>
                      <a:pt x="46" y="161"/>
                    </a:lnTo>
                    <a:lnTo>
                      <a:pt x="41" y="165"/>
                    </a:lnTo>
                    <a:lnTo>
                      <a:pt x="39" y="165"/>
                    </a:lnTo>
                    <a:lnTo>
                      <a:pt x="39" y="192"/>
                    </a:lnTo>
                    <a:lnTo>
                      <a:pt x="37" y="205"/>
                    </a:lnTo>
                    <a:lnTo>
                      <a:pt x="37" y="211"/>
                    </a:lnTo>
                    <a:lnTo>
                      <a:pt x="41" y="217"/>
                    </a:lnTo>
                    <a:lnTo>
                      <a:pt x="44" y="221"/>
                    </a:lnTo>
                    <a:lnTo>
                      <a:pt x="48" y="223"/>
                    </a:lnTo>
                    <a:lnTo>
                      <a:pt x="54" y="226"/>
                    </a:lnTo>
                    <a:lnTo>
                      <a:pt x="58" y="234"/>
                    </a:lnTo>
                    <a:lnTo>
                      <a:pt x="62" y="238"/>
                    </a:lnTo>
                    <a:lnTo>
                      <a:pt x="68" y="238"/>
                    </a:lnTo>
                    <a:lnTo>
                      <a:pt x="69" y="236"/>
                    </a:lnTo>
                    <a:lnTo>
                      <a:pt x="73" y="230"/>
                    </a:lnTo>
                    <a:lnTo>
                      <a:pt x="77" y="230"/>
                    </a:lnTo>
                    <a:lnTo>
                      <a:pt x="81" y="228"/>
                    </a:lnTo>
                    <a:lnTo>
                      <a:pt x="83" y="223"/>
                    </a:lnTo>
                    <a:lnTo>
                      <a:pt x="85" y="221"/>
                    </a:lnTo>
                    <a:lnTo>
                      <a:pt x="89" y="219"/>
                    </a:lnTo>
                    <a:lnTo>
                      <a:pt x="91" y="217"/>
                    </a:lnTo>
                    <a:lnTo>
                      <a:pt x="96" y="217"/>
                    </a:lnTo>
                    <a:lnTo>
                      <a:pt x="102" y="219"/>
                    </a:lnTo>
                    <a:lnTo>
                      <a:pt x="106" y="219"/>
                    </a:lnTo>
                    <a:lnTo>
                      <a:pt x="108" y="217"/>
                    </a:lnTo>
                    <a:lnTo>
                      <a:pt x="104" y="203"/>
                    </a:lnTo>
                    <a:lnTo>
                      <a:pt x="102" y="182"/>
                    </a:lnTo>
                    <a:lnTo>
                      <a:pt x="102" y="178"/>
                    </a:lnTo>
                    <a:lnTo>
                      <a:pt x="104" y="171"/>
                    </a:lnTo>
                    <a:lnTo>
                      <a:pt x="102" y="165"/>
                    </a:lnTo>
                    <a:lnTo>
                      <a:pt x="98" y="163"/>
                    </a:lnTo>
                    <a:lnTo>
                      <a:pt x="94" y="159"/>
                    </a:lnTo>
                    <a:lnTo>
                      <a:pt x="94" y="155"/>
                    </a:lnTo>
                    <a:lnTo>
                      <a:pt x="96" y="148"/>
                    </a:lnTo>
                    <a:lnTo>
                      <a:pt x="96" y="140"/>
                    </a:lnTo>
                    <a:lnTo>
                      <a:pt x="92" y="128"/>
                    </a:lnTo>
                    <a:lnTo>
                      <a:pt x="94" y="123"/>
                    </a:lnTo>
                    <a:lnTo>
                      <a:pt x="98" y="119"/>
                    </a:lnTo>
                    <a:lnTo>
                      <a:pt x="104" y="115"/>
                    </a:lnTo>
                    <a:lnTo>
                      <a:pt x="106" y="111"/>
                    </a:lnTo>
                    <a:lnTo>
                      <a:pt x="108" y="105"/>
                    </a:lnTo>
                    <a:lnTo>
                      <a:pt x="108" y="96"/>
                    </a:lnTo>
                    <a:lnTo>
                      <a:pt x="110" y="92"/>
                    </a:lnTo>
                    <a:lnTo>
                      <a:pt x="114" y="86"/>
                    </a:lnTo>
                    <a:lnTo>
                      <a:pt x="119" y="78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1" name="Freeform 189"/>
              <p:cNvSpPr>
                <a:spLocks/>
              </p:cNvSpPr>
              <p:nvPr/>
            </p:nvSpPr>
            <p:spPr bwMode="gray">
              <a:xfrm>
                <a:off x="2823" y="2582"/>
                <a:ext cx="34" cy="27"/>
              </a:xfrm>
              <a:custGeom>
                <a:avLst/>
                <a:gdLst>
                  <a:gd name="T0" fmla="*/ 2 w 69"/>
                  <a:gd name="T1" fmla="*/ 17 h 56"/>
                  <a:gd name="T2" fmla="*/ 2 w 69"/>
                  <a:gd name="T3" fmla="*/ 25 h 56"/>
                  <a:gd name="T4" fmla="*/ 8 w 69"/>
                  <a:gd name="T5" fmla="*/ 27 h 56"/>
                  <a:gd name="T6" fmla="*/ 15 w 69"/>
                  <a:gd name="T7" fmla="*/ 29 h 56"/>
                  <a:gd name="T8" fmla="*/ 21 w 69"/>
                  <a:gd name="T9" fmla="*/ 33 h 56"/>
                  <a:gd name="T10" fmla="*/ 23 w 69"/>
                  <a:gd name="T11" fmla="*/ 39 h 56"/>
                  <a:gd name="T12" fmla="*/ 23 w 69"/>
                  <a:gd name="T13" fmla="*/ 46 h 56"/>
                  <a:gd name="T14" fmla="*/ 25 w 69"/>
                  <a:gd name="T15" fmla="*/ 52 h 56"/>
                  <a:gd name="T16" fmla="*/ 36 w 69"/>
                  <a:gd name="T17" fmla="*/ 52 h 56"/>
                  <a:gd name="T18" fmla="*/ 36 w 69"/>
                  <a:gd name="T19" fmla="*/ 50 h 56"/>
                  <a:gd name="T20" fmla="*/ 38 w 69"/>
                  <a:gd name="T21" fmla="*/ 56 h 56"/>
                  <a:gd name="T22" fmla="*/ 40 w 69"/>
                  <a:gd name="T23" fmla="*/ 54 h 56"/>
                  <a:gd name="T24" fmla="*/ 42 w 69"/>
                  <a:gd name="T25" fmla="*/ 50 h 56"/>
                  <a:gd name="T26" fmla="*/ 42 w 69"/>
                  <a:gd name="T27" fmla="*/ 44 h 56"/>
                  <a:gd name="T28" fmla="*/ 52 w 69"/>
                  <a:gd name="T29" fmla="*/ 44 h 56"/>
                  <a:gd name="T30" fmla="*/ 58 w 69"/>
                  <a:gd name="T31" fmla="*/ 42 h 56"/>
                  <a:gd name="T32" fmla="*/ 65 w 69"/>
                  <a:gd name="T33" fmla="*/ 35 h 56"/>
                  <a:gd name="T34" fmla="*/ 67 w 69"/>
                  <a:gd name="T35" fmla="*/ 29 h 56"/>
                  <a:gd name="T36" fmla="*/ 63 w 69"/>
                  <a:gd name="T37" fmla="*/ 25 h 56"/>
                  <a:gd name="T38" fmla="*/ 61 w 69"/>
                  <a:gd name="T39" fmla="*/ 21 h 56"/>
                  <a:gd name="T40" fmla="*/ 63 w 69"/>
                  <a:gd name="T41" fmla="*/ 17 h 56"/>
                  <a:gd name="T42" fmla="*/ 67 w 69"/>
                  <a:gd name="T43" fmla="*/ 15 h 56"/>
                  <a:gd name="T44" fmla="*/ 69 w 69"/>
                  <a:gd name="T45" fmla="*/ 14 h 56"/>
                  <a:gd name="T46" fmla="*/ 69 w 69"/>
                  <a:gd name="T47" fmla="*/ 6 h 56"/>
                  <a:gd name="T48" fmla="*/ 67 w 69"/>
                  <a:gd name="T49" fmla="*/ 2 h 56"/>
                  <a:gd name="T50" fmla="*/ 56 w 69"/>
                  <a:gd name="T51" fmla="*/ 0 h 56"/>
                  <a:gd name="T52" fmla="*/ 29 w 69"/>
                  <a:gd name="T53" fmla="*/ 0 h 56"/>
                  <a:gd name="T54" fmla="*/ 15 w 69"/>
                  <a:gd name="T55" fmla="*/ 10 h 56"/>
                  <a:gd name="T56" fmla="*/ 0 w 69"/>
                  <a:gd name="T57" fmla="*/ 14 h 56"/>
                  <a:gd name="T58" fmla="*/ 2 w 69"/>
                  <a:gd name="T59" fmla="*/ 17 h 5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9"/>
                  <a:gd name="T91" fmla="*/ 0 h 56"/>
                  <a:gd name="T92" fmla="*/ 69 w 69"/>
                  <a:gd name="T93" fmla="*/ 56 h 5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9" h="56">
                    <a:moveTo>
                      <a:pt x="2" y="17"/>
                    </a:moveTo>
                    <a:lnTo>
                      <a:pt x="2" y="25"/>
                    </a:lnTo>
                    <a:lnTo>
                      <a:pt x="8" y="27"/>
                    </a:lnTo>
                    <a:lnTo>
                      <a:pt x="15" y="29"/>
                    </a:lnTo>
                    <a:lnTo>
                      <a:pt x="21" y="33"/>
                    </a:lnTo>
                    <a:lnTo>
                      <a:pt x="23" y="39"/>
                    </a:lnTo>
                    <a:lnTo>
                      <a:pt x="23" y="46"/>
                    </a:lnTo>
                    <a:lnTo>
                      <a:pt x="25" y="52"/>
                    </a:lnTo>
                    <a:lnTo>
                      <a:pt x="36" y="52"/>
                    </a:lnTo>
                    <a:lnTo>
                      <a:pt x="36" y="50"/>
                    </a:lnTo>
                    <a:lnTo>
                      <a:pt x="38" y="56"/>
                    </a:lnTo>
                    <a:lnTo>
                      <a:pt x="40" y="54"/>
                    </a:lnTo>
                    <a:lnTo>
                      <a:pt x="42" y="50"/>
                    </a:lnTo>
                    <a:lnTo>
                      <a:pt x="42" y="44"/>
                    </a:lnTo>
                    <a:lnTo>
                      <a:pt x="52" y="44"/>
                    </a:lnTo>
                    <a:lnTo>
                      <a:pt x="58" y="42"/>
                    </a:lnTo>
                    <a:lnTo>
                      <a:pt x="65" y="35"/>
                    </a:lnTo>
                    <a:lnTo>
                      <a:pt x="67" y="29"/>
                    </a:lnTo>
                    <a:lnTo>
                      <a:pt x="63" y="25"/>
                    </a:lnTo>
                    <a:lnTo>
                      <a:pt x="61" y="21"/>
                    </a:lnTo>
                    <a:lnTo>
                      <a:pt x="63" y="17"/>
                    </a:lnTo>
                    <a:lnTo>
                      <a:pt x="67" y="15"/>
                    </a:lnTo>
                    <a:lnTo>
                      <a:pt x="69" y="14"/>
                    </a:lnTo>
                    <a:lnTo>
                      <a:pt x="69" y="6"/>
                    </a:lnTo>
                    <a:lnTo>
                      <a:pt x="67" y="2"/>
                    </a:lnTo>
                    <a:lnTo>
                      <a:pt x="56" y="0"/>
                    </a:lnTo>
                    <a:lnTo>
                      <a:pt x="29" y="0"/>
                    </a:lnTo>
                    <a:lnTo>
                      <a:pt x="15" y="10"/>
                    </a:lnTo>
                    <a:lnTo>
                      <a:pt x="0" y="14"/>
                    </a:lnTo>
                    <a:lnTo>
                      <a:pt x="2" y="1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2" name="Freeform 190"/>
              <p:cNvSpPr>
                <a:spLocks/>
              </p:cNvSpPr>
              <p:nvPr/>
            </p:nvSpPr>
            <p:spPr bwMode="gray">
              <a:xfrm>
                <a:off x="2843" y="2583"/>
                <a:ext cx="92" cy="81"/>
              </a:xfrm>
              <a:custGeom>
                <a:avLst/>
                <a:gdLst>
                  <a:gd name="T0" fmla="*/ 37 w 185"/>
                  <a:gd name="T1" fmla="*/ 115 h 163"/>
                  <a:gd name="T2" fmla="*/ 44 w 185"/>
                  <a:gd name="T3" fmla="*/ 111 h 163"/>
                  <a:gd name="T4" fmla="*/ 48 w 185"/>
                  <a:gd name="T5" fmla="*/ 106 h 163"/>
                  <a:gd name="T6" fmla="*/ 60 w 185"/>
                  <a:gd name="T7" fmla="*/ 83 h 163"/>
                  <a:gd name="T8" fmla="*/ 69 w 185"/>
                  <a:gd name="T9" fmla="*/ 77 h 163"/>
                  <a:gd name="T10" fmla="*/ 85 w 185"/>
                  <a:gd name="T11" fmla="*/ 83 h 163"/>
                  <a:gd name="T12" fmla="*/ 92 w 185"/>
                  <a:gd name="T13" fmla="*/ 81 h 163"/>
                  <a:gd name="T14" fmla="*/ 98 w 185"/>
                  <a:gd name="T15" fmla="*/ 86 h 163"/>
                  <a:gd name="T16" fmla="*/ 102 w 185"/>
                  <a:gd name="T17" fmla="*/ 98 h 163"/>
                  <a:gd name="T18" fmla="*/ 108 w 185"/>
                  <a:gd name="T19" fmla="*/ 106 h 163"/>
                  <a:gd name="T20" fmla="*/ 114 w 185"/>
                  <a:gd name="T21" fmla="*/ 123 h 163"/>
                  <a:gd name="T22" fmla="*/ 110 w 185"/>
                  <a:gd name="T23" fmla="*/ 133 h 163"/>
                  <a:gd name="T24" fmla="*/ 133 w 185"/>
                  <a:gd name="T25" fmla="*/ 131 h 163"/>
                  <a:gd name="T26" fmla="*/ 137 w 185"/>
                  <a:gd name="T27" fmla="*/ 125 h 163"/>
                  <a:gd name="T28" fmla="*/ 142 w 185"/>
                  <a:gd name="T29" fmla="*/ 138 h 163"/>
                  <a:gd name="T30" fmla="*/ 140 w 185"/>
                  <a:gd name="T31" fmla="*/ 154 h 163"/>
                  <a:gd name="T32" fmla="*/ 144 w 185"/>
                  <a:gd name="T33" fmla="*/ 163 h 163"/>
                  <a:gd name="T34" fmla="*/ 148 w 185"/>
                  <a:gd name="T35" fmla="*/ 156 h 163"/>
                  <a:gd name="T36" fmla="*/ 160 w 185"/>
                  <a:gd name="T37" fmla="*/ 146 h 163"/>
                  <a:gd name="T38" fmla="*/ 171 w 185"/>
                  <a:gd name="T39" fmla="*/ 144 h 163"/>
                  <a:gd name="T40" fmla="*/ 169 w 185"/>
                  <a:gd name="T41" fmla="*/ 138 h 163"/>
                  <a:gd name="T42" fmla="*/ 171 w 185"/>
                  <a:gd name="T43" fmla="*/ 133 h 163"/>
                  <a:gd name="T44" fmla="*/ 185 w 185"/>
                  <a:gd name="T45" fmla="*/ 125 h 163"/>
                  <a:gd name="T46" fmla="*/ 183 w 185"/>
                  <a:gd name="T47" fmla="*/ 115 h 163"/>
                  <a:gd name="T48" fmla="*/ 179 w 185"/>
                  <a:gd name="T49" fmla="*/ 104 h 163"/>
                  <a:gd name="T50" fmla="*/ 185 w 185"/>
                  <a:gd name="T51" fmla="*/ 96 h 163"/>
                  <a:gd name="T52" fmla="*/ 169 w 185"/>
                  <a:gd name="T53" fmla="*/ 86 h 163"/>
                  <a:gd name="T54" fmla="*/ 162 w 185"/>
                  <a:gd name="T55" fmla="*/ 75 h 163"/>
                  <a:gd name="T56" fmla="*/ 154 w 185"/>
                  <a:gd name="T57" fmla="*/ 73 h 163"/>
                  <a:gd name="T58" fmla="*/ 148 w 185"/>
                  <a:gd name="T59" fmla="*/ 71 h 163"/>
                  <a:gd name="T60" fmla="*/ 140 w 185"/>
                  <a:gd name="T61" fmla="*/ 71 h 163"/>
                  <a:gd name="T62" fmla="*/ 138 w 185"/>
                  <a:gd name="T63" fmla="*/ 67 h 163"/>
                  <a:gd name="T64" fmla="*/ 154 w 185"/>
                  <a:gd name="T65" fmla="*/ 58 h 163"/>
                  <a:gd name="T66" fmla="*/ 146 w 185"/>
                  <a:gd name="T67" fmla="*/ 56 h 163"/>
                  <a:gd name="T68" fmla="*/ 144 w 185"/>
                  <a:gd name="T69" fmla="*/ 44 h 163"/>
                  <a:gd name="T70" fmla="*/ 138 w 185"/>
                  <a:gd name="T71" fmla="*/ 38 h 163"/>
                  <a:gd name="T72" fmla="*/ 144 w 185"/>
                  <a:gd name="T73" fmla="*/ 25 h 163"/>
                  <a:gd name="T74" fmla="*/ 140 w 185"/>
                  <a:gd name="T75" fmla="*/ 12 h 163"/>
                  <a:gd name="T76" fmla="*/ 131 w 185"/>
                  <a:gd name="T77" fmla="*/ 10 h 163"/>
                  <a:gd name="T78" fmla="*/ 117 w 185"/>
                  <a:gd name="T79" fmla="*/ 8 h 163"/>
                  <a:gd name="T80" fmla="*/ 115 w 185"/>
                  <a:gd name="T81" fmla="*/ 8 h 163"/>
                  <a:gd name="T82" fmla="*/ 110 w 185"/>
                  <a:gd name="T83" fmla="*/ 13 h 163"/>
                  <a:gd name="T84" fmla="*/ 104 w 185"/>
                  <a:gd name="T85" fmla="*/ 12 h 163"/>
                  <a:gd name="T86" fmla="*/ 92 w 185"/>
                  <a:gd name="T87" fmla="*/ 12 h 163"/>
                  <a:gd name="T88" fmla="*/ 85 w 185"/>
                  <a:gd name="T89" fmla="*/ 13 h 163"/>
                  <a:gd name="T90" fmla="*/ 79 w 185"/>
                  <a:gd name="T91" fmla="*/ 4 h 163"/>
                  <a:gd name="T92" fmla="*/ 60 w 185"/>
                  <a:gd name="T93" fmla="*/ 4 h 163"/>
                  <a:gd name="T94" fmla="*/ 50 w 185"/>
                  <a:gd name="T95" fmla="*/ 0 h 163"/>
                  <a:gd name="T96" fmla="*/ 35 w 185"/>
                  <a:gd name="T97" fmla="*/ 2 h 163"/>
                  <a:gd name="T98" fmla="*/ 29 w 185"/>
                  <a:gd name="T99" fmla="*/ 4 h 163"/>
                  <a:gd name="T100" fmla="*/ 27 w 185"/>
                  <a:gd name="T101" fmla="*/ 13 h 163"/>
                  <a:gd name="T102" fmla="*/ 21 w 185"/>
                  <a:gd name="T103" fmla="*/ 19 h 163"/>
                  <a:gd name="T104" fmla="*/ 27 w 185"/>
                  <a:gd name="T105" fmla="*/ 27 h 163"/>
                  <a:gd name="T106" fmla="*/ 18 w 185"/>
                  <a:gd name="T107" fmla="*/ 40 h 163"/>
                  <a:gd name="T108" fmla="*/ 2 w 185"/>
                  <a:gd name="T109" fmla="*/ 42 h 163"/>
                  <a:gd name="T110" fmla="*/ 0 w 185"/>
                  <a:gd name="T111" fmla="*/ 50 h 163"/>
                  <a:gd name="T112" fmla="*/ 8 w 185"/>
                  <a:gd name="T113" fmla="*/ 75 h 163"/>
                  <a:gd name="T114" fmla="*/ 23 w 185"/>
                  <a:gd name="T115" fmla="*/ 85 h 163"/>
                  <a:gd name="T116" fmla="*/ 19 w 185"/>
                  <a:gd name="T117" fmla="*/ 96 h 163"/>
                  <a:gd name="T118" fmla="*/ 23 w 185"/>
                  <a:gd name="T119" fmla="*/ 110 h 163"/>
                  <a:gd name="T120" fmla="*/ 37 w 185"/>
                  <a:gd name="T121" fmla="*/ 117 h 163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85"/>
                  <a:gd name="T184" fmla="*/ 0 h 163"/>
                  <a:gd name="T185" fmla="*/ 185 w 185"/>
                  <a:gd name="T186" fmla="*/ 163 h 163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85" h="163">
                    <a:moveTo>
                      <a:pt x="37" y="117"/>
                    </a:moveTo>
                    <a:lnTo>
                      <a:pt x="37" y="115"/>
                    </a:lnTo>
                    <a:lnTo>
                      <a:pt x="39" y="113"/>
                    </a:lnTo>
                    <a:lnTo>
                      <a:pt x="44" y="111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56" y="98"/>
                    </a:lnTo>
                    <a:lnTo>
                      <a:pt x="60" y="83"/>
                    </a:lnTo>
                    <a:lnTo>
                      <a:pt x="64" y="77"/>
                    </a:lnTo>
                    <a:lnTo>
                      <a:pt x="69" y="77"/>
                    </a:lnTo>
                    <a:lnTo>
                      <a:pt x="77" y="81"/>
                    </a:lnTo>
                    <a:lnTo>
                      <a:pt x="85" y="83"/>
                    </a:lnTo>
                    <a:lnTo>
                      <a:pt x="89" y="81"/>
                    </a:lnTo>
                    <a:lnTo>
                      <a:pt x="92" y="81"/>
                    </a:lnTo>
                    <a:lnTo>
                      <a:pt x="96" y="83"/>
                    </a:lnTo>
                    <a:lnTo>
                      <a:pt x="98" y="86"/>
                    </a:lnTo>
                    <a:lnTo>
                      <a:pt x="100" y="94"/>
                    </a:lnTo>
                    <a:lnTo>
                      <a:pt x="102" y="98"/>
                    </a:lnTo>
                    <a:lnTo>
                      <a:pt x="104" y="100"/>
                    </a:lnTo>
                    <a:lnTo>
                      <a:pt x="108" y="106"/>
                    </a:lnTo>
                    <a:lnTo>
                      <a:pt x="114" y="117"/>
                    </a:lnTo>
                    <a:lnTo>
                      <a:pt x="114" y="123"/>
                    </a:lnTo>
                    <a:lnTo>
                      <a:pt x="110" y="131"/>
                    </a:lnTo>
                    <a:lnTo>
                      <a:pt x="110" y="133"/>
                    </a:lnTo>
                    <a:lnTo>
                      <a:pt x="119" y="131"/>
                    </a:lnTo>
                    <a:lnTo>
                      <a:pt x="133" y="131"/>
                    </a:lnTo>
                    <a:lnTo>
                      <a:pt x="137" y="123"/>
                    </a:lnTo>
                    <a:lnTo>
                      <a:pt x="137" y="125"/>
                    </a:lnTo>
                    <a:lnTo>
                      <a:pt x="140" y="131"/>
                    </a:lnTo>
                    <a:lnTo>
                      <a:pt x="142" y="138"/>
                    </a:lnTo>
                    <a:lnTo>
                      <a:pt x="142" y="148"/>
                    </a:lnTo>
                    <a:lnTo>
                      <a:pt x="140" y="154"/>
                    </a:lnTo>
                    <a:lnTo>
                      <a:pt x="138" y="158"/>
                    </a:lnTo>
                    <a:lnTo>
                      <a:pt x="144" y="163"/>
                    </a:lnTo>
                    <a:lnTo>
                      <a:pt x="144" y="161"/>
                    </a:lnTo>
                    <a:lnTo>
                      <a:pt x="148" y="156"/>
                    </a:lnTo>
                    <a:lnTo>
                      <a:pt x="154" y="148"/>
                    </a:lnTo>
                    <a:lnTo>
                      <a:pt x="160" y="146"/>
                    </a:lnTo>
                    <a:lnTo>
                      <a:pt x="163" y="150"/>
                    </a:lnTo>
                    <a:lnTo>
                      <a:pt x="171" y="144"/>
                    </a:lnTo>
                    <a:lnTo>
                      <a:pt x="171" y="142"/>
                    </a:lnTo>
                    <a:lnTo>
                      <a:pt x="169" y="138"/>
                    </a:lnTo>
                    <a:lnTo>
                      <a:pt x="167" y="136"/>
                    </a:lnTo>
                    <a:lnTo>
                      <a:pt x="171" y="133"/>
                    </a:lnTo>
                    <a:lnTo>
                      <a:pt x="179" y="131"/>
                    </a:lnTo>
                    <a:lnTo>
                      <a:pt x="185" y="125"/>
                    </a:lnTo>
                    <a:lnTo>
                      <a:pt x="185" y="119"/>
                    </a:lnTo>
                    <a:lnTo>
                      <a:pt x="183" y="115"/>
                    </a:lnTo>
                    <a:lnTo>
                      <a:pt x="179" y="110"/>
                    </a:lnTo>
                    <a:lnTo>
                      <a:pt x="179" y="104"/>
                    </a:lnTo>
                    <a:lnTo>
                      <a:pt x="183" y="98"/>
                    </a:lnTo>
                    <a:lnTo>
                      <a:pt x="185" y="96"/>
                    </a:lnTo>
                    <a:lnTo>
                      <a:pt x="173" y="90"/>
                    </a:lnTo>
                    <a:lnTo>
                      <a:pt x="169" y="86"/>
                    </a:lnTo>
                    <a:lnTo>
                      <a:pt x="165" y="79"/>
                    </a:lnTo>
                    <a:lnTo>
                      <a:pt x="162" y="75"/>
                    </a:lnTo>
                    <a:lnTo>
                      <a:pt x="158" y="75"/>
                    </a:lnTo>
                    <a:lnTo>
                      <a:pt x="154" y="73"/>
                    </a:lnTo>
                    <a:lnTo>
                      <a:pt x="150" y="69"/>
                    </a:lnTo>
                    <a:lnTo>
                      <a:pt x="148" y="71"/>
                    </a:lnTo>
                    <a:lnTo>
                      <a:pt x="144" y="73"/>
                    </a:lnTo>
                    <a:lnTo>
                      <a:pt x="140" y="71"/>
                    </a:lnTo>
                    <a:lnTo>
                      <a:pt x="138" y="69"/>
                    </a:lnTo>
                    <a:lnTo>
                      <a:pt x="138" y="67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0" y="58"/>
                    </a:lnTo>
                    <a:lnTo>
                      <a:pt x="146" y="56"/>
                    </a:lnTo>
                    <a:lnTo>
                      <a:pt x="146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8" y="38"/>
                    </a:lnTo>
                    <a:lnTo>
                      <a:pt x="142" y="33"/>
                    </a:lnTo>
                    <a:lnTo>
                      <a:pt x="144" y="25"/>
                    </a:lnTo>
                    <a:lnTo>
                      <a:pt x="140" y="13"/>
                    </a:lnTo>
                    <a:lnTo>
                      <a:pt x="140" y="12"/>
                    </a:lnTo>
                    <a:lnTo>
                      <a:pt x="137" y="8"/>
                    </a:lnTo>
                    <a:lnTo>
                      <a:pt x="131" y="10"/>
                    </a:lnTo>
                    <a:lnTo>
                      <a:pt x="123" y="10"/>
                    </a:lnTo>
                    <a:lnTo>
                      <a:pt x="117" y="8"/>
                    </a:lnTo>
                    <a:lnTo>
                      <a:pt x="117" y="6"/>
                    </a:lnTo>
                    <a:lnTo>
                      <a:pt x="115" y="8"/>
                    </a:lnTo>
                    <a:lnTo>
                      <a:pt x="114" y="12"/>
                    </a:lnTo>
                    <a:lnTo>
                      <a:pt x="110" y="13"/>
                    </a:lnTo>
                    <a:lnTo>
                      <a:pt x="108" y="13"/>
                    </a:lnTo>
                    <a:lnTo>
                      <a:pt x="104" y="12"/>
                    </a:lnTo>
                    <a:lnTo>
                      <a:pt x="100" y="8"/>
                    </a:lnTo>
                    <a:lnTo>
                      <a:pt x="92" y="12"/>
                    </a:lnTo>
                    <a:lnTo>
                      <a:pt x="91" y="13"/>
                    </a:lnTo>
                    <a:lnTo>
                      <a:pt x="85" y="13"/>
                    </a:lnTo>
                    <a:lnTo>
                      <a:pt x="85" y="2"/>
                    </a:lnTo>
                    <a:lnTo>
                      <a:pt x="79" y="4"/>
                    </a:lnTo>
                    <a:lnTo>
                      <a:pt x="69" y="6"/>
                    </a:lnTo>
                    <a:lnTo>
                      <a:pt x="60" y="4"/>
                    </a:lnTo>
                    <a:lnTo>
                      <a:pt x="56" y="2"/>
                    </a:lnTo>
                    <a:lnTo>
                      <a:pt x="50" y="0"/>
                    </a:lnTo>
                    <a:lnTo>
                      <a:pt x="44" y="2"/>
                    </a:lnTo>
                    <a:lnTo>
                      <a:pt x="35" y="2"/>
                    </a:lnTo>
                    <a:lnTo>
                      <a:pt x="27" y="0"/>
                    </a:lnTo>
                    <a:lnTo>
                      <a:pt x="29" y="4"/>
                    </a:lnTo>
                    <a:lnTo>
                      <a:pt x="29" y="12"/>
                    </a:lnTo>
                    <a:lnTo>
                      <a:pt x="27" y="13"/>
                    </a:lnTo>
                    <a:lnTo>
                      <a:pt x="23" y="15"/>
                    </a:lnTo>
                    <a:lnTo>
                      <a:pt x="21" y="19"/>
                    </a:lnTo>
                    <a:lnTo>
                      <a:pt x="23" y="23"/>
                    </a:lnTo>
                    <a:lnTo>
                      <a:pt x="27" y="27"/>
                    </a:lnTo>
                    <a:lnTo>
                      <a:pt x="25" y="33"/>
                    </a:lnTo>
                    <a:lnTo>
                      <a:pt x="18" y="40"/>
                    </a:lnTo>
                    <a:lnTo>
                      <a:pt x="12" y="42"/>
                    </a:lnTo>
                    <a:lnTo>
                      <a:pt x="2" y="42"/>
                    </a:lnTo>
                    <a:lnTo>
                      <a:pt x="2" y="48"/>
                    </a:lnTo>
                    <a:lnTo>
                      <a:pt x="0" y="50"/>
                    </a:lnTo>
                    <a:lnTo>
                      <a:pt x="4" y="61"/>
                    </a:lnTo>
                    <a:lnTo>
                      <a:pt x="8" y="75"/>
                    </a:lnTo>
                    <a:lnTo>
                      <a:pt x="12" y="85"/>
                    </a:lnTo>
                    <a:lnTo>
                      <a:pt x="23" y="85"/>
                    </a:lnTo>
                    <a:lnTo>
                      <a:pt x="21" y="88"/>
                    </a:lnTo>
                    <a:lnTo>
                      <a:pt x="19" y="96"/>
                    </a:lnTo>
                    <a:lnTo>
                      <a:pt x="19" y="104"/>
                    </a:lnTo>
                    <a:lnTo>
                      <a:pt x="23" y="110"/>
                    </a:lnTo>
                    <a:lnTo>
                      <a:pt x="35" y="115"/>
                    </a:lnTo>
                    <a:lnTo>
                      <a:pt x="37" y="11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3" name="Freeform 191"/>
              <p:cNvSpPr>
                <a:spLocks/>
              </p:cNvSpPr>
              <p:nvPr/>
            </p:nvSpPr>
            <p:spPr bwMode="gray">
              <a:xfrm>
                <a:off x="1878" y="2498"/>
                <a:ext cx="50" cy="65"/>
              </a:xfrm>
              <a:custGeom>
                <a:avLst/>
                <a:gdLst>
                  <a:gd name="T0" fmla="*/ 91 w 100"/>
                  <a:gd name="T1" fmla="*/ 77 h 131"/>
                  <a:gd name="T2" fmla="*/ 100 w 100"/>
                  <a:gd name="T3" fmla="*/ 77 h 131"/>
                  <a:gd name="T4" fmla="*/ 100 w 100"/>
                  <a:gd name="T5" fmla="*/ 79 h 131"/>
                  <a:gd name="T6" fmla="*/ 98 w 100"/>
                  <a:gd name="T7" fmla="*/ 81 h 131"/>
                  <a:gd name="T8" fmla="*/ 93 w 100"/>
                  <a:gd name="T9" fmla="*/ 81 h 131"/>
                  <a:gd name="T10" fmla="*/ 87 w 100"/>
                  <a:gd name="T11" fmla="*/ 83 h 131"/>
                  <a:gd name="T12" fmla="*/ 85 w 100"/>
                  <a:gd name="T13" fmla="*/ 86 h 131"/>
                  <a:gd name="T14" fmla="*/ 85 w 100"/>
                  <a:gd name="T15" fmla="*/ 92 h 131"/>
                  <a:gd name="T16" fmla="*/ 83 w 100"/>
                  <a:gd name="T17" fmla="*/ 100 h 131"/>
                  <a:gd name="T18" fmla="*/ 81 w 100"/>
                  <a:gd name="T19" fmla="*/ 106 h 131"/>
                  <a:gd name="T20" fmla="*/ 79 w 100"/>
                  <a:gd name="T21" fmla="*/ 108 h 131"/>
                  <a:gd name="T22" fmla="*/ 75 w 100"/>
                  <a:gd name="T23" fmla="*/ 109 h 131"/>
                  <a:gd name="T24" fmla="*/ 69 w 100"/>
                  <a:gd name="T25" fmla="*/ 115 h 131"/>
                  <a:gd name="T26" fmla="*/ 66 w 100"/>
                  <a:gd name="T27" fmla="*/ 121 h 131"/>
                  <a:gd name="T28" fmla="*/ 64 w 100"/>
                  <a:gd name="T29" fmla="*/ 125 h 131"/>
                  <a:gd name="T30" fmla="*/ 58 w 100"/>
                  <a:gd name="T31" fmla="*/ 127 h 131"/>
                  <a:gd name="T32" fmla="*/ 54 w 100"/>
                  <a:gd name="T33" fmla="*/ 129 h 131"/>
                  <a:gd name="T34" fmla="*/ 48 w 100"/>
                  <a:gd name="T35" fmla="*/ 129 h 131"/>
                  <a:gd name="T36" fmla="*/ 46 w 100"/>
                  <a:gd name="T37" fmla="*/ 131 h 131"/>
                  <a:gd name="T38" fmla="*/ 43 w 100"/>
                  <a:gd name="T39" fmla="*/ 131 h 131"/>
                  <a:gd name="T40" fmla="*/ 29 w 100"/>
                  <a:gd name="T41" fmla="*/ 121 h 131"/>
                  <a:gd name="T42" fmla="*/ 12 w 100"/>
                  <a:gd name="T43" fmla="*/ 104 h 131"/>
                  <a:gd name="T44" fmla="*/ 0 w 100"/>
                  <a:gd name="T45" fmla="*/ 88 h 131"/>
                  <a:gd name="T46" fmla="*/ 2 w 100"/>
                  <a:gd name="T47" fmla="*/ 86 h 131"/>
                  <a:gd name="T48" fmla="*/ 4 w 100"/>
                  <a:gd name="T49" fmla="*/ 81 h 131"/>
                  <a:gd name="T50" fmla="*/ 4 w 100"/>
                  <a:gd name="T51" fmla="*/ 77 h 131"/>
                  <a:gd name="T52" fmla="*/ 6 w 100"/>
                  <a:gd name="T53" fmla="*/ 69 h 131"/>
                  <a:gd name="T54" fmla="*/ 16 w 100"/>
                  <a:gd name="T55" fmla="*/ 58 h 131"/>
                  <a:gd name="T56" fmla="*/ 20 w 100"/>
                  <a:gd name="T57" fmla="*/ 54 h 131"/>
                  <a:gd name="T58" fmla="*/ 46 w 100"/>
                  <a:gd name="T59" fmla="*/ 54 h 131"/>
                  <a:gd name="T60" fmla="*/ 46 w 100"/>
                  <a:gd name="T61" fmla="*/ 44 h 131"/>
                  <a:gd name="T62" fmla="*/ 35 w 100"/>
                  <a:gd name="T63" fmla="*/ 33 h 131"/>
                  <a:gd name="T64" fmla="*/ 33 w 100"/>
                  <a:gd name="T65" fmla="*/ 27 h 131"/>
                  <a:gd name="T66" fmla="*/ 29 w 100"/>
                  <a:gd name="T67" fmla="*/ 23 h 131"/>
                  <a:gd name="T68" fmla="*/ 29 w 100"/>
                  <a:gd name="T69" fmla="*/ 13 h 131"/>
                  <a:gd name="T70" fmla="*/ 37 w 100"/>
                  <a:gd name="T71" fmla="*/ 13 h 131"/>
                  <a:gd name="T72" fmla="*/ 39 w 100"/>
                  <a:gd name="T73" fmla="*/ 0 h 131"/>
                  <a:gd name="T74" fmla="*/ 83 w 100"/>
                  <a:gd name="T75" fmla="*/ 0 h 131"/>
                  <a:gd name="T76" fmla="*/ 83 w 100"/>
                  <a:gd name="T77" fmla="*/ 67 h 131"/>
                  <a:gd name="T78" fmla="*/ 94 w 100"/>
                  <a:gd name="T79" fmla="*/ 67 h 131"/>
                  <a:gd name="T80" fmla="*/ 91 w 100"/>
                  <a:gd name="T81" fmla="*/ 77 h 13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00"/>
                  <a:gd name="T124" fmla="*/ 0 h 131"/>
                  <a:gd name="T125" fmla="*/ 100 w 100"/>
                  <a:gd name="T126" fmla="*/ 131 h 131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00" h="131">
                    <a:moveTo>
                      <a:pt x="91" y="77"/>
                    </a:moveTo>
                    <a:lnTo>
                      <a:pt x="100" y="77"/>
                    </a:lnTo>
                    <a:lnTo>
                      <a:pt x="100" y="79"/>
                    </a:lnTo>
                    <a:lnTo>
                      <a:pt x="98" y="81"/>
                    </a:lnTo>
                    <a:lnTo>
                      <a:pt x="93" y="81"/>
                    </a:lnTo>
                    <a:lnTo>
                      <a:pt x="87" y="83"/>
                    </a:lnTo>
                    <a:lnTo>
                      <a:pt x="85" y="86"/>
                    </a:lnTo>
                    <a:lnTo>
                      <a:pt x="85" y="92"/>
                    </a:lnTo>
                    <a:lnTo>
                      <a:pt x="83" y="100"/>
                    </a:lnTo>
                    <a:lnTo>
                      <a:pt x="81" y="106"/>
                    </a:lnTo>
                    <a:lnTo>
                      <a:pt x="79" y="108"/>
                    </a:lnTo>
                    <a:lnTo>
                      <a:pt x="75" y="109"/>
                    </a:lnTo>
                    <a:lnTo>
                      <a:pt x="69" y="115"/>
                    </a:lnTo>
                    <a:lnTo>
                      <a:pt x="66" y="121"/>
                    </a:lnTo>
                    <a:lnTo>
                      <a:pt x="64" y="125"/>
                    </a:lnTo>
                    <a:lnTo>
                      <a:pt x="58" y="127"/>
                    </a:lnTo>
                    <a:lnTo>
                      <a:pt x="54" y="129"/>
                    </a:lnTo>
                    <a:lnTo>
                      <a:pt x="48" y="129"/>
                    </a:lnTo>
                    <a:lnTo>
                      <a:pt x="46" y="131"/>
                    </a:lnTo>
                    <a:lnTo>
                      <a:pt x="43" y="131"/>
                    </a:lnTo>
                    <a:lnTo>
                      <a:pt x="29" y="121"/>
                    </a:lnTo>
                    <a:lnTo>
                      <a:pt x="12" y="104"/>
                    </a:lnTo>
                    <a:lnTo>
                      <a:pt x="0" y="88"/>
                    </a:lnTo>
                    <a:lnTo>
                      <a:pt x="2" y="86"/>
                    </a:lnTo>
                    <a:lnTo>
                      <a:pt x="4" y="81"/>
                    </a:lnTo>
                    <a:lnTo>
                      <a:pt x="4" y="77"/>
                    </a:lnTo>
                    <a:lnTo>
                      <a:pt x="6" y="69"/>
                    </a:lnTo>
                    <a:lnTo>
                      <a:pt x="16" y="58"/>
                    </a:lnTo>
                    <a:lnTo>
                      <a:pt x="20" y="54"/>
                    </a:lnTo>
                    <a:lnTo>
                      <a:pt x="46" y="54"/>
                    </a:lnTo>
                    <a:lnTo>
                      <a:pt x="46" y="44"/>
                    </a:lnTo>
                    <a:lnTo>
                      <a:pt x="35" y="33"/>
                    </a:lnTo>
                    <a:lnTo>
                      <a:pt x="33" y="27"/>
                    </a:lnTo>
                    <a:lnTo>
                      <a:pt x="29" y="23"/>
                    </a:lnTo>
                    <a:lnTo>
                      <a:pt x="29" y="13"/>
                    </a:lnTo>
                    <a:lnTo>
                      <a:pt x="37" y="13"/>
                    </a:lnTo>
                    <a:lnTo>
                      <a:pt x="39" y="0"/>
                    </a:lnTo>
                    <a:lnTo>
                      <a:pt x="83" y="0"/>
                    </a:lnTo>
                    <a:lnTo>
                      <a:pt x="83" y="67"/>
                    </a:lnTo>
                    <a:lnTo>
                      <a:pt x="94" y="67"/>
                    </a:lnTo>
                    <a:lnTo>
                      <a:pt x="91" y="7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4" name="Freeform 192"/>
              <p:cNvSpPr>
                <a:spLocks/>
              </p:cNvSpPr>
              <p:nvPr/>
            </p:nvSpPr>
            <p:spPr bwMode="gray">
              <a:xfrm>
                <a:off x="2564" y="1619"/>
                <a:ext cx="7" cy="6"/>
              </a:xfrm>
              <a:custGeom>
                <a:avLst/>
                <a:gdLst>
                  <a:gd name="T0" fmla="*/ 4 w 13"/>
                  <a:gd name="T1" fmla="*/ 0 h 13"/>
                  <a:gd name="T2" fmla="*/ 13 w 13"/>
                  <a:gd name="T3" fmla="*/ 0 h 13"/>
                  <a:gd name="T4" fmla="*/ 9 w 13"/>
                  <a:gd name="T5" fmla="*/ 7 h 13"/>
                  <a:gd name="T6" fmla="*/ 4 w 13"/>
                  <a:gd name="T7" fmla="*/ 13 h 13"/>
                  <a:gd name="T8" fmla="*/ 0 w 13"/>
                  <a:gd name="T9" fmla="*/ 9 h 13"/>
                  <a:gd name="T10" fmla="*/ 0 w 13"/>
                  <a:gd name="T11" fmla="*/ 5 h 13"/>
                  <a:gd name="T12" fmla="*/ 4 w 13"/>
                  <a:gd name="T13" fmla="*/ 0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13"/>
                  <a:gd name="T23" fmla="*/ 13 w 13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13">
                    <a:moveTo>
                      <a:pt x="4" y="0"/>
                    </a:moveTo>
                    <a:lnTo>
                      <a:pt x="13" y="0"/>
                    </a:lnTo>
                    <a:lnTo>
                      <a:pt x="9" y="7"/>
                    </a:lnTo>
                    <a:lnTo>
                      <a:pt x="4" y="13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5" name="Freeform 193"/>
              <p:cNvSpPr>
                <a:spLocks/>
              </p:cNvSpPr>
              <p:nvPr/>
            </p:nvSpPr>
            <p:spPr bwMode="gray">
              <a:xfrm>
                <a:off x="2133" y="1182"/>
                <a:ext cx="748" cy="572"/>
              </a:xfrm>
              <a:custGeom>
                <a:avLst/>
                <a:gdLst>
                  <a:gd name="T0" fmla="*/ 403 w 1497"/>
                  <a:gd name="T1" fmla="*/ 96 h 1145"/>
                  <a:gd name="T2" fmla="*/ 253 w 1497"/>
                  <a:gd name="T3" fmla="*/ 150 h 1145"/>
                  <a:gd name="T4" fmla="*/ 136 w 1497"/>
                  <a:gd name="T5" fmla="*/ 208 h 1145"/>
                  <a:gd name="T6" fmla="*/ 173 w 1497"/>
                  <a:gd name="T7" fmla="*/ 263 h 1145"/>
                  <a:gd name="T8" fmla="*/ 4 w 1497"/>
                  <a:gd name="T9" fmla="*/ 308 h 1145"/>
                  <a:gd name="T10" fmla="*/ 94 w 1497"/>
                  <a:gd name="T11" fmla="*/ 348 h 1145"/>
                  <a:gd name="T12" fmla="*/ 44 w 1497"/>
                  <a:gd name="T13" fmla="*/ 383 h 1145"/>
                  <a:gd name="T14" fmla="*/ 171 w 1497"/>
                  <a:gd name="T15" fmla="*/ 404 h 1145"/>
                  <a:gd name="T16" fmla="*/ 311 w 1497"/>
                  <a:gd name="T17" fmla="*/ 427 h 1145"/>
                  <a:gd name="T18" fmla="*/ 393 w 1497"/>
                  <a:gd name="T19" fmla="*/ 488 h 1145"/>
                  <a:gd name="T20" fmla="*/ 434 w 1497"/>
                  <a:gd name="T21" fmla="*/ 557 h 1145"/>
                  <a:gd name="T22" fmla="*/ 443 w 1497"/>
                  <a:gd name="T23" fmla="*/ 615 h 1145"/>
                  <a:gd name="T24" fmla="*/ 528 w 1497"/>
                  <a:gd name="T25" fmla="*/ 646 h 1145"/>
                  <a:gd name="T26" fmla="*/ 503 w 1497"/>
                  <a:gd name="T27" fmla="*/ 675 h 1145"/>
                  <a:gd name="T28" fmla="*/ 430 w 1497"/>
                  <a:gd name="T29" fmla="*/ 688 h 1145"/>
                  <a:gd name="T30" fmla="*/ 461 w 1497"/>
                  <a:gd name="T31" fmla="*/ 684 h 1145"/>
                  <a:gd name="T32" fmla="*/ 543 w 1497"/>
                  <a:gd name="T33" fmla="*/ 744 h 1145"/>
                  <a:gd name="T34" fmla="*/ 482 w 1497"/>
                  <a:gd name="T35" fmla="*/ 796 h 1145"/>
                  <a:gd name="T36" fmla="*/ 468 w 1497"/>
                  <a:gd name="T37" fmla="*/ 821 h 1145"/>
                  <a:gd name="T38" fmla="*/ 464 w 1497"/>
                  <a:gd name="T39" fmla="*/ 890 h 1145"/>
                  <a:gd name="T40" fmla="*/ 499 w 1497"/>
                  <a:gd name="T41" fmla="*/ 940 h 1145"/>
                  <a:gd name="T42" fmla="*/ 522 w 1497"/>
                  <a:gd name="T43" fmla="*/ 978 h 1145"/>
                  <a:gd name="T44" fmla="*/ 557 w 1497"/>
                  <a:gd name="T45" fmla="*/ 1036 h 1145"/>
                  <a:gd name="T46" fmla="*/ 601 w 1497"/>
                  <a:gd name="T47" fmla="*/ 1082 h 1145"/>
                  <a:gd name="T48" fmla="*/ 691 w 1497"/>
                  <a:gd name="T49" fmla="*/ 1113 h 1145"/>
                  <a:gd name="T50" fmla="*/ 737 w 1497"/>
                  <a:gd name="T51" fmla="*/ 1128 h 1145"/>
                  <a:gd name="T52" fmla="*/ 737 w 1497"/>
                  <a:gd name="T53" fmla="*/ 1084 h 1145"/>
                  <a:gd name="T54" fmla="*/ 758 w 1497"/>
                  <a:gd name="T55" fmla="*/ 1017 h 1145"/>
                  <a:gd name="T56" fmla="*/ 791 w 1497"/>
                  <a:gd name="T57" fmla="*/ 949 h 1145"/>
                  <a:gd name="T58" fmla="*/ 871 w 1497"/>
                  <a:gd name="T59" fmla="*/ 907 h 1145"/>
                  <a:gd name="T60" fmla="*/ 977 w 1497"/>
                  <a:gd name="T61" fmla="*/ 825 h 1145"/>
                  <a:gd name="T62" fmla="*/ 1065 w 1497"/>
                  <a:gd name="T63" fmla="*/ 786 h 1145"/>
                  <a:gd name="T64" fmla="*/ 1167 w 1497"/>
                  <a:gd name="T65" fmla="*/ 748 h 1145"/>
                  <a:gd name="T66" fmla="*/ 1240 w 1497"/>
                  <a:gd name="T67" fmla="*/ 707 h 1145"/>
                  <a:gd name="T68" fmla="*/ 1152 w 1497"/>
                  <a:gd name="T69" fmla="*/ 688 h 1145"/>
                  <a:gd name="T70" fmla="*/ 1173 w 1497"/>
                  <a:gd name="T71" fmla="*/ 636 h 1145"/>
                  <a:gd name="T72" fmla="*/ 1182 w 1497"/>
                  <a:gd name="T73" fmla="*/ 632 h 1145"/>
                  <a:gd name="T74" fmla="*/ 1273 w 1497"/>
                  <a:gd name="T75" fmla="*/ 667 h 1145"/>
                  <a:gd name="T76" fmla="*/ 1246 w 1497"/>
                  <a:gd name="T77" fmla="*/ 615 h 1145"/>
                  <a:gd name="T78" fmla="*/ 1271 w 1497"/>
                  <a:gd name="T79" fmla="*/ 588 h 1145"/>
                  <a:gd name="T80" fmla="*/ 1213 w 1497"/>
                  <a:gd name="T81" fmla="*/ 546 h 1145"/>
                  <a:gd name="T82" fmla="*/ 1257 w 1497"/>
                  <a:gd name="T83" fmla="*/ 500 h 1145"/>
                  <a:gd name="T84" fmla="*/ 1330 w 1497"/>
                  <a:gd name="T85" fmla="*/ 500 h 1145"/>
                  <a:gd name="T86" fmla="*/ 1286 w 1497"/>
                  <a:gd name="T87" fmla="*/ 454 h 1145"/>
                  <a:gd name="T88" fmla="*/ 1290 w 1497"/>
                  <a:gd name="T89" fmla="*/ 404 h 1145"/>
                  <a:gd name="T90" fmla="*/ 1340 w 1497"/>
                  <a:gd name="T91" fmla="*/ 346 h 1145"/>
                  <a:gd name="T92" fmla="*/ 1288 w 1497"/>
                  <a:gd name="T93" fmla="*/ 317 h 1145"/>
                  <a:gd name="T94" fmla="*/ 1363 w 1497"/>
                  <a:gd name="T95" fmla="*/ 227 h 1145"/>
                  <a:gd name="T96" fmla="*/ 1411 w 1497"/>
                  <a:gd name="T97" fmla="*/ 185 h 1145"/>
                  <a:gd name="T98" fmla="*/ 1451 w 1497"/>
                  <a:gd name="T99" fmla="*/ 158 h 1145"/>
                  <a:gd name="T100" fmla="*/ 1305 w 1497"/>
                  <a:gd name="T101" fmla="*/ 123 h 1145"/>
                  <a:gd name="T102" fmla="*/ 1225 w 1497"/>
                  <a:gd name="T103" fmla="*/ 146 h 1145"/>
                  <a:gd name="T104" fmla="*/ 1154 w 1497"/>
                  <a:gd name="T105" fmla="*/ 119 h 1145"/>
                  <a:gd name="T106" fmla="*/ 1044 w 1497"/>
                  <a:gd name="T107" fmla="*/ 92 h 1145"/>
                  <a:gd name="T108" fmla="*/ 1288 w 1497"/>
                  <a:gd name="T109" fmla="*/ 79 h 1145"/>
                  <a:gd name="T110" fmla="*/ 1194 w 1497"/>
                  <a:gd name="T111" fmla="*/ 29 h 1145"/>
                  <a:gd name="T112" fmla="*/ 1088 w 1497"/>
                  <a:gd name="T113" fmla="*/ 6 h 1145"/>
                  <a:gd name="T114" fmla="*/ 866 w 1497"/>
                  <a:gd name="T115" fmla="*/ 10 h 1145"/>
                  <a:gd name="T116" fmla="*/ 802 w 1497"/>
                  <a:gd name="T117" fmla="*/ 48 h 1145"/>
                  <a:gd name="T118" fmla="*/ 702 w 1497"/>
                  <a:gd name="T119" fmla="*/ 42 h 1145"/>
                  <a:gd name="T120" fmla="*/ 641 w 1497"/>
                  <a:gd name="T121" fmla="*/ 77 h 1145"/>
                  <a:gd name="T122" fmla="*/ 647 w 1497"/>
                  <a:gd name="T123" fmla="*/ 144 h 114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497"/>
                  <a:gd name="T187" fmla="*/ 0 h 1145"/>
                  <a:gd name="T188" fmla="*/ 1497 w 1497"/>
                  <a:gd name="T189" fmla="*/ 1145 h 114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497" h="1145">
                    <a:moveTo>
                      <a:pt x="545" y="142"/>
                    </a:moveTo>
                    <a:lnTo>
                      <a:pt x="522" y="133"/>
                    </a:lnTo>
                    <a:lnTo>
                      <a:pt x="501" y="125"/>
                    </a:lnTo>
                    <a:lnTo>
                      <a:pt x="480" y="115"/>
                    </a:lnTo>
                    <a:lnTo>
                      <a:pt x="472" y="123"/>
                    </a:lnTo>
                    <a:lnTo>
                      <a:pt x="457" y="142"/>
                    </a:lnTo>
                    <a:lnTo>
                      <a:pt x="455" y="121"/>
                    </a:lnTo>
                    <a:lnTo>
                      <a:pt x="453" y="104"/>
                    </a:lnTo>
                    <a:lnTo>
                      <a:pt x="449" y="89"/>
                    </a:lnTo>
                    <a:lnTo>
                      <a:pt x="438" y="90"/>
                    </a:lnTo>
                    <a:lnTo>
                      <a:pt x="428" y="90"/>
                    </a:lnTo>
                    <a:lnTo>
                      <a:pt x="418" y="92"/>
                    </a:lnTo>
                    <a:lnTo>
                      <a:pt x="418" y="104"/>
                    </a:lnTo>
                    <a:lnTo>
                      <a:pt x="415" y="102"/>
                    </a:lnTo>
                    <a:lnTo>
                      <a:pt x="413" y="98"/>
                    </a:lnTo>
                    <a:lnTo>
                      <a:pt x="411" y="96"/>
                    </a:lnTo>
                    <a:lnTo>
                      <a:pt x="403" y="96"/>
                    </a:lnTo>
                    <a:lnTo>
                      <a:pt x="399" y="102"/>
                    </a:lnTo>
                    <a:lnTo>
                      <a:pt x="392" y="104"/>
                    </a:lnTo>
                    <a:lnTo>
                      <a:pt x="380" y="98"/>
                    </a:lnTo>
                    <a:lnTo>
                      <a:pt x="372" y="96"/>
                    </a:lnTo>
                    <a:lnTo>
                      <a:pt x="349" y="100"/>
                    </a:lnTo>
                    <a:lnTo>
                      <a:pt x="319" y="108"/>
                    </a:lnTo>
                    <a:lnTo>
                      <a:pt x="296" y="115"/>
                    </a:lnTo>
                    <a:lnTo>
                      <a:pt x="297" y="123"/>
                    </a:lnTo>
                    <a:lnTo>
                      <a:pt x="301" y="133"/>
                    </a:lnTo>
                    <a:lnTo>
                      <a:pt x="303" y="142"/>
                    </a:lnTo>
                    <a:lnTo>
                      <a:pt x="297" y="135"/>
                    </a:lnTo>
                    <a:lnTo>
                      <a:pt x="290" y="123"/>
                    </a:lnTo>
                    <a:lnTo>
                      <a:pt x="284" y="115"/>
                    </a:lnTo>
                    <a:lnTo>
                      <a:pt x="269" y="115"/>
                    </a:lnTo>
                    <a:lnTo>
                      <a:pt x="263" y="127"/>
                    </a:lnTo>
                    <a:lnTo>
                      <a:pt x="259" y="139"/>
                    </a:lnTo>
                    <a:lnTo>
                      <a:pt x="253" y="150"/>
                    </a:lnTo>
                    <a:lnTo>
                      <a:pt x="257" y="154"/>
                    </a:lnTo>
                    <a:lnTo>
                      <a:pt x="261" y="156"/>
                    </a:lnTo>
                    <a:lnTo>
                      <a:pt x="265" y="162"/>
                    </a:lnTo>
                    <a:lnTo>
                      <a:pt x="226" y="152"/>
                    </a:lnTo>
                    <a:lnTo>
                      <a:pt x="198" y="160"/>
                    </a:lnTo>
                    <a:lnTo>
                      <a:pt x="165" y="173"/>
                    </a:lnTo>
                    <a:lnTo>
                      <a:pt x="148" y="177"/>
                    </a:lnTo>
                    <a:lnTo>
                      <a:pt x="134" y="179"/>
                    </a:lnTo>
                    <a:lnTo>
                      <a:pt x="123" y="185"/>
                    </a:lnTo>
                    <a:lnTo>
                      <a:pt x="121" y="188"/>
                    </a:lnTo>
                    <a:lnTo>
                      <a:pt x="119" y="194"/>
                    </a:lnTo>
                    <a:lnTo>
                      <a:pt x="119" y="200"/>
                    </a:lnTo>
                    <a:lnTo>
                      <a:pt x="115" y="202"/>
                    </a:lnTo>
                    <a:lnTo>
                      <a:pt x="117" y="208"/>
                    </a:lnTo>
                    <a:lnTo>
                      <a:pt x="119" y="212"/>
                    </a:lnTo>
                    <a:lnTo>
                      <a:pt x="129" y="212"/>
                    </a:lnTo>
                    <a:lnTo>
                      <a:pt x="136" y="208"/>
                    </a:lnTo>
                    <a:lnTo>
                      <a:pt x="142" y="204"/>
                    </a:lnTo>
                    <a:lnTo>
                      <a:pt x="148" y="206"/>
                    </a:lnTo>
                    <a:lnTo>
                      <a:pt x="154" y="212"/>
                    </a:lnTo>
                    <a:lnTo>
                      <a:pt x="171" y="212"/>
                    </a:lnTo>
                    <a:lnTo>
                      <a:pt x="188" y="208"/>
                    </a:lnTo>
                    <a:lnTo>
                      <a:pt x="203" y="204"/>
                    </a:lnTo>
                    <a:lnTo>
                      <a:pt x="202" y="208"/>
                    </a:lnTo>
                    <a:lnTo>
                      <a:pt x="198" y="212"/>
                    </a:lnTo>
                    <a:lnTo>
                      <a:pt x="196" y="215"/>
                    </a:lnTo>
                    <a:lnTo>
                      <a:pt x="202" y="215"/>
                    </a:lnTo>
                    <a:lnTo>
                      <a:pt x="200" y="225"/>
                    </a:lnTo>
                    <a:lnTo>
                      <a:pt x="196" y="231"/>
                    </a:lnTo>
                    <a:lnTo>
                      <a:pt x="198" y="233"/>
                    </a:lnTo>
                    <a:lnTo>
                      <a:pt x="200" y="237"/>
                    </a:lnTo>
                    <a:lnTo>
                      <a:pt x="200" y="242"/>
                    </a:lnTo>
                    <a:lnTo>
                      <a:pt x="188" y="252"/>
                    </a:lnTo>
                    <a:lnTo>
                      <a:pt x="173" y="263"/>
                    </a:lnTo>
                    <a:lnTo>
                      <a:pt x="157" y="269"/>
                    </a:lnTo>
                    <a:lnTo>
                      <a:pt x="146" y="267"/>
                    </a:lnTo>
                    <a:lnTo>
                      <a:pt x="129" y="265"/>
                    </a:lnTo>
                    <a:lnTo>
                      <a:pt x="111" y="265"/>
                    </a:lnTo>
                    <a:lnTo>
                      <a:pt x="106" y="269"/>
                    </a:lnTo>
                    <a:lnTo>
                      <a:pt x="96" y="273"/>
                    </a:lnTo>
                    <a:lnTo>
                      <a:pt x="92" y="277"/>
                    </a:lnTo>
                    <a:lnTo>
                      <a:pt x="84" y="277"/>
                    </a:lnTo>
                    <a:lnTo>
                      <a:pt x="81" y="275"/>
                    </a:lnTo>
                    <a:lnTo>
                      <a:pt x="73" y="273"/>
                    </a:lnTo>
                    <a:lnTo>
                      <a:pt x="54" y="275"/>
                    </a:lnTo>
                    <a:lnTo>
                      <a:pt x="33" y="279"/>
                    </a:lnTo>
                    <a:lnTo>
                      <a:pt x="12" y="281"/>
                    </a:lnTo>
                    <a:lnTo>
                      <a:pt x="8" y="286"/>
                    </a:lnTo>
                    <a:lnTo>
                      <a:pt x="4" y="288"/>
                    </a:lnTo>
                    <a:lnTo>
                      <a:pt x="0" y="292"/>
                    </a:lnTo>
                    <a:lnTo>
                      <a:pt x="4" y="308"/>
                    </a:lnTo>
                    <a:lnTo>
                      <a:pt x="8" y="315"/>
                    </a:lnTo>
                    <a:lnTo>
                      <a:pt x="13" y="319"/>
                    </a:lnTo>
                    <a:lnTo>
                      <a:pt x="21" y="321"/>
                    </a:lnTo>
                    <a:lnTo>
                      <a:pt x="31" y="323"/>
                    </a:lnTo>
                    <a:lnTo>
                      <a:pt x="35" y="331"/>
                    </a:lnTo>
                    <a:lnTo>
                      <a:pt x="38" y="335"/>
                    </a:lnTo>
                    <a:lnTo>
                      <a:pt x="50" y="336"/>
                    </a:lnTo>
                    <a:lnTo>
                      <a:pt x="60" y="336"/>
                    </a:lnTo>
                    <a:lnTo>
                      <a:pt x="73" y="338"/>
                    </a:lnTo>
                    <a:lnTo>
                      <a:pt x="77" y="323"/>
                    </a:lnTo>
                    <a:lnTo>
                      <a:pt x="84" y="338"/>
                    </a:lnTo>
                    <a:lnTo>
                      <a:pt x="109" y="340"/>
                    </a:lnTo>
                    <a:lnTo>
                      <a:pt x="132" y="336"/>
                    </a:lnTo>
                    <a:lnTo>
                      <a:pt x="157" y="335"/>
                    </a:lnTo>
                    <a:lnTo>
                      <a:pt x="154" y="350"/>
                    </a:lnTo>
                    <a:lnTo>
                      <a:pt x="123" y="348"/>
                    </a:lnTo>
                    <a:lnTo>
                      <a:pt x="94" y="348"/>
                    </a:lnTo>
                    <a:lnTo>
                      <a:pt x="65" y="354"/>
                    </a:lnTo>
                    <a:lnTo>
                      <a:pt x="58" y="361"/>
                    </a:lnTo>
                    <a:lnTo>
                      <a:pt x="61" y="361"/>
                    </a:lnTo>
                    <a:lnTo>
                      <a:pt x="67" y="363"/>
                    </a:lnTo>
                    <a:lnTo>
                      <a:pt x="65" y="365"/>
                    </a:lnTo>
                    <a:lnTo>
                      <a:pt x="52" y="363"/>
                    </a:lnTo>
                    <a:lnTo>
                      <a:pt x="42" y="359"/>
                    </a:lnTo>
                    <a:lnTo>
                      <a:pt x="38" y="358"/>
                    </a:lnTo>
                    <a:lnTo>
                      <a:pt x="29" y="358"/>
                    </a:lnTo>
                    <a:lnTo>
                      <a:pt x="23" y="359"/>
                    </a:lnTo>
                    <a:lnTo>
                      <a:pt x="15" y="361"/>
                    </a:lnTo>
                    <a:lnTo>
                      <a:pt x="19" y="365"/>
                    </a:lnTo>
                    <a:lnTo>
                      <a:pt x="21" y="369"/>
                    </a:lnTo>
                    <a:lnTo>
                      <a:pt x="23" y="377"/>
                    </a:lnTo>
                    <a:lnTo>
                      <a:pt x="23" y="381"/>
                    </a:lnTo>
                    <a:lnTo>
                      <a:pt x="29" y="381"/>
                    </a:lnTo>
                    <a:lnTo>
                      <a:pt x="44" y="383"/>
                    </a:lnTo>
                    <a:lnTo>
                      <a:pt x="58" y="388"/>
                    </a:lnTo>
                    <a:lnTo>
                      <a:pt x="58" y="392"/>
                    </a:lnTo>
                    <a:lnTo>
                      <a:pt x="50" y="392"/>
                    </a:lnTo>
                    <a:lnTo>
                      <a:pt x="67" y="409"/>
                    </a:lnTo>
                    <a:lnTo>
                      <a:pt x="84" y="415"/>
                    </a:lnTo>
                    <a:lnTo>
                      <a:pt x="88" y="415"/>
                    </a:lnTo>
                    <a:lnTo>
                      <a:pt x="104" y="419"/>
                    </a:lnTo>
                    <a:lnTo>
                      <a:pt x="107" y="413"/>
                    </a:lnTo>
                    <a:lnTo>
                      <a:pt x="107" y="396"/>
                    </a:lnTo>
                    <a:lnTo>
                      <a:pt x="125" y="406"/>
                    </a:lnTo>
                    <a:lnTo>
                      <a:pt x="134" y="396"/>
                    </a:lnTo>
                    <a:lnTo>
                      <a:pt x="154" y="396"/>
                    </a:lnTo>
                    <a:lnTo>
                      <a:pt x="157" y="402"/>
                    </a:lnTo>
                    <a:lnTo>
                      <a:pt x="159" y="408"/>
                    </a:lnTo>
                    <a:lnTo>
                      <a:pt x="169" y="411"/>
                    </a:lnTo>
                    <a:lnTo>
                      <a:pt x="171" y="409"/>
                    </a:lnTo>
                    <a:lnTo>
                      <a:pt x="171" y="404"/>
                    </a:lnTo>
                    <a:lnTo>
                      <a:pt x="173" y="400"/>
                    </a:lnTo>
                    <a:lnTo>
                      <a:pt x="184" y="400"/>
                    </a:lnTo>
                    <a:lnTo>
                      <a:pt x="196" y="402"/>
                    </a:lnTo>
                    <a:lnTo>
                      <a:pt x="211" y="400"/>
                    </a:lnTo>
                    <a:lnTo>
                      <a:pt x="213" y="396"/>
                    </a:lnTo>
                    <a:lnTo>
                      <a:pt x="215" y="390"/>
                    </a:lnTo>
                    <a:lnTo>
                      <a:pt x="219" y="388"/>
                    </a:lnTo>
                    <a:lnTo>
                      <a:pt x="225" y="390"/>
                    </a:lnTo>
                    <a:lnTo>
                      <a:pt x="225" y="396"/>
                    </a:lnTo>
                    <a:lnTo>
                      <a:pt x="226" y="404"/>
                    </a:lnTo>
                    <a:lnTo>
                      <a:pt x="232" y="400"/>
                    </a:lnTo>
                    <a:lnTo>
                      <a:pt x="238" y="394"/>
                    </a:lnTo>
                    <a:lnTo>
                      <a:pt x="242" y="392"/>
                    </a:lnTo>
                    <a:lnTo>
                      <a:pt x="296" y="408"/>
                    </a:lnTo>
                    <a:lnTo>
                      <a:pt x="301" y="413"/>
                    </a:lnTo>
                    <a:lnTo>
                      <a:pt x="305" y="421"/>
                    </a:lnTo>
                    <a:lnTo>
                      <a:pt x="311" y="427"/>
                    </a:lnTo>
                    <a:lnTo>
                      <a:pt x="321" y="427"/>
                    </a:lnTo>
                    <a:lnTo>
                      <a:pt x="328" y="425"/>
                    </a:lnTo>
                    <a:lnTo>
                      <a:pt x="338" y="427"/>
                    </a:lnTo>
                    <a:lnTo>
                      <a:pt x="342" y="433"/>
                    </a:lnTo>
                    <a:lnTo>
                      <a:pt x="342" y="442"/>
                    </a:lnTo>
                    <a:lnTo>
                      <a:pt x="345" y="450"/>
                    </a:lnTo>
                    <a:lnTo>
                      <a:pt x="349" y="452"/>
                    </a:lnTo>
                    <a:lnTo>
                      <a:pt x="355" y="452"/>
                    </a:lnTo>
                    <a:lnTo>
                      <a:pt x="361" y="454"/>
                    </a:lnTo>
                    <a:lnTo>
                      <a:pt x="369" y="459"/>
                    </a:lnTo>
                    <a:lnTo>
                      <a:pt x="374" y="469"/>
                    </a:lnTo>
                    <a:lnTo>
                      <a:pt x="380" y="477"/>
                    </a:lnTo>
                    <a:lnTo>
                      <a:pt x="395" y="477"/>
                    </a:lnTo>
                    <a:lnTo>
                      <a:pt x="397" y="479"/>
                    </a:lnTo>
                    <a:lnTo>
                      <a:pt x="399" y="482"/>
                    </a:lnTo>
                    <a:lnTo>
                      <a:pt x="399" y="484"/>
                    </a:lnTo>
                    <a:lnTo>
                      <a:pt x="393" y="488"/>
                    </a:lnTo>
                    <a:lnTo>
                      <a:pt x="393" y="492"/>
                    </a:lnTo>
                    <a:lnTo>
                      <a:pt x="392" y="500"/>
                    </a:lnTo>
                    <a:lnTo>
                      <a:pt x="376" y="507"/>
                    </a:lnTo>
                    <a:lnTo>
                      <a:pt x="384" y="507"/>
                    </a:lnTo>
                    <a:lnTo>
                      <a:pt x="399" y="504"/>
                    </a:lnTo>
                    <a:lnTo>
                      <a:pt x="403" y="509"/>
                    </a:lnTo>
                    <a:lnTo>
                      <a:pt x="405" y="515"/>
                    </a:lnTo>
                    <a:lnTo>
                      <a:pt x="407" y="523"/>
                    </a:lnTo>
                    <a:lnTo>
                      <a:pt x="415" y="523"/>
                    </a:lnTo>
                    <a:lnTo>
                      <a:pt x="415" y="529"/>
                    </a:lnTo>
                    <a:lnTo>
                      <a:pt x="411" y="531"/>
                    </a:lnTo>
                    <a:lnTo>
                      <a:pt x="411" y="534"/>
                    </a:lnTo>
                    <a:lnTo>
                      <a:pt x="413" y="536"/>
                    </a:lnTo>
                    <a:lnTo>
                      <a:pt x="418" y="540"/>
                    </a:lnTo>
                    <a:lnTo>
                      <a:pt x="422" y="542"/>
                    </a:lnTo>
                    <a:lnTo>
                      <a:pt x="422" y="557"/>
                    </a:lnTo>
                    <a:lnTo>
                      <a:pt x="434" y="557"/>
                    </a:lnTo>
                    <a:lnTo>
                      <a:pt x="434" y="563"/>
                    </a:lnTo>
                    <a:lnTo>
                      <a:pt x="432" y="571"/>
                    </a:lnTo>
                    <a:lnTo>
                      <a:pt x="434" y="577"/>
                    </a:lnTo>
                    <a:lnTo>
                      <a:pt x="424" y="577"/>
                    </a:lnTo>
                    <a:lnTo>
                      <a:pt x="418" y="579"/>
                    </a:lnTo>
                    <a:lnTo>
                      <a:pt x="415" y="580"/>
                    </a:lnTo>
                    <a:lnTo>
                      <a:pt x="416" y="580"/>
                    </a:lnTo>
                    <a:lnTo>
                      <a:pt x="416" y="586"/>
                    </a:lnTo>
                    <a:lnTo>
                      <a:pt x="418" y="592"/>
                    </a:lnTo>
                    <a:lnTo>
                      <a:pt x="409" y="598"/>
                    </a:lnTo>
                    <a:lnTo>
                      <a:pt x="409" y="605"/>
                    </a:lnTo>
                    <a:lnTo>
                      <a:pt x="418" y="611"/>
                    </a:lnTo>
                    <a:lnTo>
                      <a:pt x="405" y="623"/>
                    </a:lnTo>
                    <a:lnTo>
                      <a:pt x="420" y="629"/>
                    </a:lnTo>
                    <a:lnTo>
                      <a:pt x="441" y="630"/>
                    </a:lnTo>
                    <a:lnTo>
                      <a:pt x="441" y="621"/>
                    </a:lnTo>
                    <a:lnTo>
                      <a:pt x="443" y="615"/>
                    </a:lnTo>
                    <a:lnTo>
                      <a:pt x="445" y="607"/>
                    </a:lnTo>
                    <a:lnTo>
                      <a:pt x="447" y="607"/>
                    </a:lnTo>
                    <a:lnTo>
                      <a:pt x="451" y="609"/>
                    </a:lnTo>
                    <a:lnTo>
                      <a:pt x="453" y="611"/>
                    </a:lnTo>
                    <a:lnTo>
                      <a:pt x="453" y="619"/>
                    </a:lnTo>
                    <a:lnTo>
                      <a:pt x="478" y="619"/>
                    </a:lnTo>
                    <a:lnTo>
                      <a:pt x="495" y="623"/>
                    </a:lnTo>
                    <a:lnTo>
                      <a:pt x="493" y="625"/>
                    </a:lnTo>
                    <a:lnTo>
                      <a:pt x="491" y="630"/>
                    </a:lnTo>
                    <a:lnTo>
                      <a:pt x="491" y="634"/>
                    </a:lnTo>
                    <a:lnTo>
                      <a:pt x="497" y="634"/>
                    </a:lnTo>
                    <a:lnTo>
                      <a:pt x="505" y="630"/>
                    </a:lnTo>
                    <a:lnTo>
                      <a:pt x="514" y="630"/>
                    </a:lnTo>
                    <a:lnTo>
                      <a:pt x="507" y="638"/>
                    </a:lnTo>
                    <a:lnTo>
                      <a:pt x="518" y="638"/>
                    </a:lnTo>
                    <a:lnTo>
                      <a:pt x="537" y="642"/>
                    </a:lnTo>
                    <a:lnTo>
                      <a:pt x="528" y="646"/>
                    </a:lnTo>
                    <a:lnTo>
                      <a:pt x="524" y="652"/>
                    </a:lnTo>
                    <a:lnTo>
                      <a:pt x="534" y="654"/>
                    </a:lnTo>
                    <a:lnTo>
                      <a:pt x="532" y="654"/>
                    </a:lnTo>
                    <a:lnTo>
                      <a:pt x="526" y="655"/>
                    </a:lnTo>
                    <a:lnTo>
                      <a:pt x="522" y="657"/>
                    </a:lnTo>
                    <a:lnTo>
                      <a:pt x="518" y="665"/>
                    </a:lnTo>
                    <a:lnTo>
                      <a:pt x="522" y="665"/>
                    </a:lnTo>
                    <a:lnTo>
                      <a:pt x="528" y="663"/>
                    </a:lnTo>
                    <a:lnTo>
                      <a:pt x="534" y="665"/>
                    </a:lnTo>
                    <a:lnTo>
                      <a:pt x="535" y="667"/>
                    </a:lnTo>
                    <a:lnTo>
                      <a:pt x="530" y="669"/>
                    </a:lnTo>
                    <a:lnTo>
                      <a:pt x="522" y="669"/>
                    </a:lnTo>
                    <a:lnTo>
                      <a:pt x="522" y="677"/>
                    </a:lnTo>
                    <a:lnTo>
                      <a:pt x="537" y="686"/>
                    </a:lnTo>
                    <a:lnTo>
                      <a:pt x="528" y="686"/>
                    </a:lnTo>
                    <a:lnTo>
                      <a:pt x="511" y="680"/>
                    </a:lnTo>
                    <a:lnTo>
                      <a:pt x="503" y="675"/>
                    </a:lnTo>
                    <a:lnTo>
                      <a:pt x="497" y="669"/>
                    </a:lnTo>
                    <a:lnTo>
                      <a:pt x="491" y="665"/>
                    </a:lnTo>
                    <a:lnTo>
                      <a:pt x="470" y="661"/>
                    </a:lnTo>
                    <a:lnTo>
                      <a:pt x="449" y="661"/>
                    </a:lnTo>
                    <a:lnTo>
                      <a:pt x="430" y="665"/>
                    </a:lnTo>
                    <a:lnTo>
                      <a:pt x="432" y="669"/>
                    </a:lnTo>
                    <a:lnTo>
                      <a:pt x="432" y="673"/>
                    </a:lnTo>
                    <a:lnTo>
                      <a:pt x="434" y="677"/>
                    </a:lnTo>
                    <a:lnTo>
                      <a:pt x="440" y="679"/>
                    </a:lnTo>
                    <a:lnTo>
                      <a:pt x="445" y="679"/>
                    </a:lnTo>
                    <a:lnTo>
                      <a:pt x="453" y="680"/>
                    </a:lnTo>
                    <a:lnTo>
                      <a:pt x="455" y="682"/>
                    </a:lnTo>
                    <a:lnTo>
                      <a:pt x="455" y="688"/>
                    </a:lnTo>
                    <a:lnTo>
                      <a:pt x="457" y="692"/>
                    </a:lnTo>
                    <a:lnTo>
                      <a:pt x="449" y="690"/>
                    </a:lnTo>
                    <a:lnTo>
                      <a:pt x="440" y="690"/>
                    </a:lnTo>
                    <a:lnTo>
                      <a:pt x="430" y="688"/>
                    </a:lnTo>
                    <a:lnTo>
                      <a:pt x="420" y="717"/>
                    </a:lnTo>
                    <a:lnTo>
                      <a:pt x="418" y="730"/>
                    </a:lnTo>
                    <a:lnTo>
                      <a:pt x="453" y="734"/>
                    </a:lnTo>
                    <a:lnTo>
                      <a:pt x="453" y="742"/>
                    </a:lnTo>
                    <a:lnTo>
                      <a:pt x="430" y="742"/>
                    </a:lnTo>
                    <a:lnTo>
                      <a:pt x="438" y="753"/>
                    </a:lnTo>
                    <a:lnTo>
                      <a:pt x="455" y="753"/>
                    </a:lnTo>
                    <a:lnTo>
                      <a:pt x="472" y="748"/>
                    </a:lnTo>
                    <a:lnTo>
                      <a:pt x="484" y="742"/>
                    </a:lnTo>
                    <a:lnTo>
                      <a:pt x="488" y="738"/>
                    </a:lnTo>
                    <a:lnTo>
                      <a:pt x="493" y="738"/>
                    </a:lnTo>
                    <a:lnTo>
                      <a:pt x="499" y="736"/>
                    </a:lnTo>
                    <a:lnTo>
                      <a:pt x="499" y="723"/>
                    </a:lnTo>
                    <a:lnTo>
                      <a:pt x="488" y="711"/>
                    </a:lnTo>
                    <a:lnTo>
                      <a:pt x="470" y="700"/>
                    </a:lnTo>
                    <a:lnTo>
                      <a:pt x="461" y="692"/>
                    </a:lnTo>
                    <a:lnTo>
                      <a:pt x="461" y="684"/>
                    </a:lnTo>
                    <a:lnTo>
                      <a:pt x="466" y="686"/>
                    </a:lnTo>
                    <a:lnTo>
                      <a:pt x="472" y="686"/>
                    </a:lnTo>
                    <a:lnTo>
                      <a:pt x="480" y="688"/>
                    </a:lnTo>
                    <a:lnTo>
                      <a:pt x="484" y="692"/>
                    </a:lnTo>
                    <a:lnTo>
                      <a:pt x="491" y="703"/>
                    </a:lnTo>
                    <a:lnTo>
                      <a:pt x="499" y="703"/>
                    </a:lnTo>
                    <a:lnTo>
                      <a:pt x="511" y="698"/>
                    </a:lnTo>
                    <a:lnTo>
                      <a:pt x="516" y="703"/>
                    </a:lnTo>
                    <a:lnTo>
                      <a:pt x="518" y="707"/>
                    </a:lnTo>
                    <a:lnTo>
                      <a:pt x="522" y="705"/>
                    </a:lnTo>
                    <a:lnTo>
                      <a:pt x="530" y="703"/>
                    </a:lnTo>
                    <a:lnTo>
                      <a:pt x="537" y="703"/>
                    </a:lnTo>
                    <a:lnTo>
                      <a:pt x="534" y="715"/>
                    </a:lnTo>
                    <a:lnTo>
                      <a:pt x="532" y="725"/>
                    </a:lnTo>
                    <a:lnTo>
                      <a:pt x="530" y="736"/>
                    </a:lnTo>
                    <a:lnTo>
                      <a:pt x="545" y="736"/>
                    </a:lnTo>
                    <a:lnTo>
                      <a:pt x="543" y="744"/>
                    </a:lnTo>
                    <a:lnTo>
                      <a:pt x="541" y="750"/>
                    </a:lnTo>
                    <a:lnTo>
                      <a:pt x="545" y="757"/>
                    </a:lnTo>
                    <a:lnTo>
                      <a:pt x="541" y="757"/>
                    </a:lnTo>
                    <a:lnTo>
                      <a:pt x="537" y="765"/>
                    </a:lnTo>
                    <a:lnTo>
                      <a:pt x="534" y="759"/>
                    </a:lnTo>
                    <a:lnTo>
                      <a:pt x="532" y="755"/>
                    </a:lnTo>
                    <a:lnTo>
                      <a:pt x="526" y="753"/>
                    </a:lnTo>
                    <a:lnTo>
                      <a:pt x="526" y="767"/>
                    </a:lnTo>
                    <a:lnTo>
                      <a:pt x="528" y="778"/>
                    </a:lnTo>
                    <a:lnTo>
                      <a:pt x="530" y="788"/>
                    </a:lnTo>
                    <a:lnTo>
                      <a:pt x="520" y="786"/>
                    </a:lnTo>
                    <a:lnTo>
                      <a:pt x="509" y="784"/>
                    </a:lnTo>
                    <a:lnTo>
                      <a:pt x="503" y="784"/>
                    </a:lnTo>
                    <a:lnTo>
                      <a:pt x="499" y="786"/>
                    </a:lnTo>
                    <a:lnTo>
                      <a:pt x="497" y="790"/>
                    </a:lnTo>
                    <a:lnTo>
                      <a:pt x="495" y="796"/>
                    </a:lnTo>
                    <a:lnTo>
                      <a:pt x="482" y="796"/>
                    </a:lnTo>
                    <a:lnTo>
                      <a:pt x="488" y="800"/>
                    </a:lnTo>
                    <a:lnTo>
                      <a:pt x="499" y="803"/>
                    </a:lnTo>
                    <a:lnTo>
                      <a:pt x="512" y="801"/>
                    </a:lnTo>
                    <a:lnTo>
                      <a:pt x="524" y="796"/>
                    </a:lnTo>
                    <a:lnTo>
                      <a:pt x="534" y="792"/>
                    </a:lnTo>
                    <a:lnTo>
                      <a:pt x="534" y="807"/>
                    </a:lnTo>
                    <a:lnTo>
                      <a:pt x="524" y="807"/>
                    </a:lnTo>
                    <a:lnTo>
                      <a:pt x="509" y="809"/>
                    </a:lnTo>
                    <a:lnTo>
                      <a:pt x="499" y="811"/>
                    </a:lnTo>
                    <a:lnTo>
                      <a:pt x="495" y="807"/>
                    </a:lnTo>
                    <a:lnTo>
                      <a:pt x="489" y="803"/>
                    </a:lnTo>
                    <a:lnTo>
                      <a:pt x="480" y="803"/>
                    </a:lnTo>
                    <a:lnTo>
                      <a:pt x="480" y="805"/>
                    </a:lnTo>
                    <a:lnTo>
                      <a:pt x="482" y="807"/>
                    </a:lnTo>
                    <a:lnTo>
                      <a:pt x="484" y="811"/>
                    </a:lnTo>
                    <a:lnTo>
                      <a:pt x="476" y="817"/>
                    </a:lnTo>
                    <a:lnTo>
                      <a:pt x="468" y="821"/>
                    </a:lnTo>
                    <a:lnTo>
                      <a:pt x="461" y="826"/>
                    </a:lnTo>
                    <a:lnTo>
                      <a:pt x="461" y="836"/>
                    </a:lnTo>
                    <a:lnTo>
                      <a:pt x="468" y="836"/>
                    </a:lnTo>
                    <a:lnTo>
                      <a:pt x="472" y="838"/>
                    </a:lnTo>
                    <a:lnTo>
                      <a:pt x="466" y="844"/>
                    </a:lnTo>
                    <a:lnTo>
                      <a:pt x="461" y="848"/>
                    </a:lnTo>
                    <a:lnTo>
                      <a:pt x="463" y="853"/>
                    </a:lnTo>
                    <a:lnTo>
                      <a:pt x="466" y="859"/>
                    </a:lnTo>
                    <a:lnTo>
                      <a:pt x="468" y="863"/>
                    </a:lnTo>
                    <a:lnTo>
                      <a:pt x="476" y="863"/>
                    </a:lnTo>
                    <a:lnTo>
                      <a:pt x="476" y="873"/>
                    </a:lnTo>
                    <a:lnTo>
                      <a:pt x="468" y="888"/>
                    </a:lnTo>
                    <a:lnTo>
                      <a:pt x="476" y="888"/>
                    </a:lnTo>
                    <a:lnTo>
                      <a:pt x="476" y="890"/>
                    </a:lnTo>
                    <a:lnTo>
                      <a:pt x="472" y="892"/>
                    </a:lnTo>
                    <a:lnTo>
                      <a:pt x="468" y="892"/>
                    </a:lnTo>
                    <a:lnTo>
                      <a:pt x="464" y="890"/>
                    </a:lnTo>
                    <a:lnTo>
                      <a:pt x="463" y="894"/>
                    </a:lnTo>
                    <a:lnTo>
                      <a:pt x="461" y="896"/>
                    </a:lnTo>
                    <a:lnTo>
                      <a:pt x="461" y="900"/>
                    </a:lnTo>
                    <a:lnTo>
                      <a:pt x="466" y="900"/>
                    </a:lnTo>
                    <a:lnTo>
                      <a:pt x="472" y="901"/>
                    </a:lnTo>
                    <a:lnTo>
                      <a:pt x="480" y="901"/>
                    </a:lnTo>
                    <a:lnTo>
                      <a:pt x="478" y="905"/>
                    </a:lnTo>
                    <a:lnTo>
                      <a:pt x="476" y="907"/>
                    </a:lnTo>
                    <a:lnTo>
                      <a:pt x="476" y="909"/>
                    </a:lnTo>
                    <a:lnTo>
                      <a:pt x="472" y="909"/>
                    </a:lnTo>
                    <a:lnTo>
                      <a:pt x="470" y="911"/>
                    </a:lnTo>
                    <a:lnTo>
                      <a:pt x="472" y="915"/>
                    </a:lnTo>
                    <a:lnTo>
                      <a:pt x="478" y="915"/>
                    </a:lnTo>
                    <a:lnTo>
                      <a:pt x="488" y="913"/>
                    </a:lnTo>
                    <a:lnTo>
                      <a:pt x="495" y="915"/>
                    </a:lnTo>
                    <a:lnTo>
                      <a:pt x="495" y="934"/>
                    </a:lnTo>
                    <a:lnTo>
                      <a:pt x="499" y="940"/>
                    </a:lnTo>
                    <a:lnTo>
                      <a:pt x="505" y="948"/>
                    </a:lnTo>
                    <a:lnTo>
                      <a:pt x="507" y="951"/>
                    </a:lnTo>
                    <a:lnTo>
                      <a:pt x="503" y="953"/>
                    </a:lnTo>
                    <a:lnTo>
                      <a:pt x="501" y="963"/>
                    </a:lnTo>
                    <a:lnTo>
                      <a:pt x="503" y="967"/>
                    </a:lnTo>
                    <a:lnTo>
                      <a:pt x="514" y="957"/>
                    </a:lnTo>
                    <a:lnTo>
                      <a:pt x="526" y="953"/>
                    </a:lnTo>
                    <a:lnTo>
                      <a:pt x="541" y="948"/>
                    </a:lnTo>
                    <a:lnTo>
                      <a:pt x="539" y="951"/>
                    </a:lnTo>
                    <a:lnTo>
                      <a:pt x="541" y="955"/>
                    </a:lnTo>
                    <a:lnTo>
                      <a:pt x="541" y="959"/>
                    </a:lnTo>
                    <a:lnTo>
                      <a:pt x="534" y="959"/>
                    </a:lnTo>
                    <a:lnTo>
                      <a:pt x="534" y="971"/>
                    </a:lnTo>
                    <a:lnTo>
                      <a:pt x="524" y="973"/>
                    </a:lnTo>
                    <a:lnTo>
                      <a:pt x="518" y="973"/>
                    </a:lnTo>
                    <a:lnTo>
                      <a:pt x="511" y="974"/>
                    </a:lnTo>
                    <a:lnTo>
                      <a:pt x="522" y="978"/>
                    </a:lnTo>
                    <a:lnTo>
                      <a:pt x="522" y="980"/>
                    </a:lnTo>
                    <a:lnTo>
                      <a:pt x="507" y="982"/>
                    </a:lnTo>
                    <a:lnTo>
                      <a:pt x="514" y="994"/>
                    </a:lnTo>
                    <a:lnTo>
                      <a:pt x="514" y="1001"/>
                    </a:lnTo>
                    <a:lnTo>
                      <a:pt x="530" y="1001"/>
                    </a:lnTo>
                    <a:lnTo>
                      <a:pt x="530" y="1007"/>
                    </a:lnTo>
                    <a:lnTo>
                      <a:pt x="528" y="1011"/>
                    </a:lnTo>
                    <a:lnTo>
                      <a:pt x="526" y="1017"/>
                    </a:lnTo>
                    <a:lnTo>
                      <a:pt x="534" y="1028"/>
                    </a:lnTo>
                    <a:lnTo>
                      <a:pt x="535" y="1026"/>
                    </a:lnTo>
                    <a:lnTo>
                      <a:pt x="539" y="1021"/>
                    </a:lnTo>
                    <a:lnTo>
                      <a:pt x="545" y="1021"/>
                    </a:lnTo>
                    <a:lnTo>
                      <a:pt x="547" y="1026"/>
                    </a:lnTo>
                    <a:lnTo>
                      <a:pt x="541" y="1032"/>
                    </a:lnTo>
                    <a:lnTo>
                      <a:pt x="545" y="1040"/>
                    </a:lnTo>
                    <a:lnTo>
                      <a:pt x="553" y="1038"/>
                    </a:lnTo>
                    <a:lnTo>
                      <a:pt x="557" y="1036"/>
                    </a:lnTo>
                    <a:lnTo>
                      <a:pt x="557" y="1044"/>
                    </a:lnTo>
                    <a:lnTo>
                      <a:pt x="555" y="1051"/>
                    </a:lnTo>
                    <a:lnTo>
                      <a:pt x="557" y="1055"/>
                    </a:lnTo>
                    <a:lnTo>
                      <a:pt x="562" y="1051"/>
                    </a:lnTo>
                    <a:lnTo>
                      <a:pt x="570" y="1046"/>
                    </a:lnTo>
                    <a:lnTo>
                      <a:pt x="580" y="1044"/>
                    </a:lnTo>
                    <a:lnTo>
                      <a:pt x="580" y="1047"/>
                    </a:lnTo>
                    <a:lnTo>
                      <a:pt x="578" y="1055"/>
                    </a:lnTo>
                    <a:lnTo>
                      <a:pt x="576" y="1059"/>
                    </a:lnTo>
                    <a:lnTo>
                      <a:pt x="580" y="1061"/>
                    </a:lnTo>
                    <a:lnTo>
                      <a:pt x="583" y="1059"/>
                    </a:lnTo>
                    <a:lnTo>
                      <a:pt x="587" y="1059"/>
                    </a:lnTo>
                    <a:lnTo>
                      <a:pt x="587" y="1082"/>
                    </a:lnTo>
                    <a:lnTo>
                      <a:pt x="593" y="1084"/>
                    </a:lnTo>
                    <a:lnTo>
                      <a:pt x="599" y="1080"/>
                    </a:lnTo>
                    <a:lnTo>
                      <a:pt x="603" y="1078"/>
                    </a:lnTo>
                    <a:lnTo>
                      <a:pt x="601" y="1082"/>
                    </a:lnTo>
                    <a:lnTo>
                      <a:pt x="601" y="1086"/>
                    </a:lnTo>
                    <a:lnTo>
                      <a:pt x="595" y="1086"/>
                    </a:lnTo>
                    <a:lnTo>
                      <a:pt x="595" y="1088"/>
                    </a:lnTo>
                    <a:lnTo>
                      <a:pt x="599" y="1090"/>
                    </a:lnTo>
                    <a:lnTo>
                      <a:pt x="603" y="1090"/>
                    </a:lnTo>
                    <a:lnTo>
                      <a:pt x="601" y="1097"/>
                    </a:lnTo>
                    <a:lnTo>
                      <a:pt x="601" y="1099"/>
                    </a:lnTo>
                    <a:lnTo>
                      <a:pt x="603" y="1101"/>
                    </a:lnTo>
                    <a:lnTo>
                      <a:pt x="605" y="1105"/>
                    </a:lnTo>
                    <a:lnTo>
                      <a:pt x="605" y="1109"/>
                    </a:lnTo>
                    <a:lnTo>
                      <a:pt x="607" y="1113"/>
                    </a:lnTo>
                    <a:lnTo>
                      <a:pt x="626" y="1107"/>
                    </a:lnTo>
                    <a:lnTo>
                      <a:pt x="639" y="1101"/>
                    </a:lnTo>
                    <a:lnTo>
                      <a:pt x="653" y="1086"/>
                    </a:lnTo>
                    <a:lnTo>
                      <a:pt x="653" y="1111"/>
                    </a:lnTo>
                    <a:lnTo>
                      <a:pt x="664" y="1117"/>
                    </a:lnTo>
                    <a:lnTo>
                      <a:pt x="691" y="1113"/>
                    </a:lnTo>
                    <a:lnTo>
                      <a:pt x="681" y="1130"/>
                    </a:lnTo>
                    <a:lnTo>
                      <a:pt x="681" y="1132"/>
                    </a:lnTo>
                    <a:lnTo>
                      <a:pt x="695" y="1120"/>
                    </a:lnTo>
                    <a:lnTo>
                      <a:pt x="691" y="1128"/>
                    </a:lnTo>
                    <a:lnTo>
                      <a:pt x="687" y="1132"/>
                    </a:lnTo>
                    <a:lnTo>
                      <a:pt x="687" y="1134"/>
                    </a:lnTo>
                    <a:lnTo>
                      <a:pt x="693" y="1136"/>
                    </a:lnTo>
                    <a:lnTo>
                      <a:pt x="699" y="1136"/>
                    </a:lnTo>
                    <a:lnTo>
                      <a:pt x="701" y="1130"/>
                    </a:lnTo>
                    <a:lnTo>
                      <a:pt x="701" y="1128"/>
                    </a:lnTo>
                    <a:lnTo>
                      <a:pt x="706" y="1124"/>
                    </a:lnTo>
                    <a:lnTo>
                      <a:pt x="706" y="1136"/>
                    </a:lnTo>
                    <a:lnTo>
                      <a:pt x="710" y="1145"/>
                    </a:lnTo>
                    <a:lnTo>
                      <a:pt x="729" y="1144"/>
                    </a:lnTo>
                    <a:lnTo>
                      <a:pt x="722" y="1136"/>
                    </a:lnTo>
                    <a:lnTo>
                      <a:pt x="733" y="1132"/>
                    </a:lnTo>
                    <a:lnTo>
                      <a:pt x="737" y="1128"/>
                    </a:lnTo>
                    <a:lnTo>
                      <a:pt x="726" y="1124"/>
                    </a:lnTo>
                    <a:lnTo>
                      <a:pt x="731" y="1126"/>
                    </a:lnTo>
                    <a:lnTo>
                      <a:pt x="731" y="1120"/>
                    </a:lnTo>
                    <a:lnTo>
                      <a:pt x="729" y="1117"/>
                    </a:lnTo>
                    <a:lnTo>
                      <a:pt x="724" y="1117"/>
                    </a:lnTo>
                    <a:lnTo>
                      <a:pt x="718" y="1115"/>
                    </a:lnTo>
                    <a:lnTo>
                      <a:pt x="714" y="1113"/>
                    </a:lnTo>
                    <a:lnTo>
                      <a:pt x="716" y="1111"/>
                    </a:lnTo>
                    <a:lnTo>
                      <a:pt x="720" y="1109"/>
                    </a:lnTo>
                    <a:lnTo>
                      <a:pt x="726" y="1109"/>
                    </a:lnTo>
                    <a:lnTo>
                      <a:pt x="727" y="1105"/>
                    </a:lnTo>
                    <a:lnTo>
                      <a:pt x="729" y="1103"/>
                    </a:lnTo>
                    <a:lnTo>
                      <a:pt x="733" y="1101"/>
                    </a:lnTo>
                    <a:lnTo>
                      <a:pt x="729" y="1096"/>
                    </a:lnTo>
                    <a:lnTo>
                      <a:pt x="729" y="1090"/>
                    </a:lnTo>
                    <a:lnTo>
                      <a:pt x="731" y="1088"/>
                    </a:lnTo>
                    <a:lnTo>
                      <a:pt x="737" y="1084"/>
                    </a:lnTo>
                    <a:lnTo>
                      <a:pt x="741" y="1082"/>
                    </a:lnTo>
                    <a:lnTo>
                      <a:pt x="741" y="1076"/>
                    </a:lnTo>
                    <a:lnTo>
                      <a:pt x="737" y="1074"/>
                    </a:lnTo>
                    <a:lnTo>
                      <a:pt x="737" y="1071"/>
                    </a:lnTo>
                    <a:lnTo>
                      <a:pt x="739" y="1067"/>
                    </a:lnTo>
                    <a:lnTo>
                      <a:pt x="745" y="1063"/>
                    </a:lnTo>
                    <a:lnTo>
                      <a:pt x="749" y="1059"/>
                    </a:lnTo>
                    <a:lnTo>
                      <a:pt x="747" y="1055"/>
                    </a:lnTo>
                    <a:lnTo>
                      <a:pt x="745" y="1047"/>
                    </a:lnTo>
                    <a:lnTo>
                      <a:pt x="745" y="1040"/>
                    </a:lnTo>
                    <a:lnTo>
                      <a:pt x="756" y="1036"/>
                    </a:lnTo>
                    <a:lnTo>
                      <a:pt x="756" y="1030"/>
                    </a:lnTo>
                    <a:lnTo>
                      <a:pt x="749" y="1028"/>
                    </a:lnTo>
                    <a:lnTo>
                      <a:pt x="750" y="1026"/>
                    </a:lnTo>
                    <a:lnTo>
                      <a:pt x="752" y="1022"/>
                    </a:lnTo>
                    <a:lnTo>
                      <a:pt x="752" y="1017"/>
                    </a:lnTo>
                    <a:lnTo>
                      <a:pt x="758" y="1017"/>
                    </a:lnTo>
                    <a:lnTo>
                      <a:pt x="758" y="1019"/>
                    </a:lnTo>
                    <a:lnTo>
                      <a:pt x="764" y="1021"/>
                    </a:lnTo>
                    <a:lnTo>
                      <a:pt x="772" y="1013"/>
                    </a:lnTo>
                    <a:lnTo>
                      <a:pt x="772" y="998"/>
                    </a:lnTo>
                    <a:lnTo>
                      <a:pt x="783" y="998"/>
                    </a:lnTo>
                    <a:lnTo>
                      <a:pt x="783" y="992"/>
                    </a:lnTo>
                    <a:lnTo>
                      <a:pt x="779" y="986"/>
                    </a:lnTo>
                    <a:lnTo>
                      <a:pt x="779" y="978"/>
                    </a:lnTo>
                    <a:lnTo>
                      <a:pt x="785" y="973"/>
                    </a:lnTo>
                    <a:lnTo>
                      <a:pt x="787" y="967"/>
                    </a:lnTo>
                    <a:lnTo>
                      <a:pt x="772" y="967"/>
                    </a:lnTo>
                    <a:lnTo>
                      <a:pt x="770" y="965"/>
                    </a:lnTo>
                    <a:lnTo>
                      <a:pt x="768" y="959"/>
                    </a:lnTo>
                    <a:lnTo>
                      <a:pt x="775" y="961"/>
                    </a:lnTo>
                    <a:lnTo>
                      <a:pt x="781" y="961"/>
                    </a:lnTo>
                    <a:lnTo>
                      <a:pt x="791" y="963"/>
                    </a:lnTo>
                    <a:lnTo>
                      <a:pt x="791" y="949"/>
                    </a:lnTo>
                    <a:lnTo>
                      <a:pt x="789" y="940"/>
                    </a:lnTo>
                    <a:lnTo>
                      <a:pt x="783" y="926"/>
                    </a:lnTo>
                    <a:lnTo>
                      <a:pt x="789" y="924"/>
                    </a:lnTo>
                    <a:lnTo>
                      <a:pt x="791" y="924"/>
                    </a:lnTo>
                    <a:lnTo>
                      <a:pt x="798" y="926"/>
                    </a:lnTo>
                    <a:lnTo>
                      <a:pt x="800" y="921"/>
                    </a:lnTo>
                    <a:lnTo>
                      <a:pt x="802" y="917"/>
                    </a:lnTo>
                    <a:lnTo>
                      <a:pt x="806" y="915"/>
                    </a:lnTo>
                    <a:lnTo>
                      <a:pt x="804" y="911"/>
                    </a:lnTo>
                    <a:lnTo>
                      <a:pt x="802" y="909"/>
                    </a:lnTo>
                    <a:lnTo>
                      <a:pt x="802" y="907"/>
                    </a:lnTo>
                    <a:lnTo>
                      <a:pt x="827" y="905"/>
                    </a:lnTo>
                    <a:lnTo>
                      <a:pt x="846" y="901"/>
                    </a:lnTo>
                    <a:lnTo>
                      <a:pt x="864" y="890"/>
                    </a:lnTo>
                    <a:lnTo>
                      <a:pt x="864" y="901"/>
                    </a:lnTo>
                    <a:lnTo>
                      <a:pt x="866" y="905"/>
                    </a:lnTo>
                    <a:lnTo>
                      <a:pt x="871" y="907"/>
                    </a:lnTo>
                    <a:lnTo>
                      <a:pt x="875" y="909"/>
                    </a:lnTo>
                    <a:lnTo>
                      <a:pt x="883" y="900"/>
                    </a:lnTo>
                    <a:lnTo>
                      <a:pt x="887" y="894"/>
                    </a:lnTo>
                    <a:lnTo>
                      <a:pt x="898" y="890"/>
                    </a:lnTo>
                    <a:lnTo>
                      <a:pt x="898" y="894"/>
                    </a:lnTo>
                    <a:lnTo>
                      <a:pt x="900" y="896"/>
                    </a:lnTo>
                    <a:lnTo>
                      <a:pt x="906" y="900"/>
                    </a:lnTo>
                    <a:lnTo>
                      <a:pt x="912" y="886"/>
                    </a:lnTo>
                    <a:lnTo>
                      <a:pt x="917" y="871"/>
                    </a:lnTo>
                    <a:lnTo>
                      <a:pt x="925" y="859"/>
                    </a:lnTo>
                    <a:lnTo>
                      <a:pt x="935" y="855"/>
                    </a:lnTo>
                    <a:lnTo>
                      <a:pt x="944" y="853"/>
                    </a:lnTo>
                    <a:lnTo>
                      <a:pt x="956" y="848"/>
                    </a:lnTo>
                    <a:lnTo>
                      <a:pt x="962" y="842"/>
                    </a:lnTo>
                    <a:lnTo>
                      <a:pt x="965" y="832"/>
                    </a:lnTo>
                    <a:lnTo>
                      <a:pt x="971" y="826"/>
                    </a:lnTo>
                    <a:lnTo>
                      <a:pt x="977" y="825"/>
                    </a:lnTo>
                    <a:lnTo>
                      <a:pt x="985" y="825"/>
                    </a:lnTo>
                    <a:lnTo>
                      <a:pt x="990" y="821"/>
                    </a:lnTo>
                    <a:lnTo>
                      <a:pt x="992" y="817"/>
                    </a:lnTo>
                    <a:lnTo>
                      <a:pt x="992" y="809"/>
                    </a:lnTo>
                    <a:lnTo>
                      <a:pt x="994" y="803"/>
                    </a:lnTo>
                    <a:lnTo>
                      <a:pt x="990" y="798"/>
                    </a:lnTo>
                    <a:lnTo>
                      <a:pt x="987" y="790"/>
                    </a:lnTo>
                    <a:lnTo>
                      <a:pt x="983" y="784"/>
                    </a:lnTo>
                    <a:lnTo>
                      <a:pt x="1000" y="794"/>
                    </a:lnTo>
                    <a:lnTo>
                      <a:pt x="1015" y="798"/>
                    </a:lnTo>
                    <a:lnTo>
                      <a:pt x="1044" y="800"/>
                    </a:lnTo>
                    <a:lnTo>
                      <a:pt x="1040" y="788"/>
                    </a:lnTo>
                    <a:lnTo>
                      <a:pt x="1046" y="788"/>
                    </a:lnTo>
                    <a:lnTo>
                      <a:pt x="1052" y="792"/>
                    </a:lnTo>
                    <a:lnTo>
                      <a:pt x="1059" y="796"/>
                    </a:lnTo>
                    <a:lnTo>
                      <a:pt x="1061" y="792"/>
                    </a:lnTo>
                    <a:lnTo>
                      <a:pt x="1065" y="786"/>
                    </a:lnTo>
                    <a:lnTo>
                      <a:pt x="1067" y="784"/>
                    </a:lnTo>
                    <a:lnTo>
                      <a:pt x="1071" y="784"/>
                    </a:lnTo>
                    <a:lnTo>
                      <a:pt x="1079" y="792"/>
                    </a:lnTo>
                    <a:lnTo>
                      <a:pt x="1086" y="790"/>
                    </a:lnTo>
                    <a:lnTo>
                      <a:pt x="1100" y="786"/>
                    </a:lnTo>
                    <a:lnTo>
                      <a:pt x="1109" y="784"/>
                    </a:lnTo>
                    <a:lnTo>
                      <a:pt x="1109" y="780"/>
                    </a:lnTo>
                    <a:lnTo>
                      <a:pt x="1113" y="777"/>
                    </a:lnTo>
                    <a:lnTo>
                      <a:pt x="1132" y="777"/>
                    </a:lnTo>
                    <a:lnTo>
                      <a:pt x="1136" y="773"/>
                    </a:lnTo>
                    <a:lnTo>
                      <a:pt x="1144" y="769"/>
                    </a:lnTo>
                    <a:lnTo>
                      <a:pt x="1144" y="757"/>
                    </a:lnTo>
                    <a:lnTo>
                      <a:pt x="1150" y="757"/>
                    </a:lnTo>
                    <a:lnTo>
                      <a:pt x="1155" y="761"/>
                    </a:lnTo>
                    <a:lnTo>
                      <a:pt x="1163" y="761"/>
                    </a:lnTo>
                    <a:lnTo>
                      <a:pt x="1163" y="750"/>
                    </a:lnTo>
                    <a:lnTo>
                      <a:pt x="1167" y="748"/>
                    </a:lnTo>
                    <a:lnTo>
                      <a:pt x="1171" y="744"/>
                    </a:lnTo>
                    <a:lnTo>
                      <a:pt x="1177" y="744"/>
                    </a:lnTo>
                    <a:lnTo>
                      <a:pt x="1180" y="748"/>
                    </a:lnTo>
                    <a:lnTo>
                      <a:pt x="1186" y="750"/>
                    </a:lnTo>
                    <a:lnTo>
                      <a:pt x="1188" y="746"/>
                    </a:lnTo>
                    <a:lnTo>
                      <a:pt x="1190" y="740"/>
                    </a:lnTo>
                    <a:lnTo>
                      <a:pt x="1194" y="736"/>
                    </a:lnTo>
                    <a:lnTo>
                      <a:pt x="1202" y="736"/>
                    </a:lnTo>
                    <a:lnTo>
                      <a:pt x="1215" y="738"/>
                    </a:lnTo>
                    <a:lnTo>
                      <a:pt x="1225" y="736"/>
                    </a:lnTo>
                    <a:lnTo>
                      <a:pt x="1226" y="734"/>
                    </a:lnTo>
                    <a:lnTo>
                      <a:pt x="1226" y="728"/>
                    </a:lnTo>
                    <a:lnTo>
                      <a:pt x="1225" y="727"/>
                    </a:lnTo>
                    <a:lnTo>
                      <a:pt x="1228" y="723"/>
                    </a:lnTo>
                    <a:lnTo>
                      <a:pt x="1236" y="723"/>
                    </a:lnTo>
                    <a:lnTo>
                      <a:pt x="1238" y="717"/>
                    </a:lnTo>
                    <a:lnTo>
                      <a:pt x="1240" y="707"/>
                    </a:lnTo>
                    <a:lnTo>
                      <a:pt x="1244" y="703"/>
                    </a:lnTo>
                    <a:lnTo>
                      <a:pt x="1249" y="700"/>
                    </a:lnTo>
                    <a:lnTo>
                      <a:pt x="1257" y="700"/>
                    </a:lnTo>
                    <a:lnTo>
                      <a:pt x="1263" y="698"/>
                    </a:lnTo>
                    <a:lnTo>
                      <a:pt x="1263" y="692"/>
                    </a:lnTo>
                    <a:lnTo>
                      <a:pt x="1249" y="692"/>
                    </a:lnTo>
                    <a:lnTo>
                      <a:pt x="1236" y="694"/>
                    </a:lnTo>
                    <a:lnTo>
                      <a:pt x="1221" y="692"/>
                    </a:lnTo>
                    <a:lnTo>
                      <a:pt x="1215" y="688"/>
                    </a:lnTo>
                    <a:lnTo>
                      <a:pt x="1207" y="682"/>
                    </a:lnTo>
                    <a:lnTo>
                      <a:pt x="1202" y="680"/>
                    </a:lnTo>
                    <a:lnTo>
                      <a:pt x="1192" y="682"/>
                    </a:lnTo>
                    <a:lnTo>
                      <a:pt x="1184" y="688"/>
                    </a:lnTo>
                    <a:lnTo>
                      <a:pt x="1178" y="692"/>
                    </a:lnTo>
                    <a:lnTo>
                      <a:pt x="1169" y="692"/>
                    </a:lnTo>
                    <a:lnTo>
                      <a:pt x="1161" y="690"/>
                    </a:lnTo>
                    <a:lnTo>
                      <a:pt x="1152" y="688"/>
                    </a:lnTo>
                    <a:lnTo>
                      <a:pt x="1155" y="680"/>
                    </a:lnTo>
                    <a:lnTo>
                      <a:pt x="1154" y="675"/>
                    </a:lnTo>
                    <a:lnTo>
                      <a:pt x="1175" y="673"/>
                    </a:lnTo>
                    <a:lnTo>
                      <a:pt x="1175" y="669"/>
                    </a:lnTo>
                    <a:lnTo>
                      <a:pt x="1177" y="661"/>
                    </a:lnTo>
                    <a:lnTo>
                      <a:pt x="1175" y="657"/>
                    </a:lnTo>
                    <a:lnTo>
                      <a:pt x="1155" y="655"/>
                    </a:lnTo>
                    <a:lnTo>
                      <a:pt x="1129" y="659"/>
                    </a:lnTo>
                    <a:lnTo>
                      <a:pt x="1106" y="661"/>
                    </a:lnTo>
                    <a:lnTo>
                      <a:pt x="1107" y="657"/>
                    </a:lnTo>
                    <a:lnTo>
                      <a:pt x="1111" y="652"/>
                    </a:lnTo>
                    <a:lnTo>
                      <a:pt x="1113" y="650"/>
                    </a:lnTo>
                    <a:lnTo>
                      <a:pt x="1134" y="652"/>
                    </a:lnTo>
                    <a:lnTo>
                      <a:pt x="1155" y="652"/>
                    </a:lnTo>
                    <a:lnTo>
                      <a:pt x="1178" y="650"/>
                    </a:lnTo>
                    <a:lnTo>
                      <a:pt x="1178" y="638"/>
                    </a:lnTo>
                    <a:lnTo>
                      <a:pt x="1173" y="636"/>
                    </a:lnTo>
                    <a:lnTo>
                      <a:pt x="1167" y="638"/>
                    </a:lnTo>
                    <a:lnTo>
                      <a:pt x="1163" y="638"/>
                    </a:lnTo>
                    <a:lnTo>
                      <a:pt x="1159" y="630"/>
                    </a:lnTo>
                    <a:lnTo>
                      <a:pt x="1138" y="629"/>
                    </a:lnTo>
                    <a:lnTo>
                      <a:pt x="1119" y="630"/>
                    </a:lnTo>
                    <a:lnTo>
                      <a:pt x="1102" y="634"/>
                    </a:lnTo>
                    <a:lnTo>
                      <a:pt x="1111" y="627"/>
                    </a:lnTo>
                    <a:lnTo>
                      <a:pt x="1107" y="617"/>
                    </a:lnTo>
                    <a:lnTo>
                      <a:pt x="1113" y="615"/>
                    </a:lnTo>
                    <a:lnTo>
                      <a:pt x="1117" y="617"/>
                    </a:lnTo>
                    <a:lnTo>
                      <a:pt x="1119" y="621"/>
                    </a:lnTo>
                    <a:lnTo>
                      <a:pt x="1121" y="623"/>
                    </a:lnTo>
                    <a:lnTo>
                      <a:pt x="1129" y="623"/>
                    </a:lnTo>
                    <a:lnTo>
                      <a:pt x="1134" y="619"/>
                    </a:lnTo>
                    <a:lnTo>
                      <a:pt x="1144" y="619"/>
                    </a:lnTo>
                    <a:lnTo>
                      <a:pt x="1157" y="623"/>
                    </a:lnTo>
                    <a:lnTo>
                      <a:pt x="1182" y="632"/>
                    </a:lnTo>
                    <a:lnTo>
                      <a:pt x="1198" y="638"/>
                    </a:lnTo>
                    <a:lnTo>
                      <a:pt x="1202" y="642"/>
                    </a:lnTo>
                    <a:lnTo>
                      <a:pt x="1202" y="648"/>
                    </a:lnTo>
                    <a:lnTo>
                      <a:pt x="1205" y="654"/>
                    </a:lnTo>
                    <a:lnTo>
                      <a:pt x="1219" y="669"/>
                    </a:lnTo>
                    <a:lnTo>
                      <a:pt x="1238" y="680"/>
                    </a:lnTo>
                    <a:lnTo>
                      <a:pt x="1259" y="684"/>
                    </a:lnTo>
                    <a:lnTo>
                      <a:pt x="1265" y="684"/>
                    </a:lnTo>
                    <a:lnTo>
                      <a:pt x="1263" y="684"/>
                    </a:lnTo>
                    <a:lnTo>
                      <a:pt x="1265" y="684"/>
                    </a:lnTo>
                    <a:lnTo>
                      <a:pt x="1271" y="686"/>
                    </a:lnTo>
                    <a:lnTo>
                      <a:pt x="1274" y="688"/>
                    </a:lnTo>
                    <a:lnTo>
                      <a:pt x="1278" y="677"/>
                    </a:lnTo>
                    <a:lnTo>
                      <a:pt x="1274" y="677"/>
                    </a:lnTo>
                    <a:lnTo>
                      <a:pt x="1271" y="675"/>
                    </a:lnTo>
                    <a:lnTo>
                      <a:pt x="1271" y="673"/>
                    </a:lnTo>
                    <a:lnTo>
                      <a:pt x="1273" y="667"/>
                    </a:lnTo>
                    <a:lnTo>
                      <a:pt x="1276" y="657"/>
                    </a:lnTo>
                    <a:lnTo>
                      <a:pt x="1278" y="654"/>
                    </a:lnTo>
                    <a:lnTo>
                      <a:pt x="1271" y="654"/>
                    </a:lnTo>
                    <a:lnTo>
                      <a:pt x="1269" y="648"/>
                    </a:lnTo>
                    <a:lnTo>
                      <a:pt x="1269" y="640"/>
                    </a:lnTo>
                    <a:lnTo>
                      <a:pt x="1267" y="634"/>
                    </a:lnTo>
                    <a:lnTo>
                      <a:pt x="1263" y="632"/>
                    </a:lnTo>
                    <a:lnTo>
                      <a:pt x="1259" y="634"/>
                    </a:lnTo>
                    <a:lnTo>
                      <a:pt x="1255" y="634"/>
                    </a:lnTo>
                    <a:lnTo>
                      <a:pt x="1255" y="627"/>
                    </a:lnTo>
                    <a:lnTo>
                      <a:pt x="1251" y="625"/>
                    </a:lnTo>
                    <a:lnTo>
                      <a:pt x="1248" y="627"/>
                    </a:lnTo>
                    <a:lnTo>
                      <a:pt x="1244" y="627"/>
                    </a:lnTo>
                    <a:lnTo>
                      <a:pt x="1244" y="625"/>
                    </a:lnTo>
                    <a:lnTo>
                      <a:pt x="1246" y="621"/>
                    </a:lnTo>
                    <a:lnTo>
                      <a:pt x="1248" y="619"/>
                    </a:lnTo>
                    <a:lnTo>
                      <a:pt x="1246" y="615"/>
                    </a:lnTo>
                    <a:lnTo>
                      <a:pt x="1242" y="613"/>
                    </a:lnTo>
                    <a:lnTo>
                      <a:pt x="1240" y="611"/>
                    </a:lnTo>
                    <a:lnTo>
                      <a:pt x="1228" y="607"/>
                    </a:lnTo>
                    <a:lnTo>
                      <a:pt x="1225" y="607"/>
                    </a:lnTo>
                    <a:lnTo>
                      <a:pt x="1223" y="605"/>
                    </a:lnTo>
                    <a:lnTo>
                      <a:pt x="1223" y="602"/>
                    </a:lnTo>
                    <a:lnTo>
                      <a:pt x="1228" y="604"/>
                    </a:lnTo>
                    <a:lnTo>
                      <a:pt x="1251" y="615"/>
                    </a:lnTo>
                    <a:lnTo>
                      <a:pt x="1267" y="617"/>
                    </a:lnTo>
                    <a:lnTo>
                      <a:pt x="1271" y="613"/>
                    </a:lnTo>
                    <a:lnTo>
                      <a:pt x="1259" y="607"/>
                    </a:lnTo>
                    <a:lnTo>
                      <a:pt x="1267" y="600"/>
                    </a:lnTo>
                    <a:lnTo>
                      <a:pt x="1269" y="600"/>
                    </a:lnTo>
                    <a:lnTo>
                      <a:pt x="1263" y="598"/>
                    </a:lnTo>
                    <a:lnTo>
                      <a:pt x="1255" y="596"/>
                    </a:lnTo>
                    <a:lnTo>
                      <a:pt x="1259" y="592"/>
                    </a:lnTo>
                    <a:lnTo>
                      <a:pt x="1271" y="588"/>
                    </a:lnTo>
                    <a:lnTo>
                      <a:pt x="1271" y="584"/>
                    </a:lnTo>
                    <a:lnTo>
                      <a:pt x="1269" y="580"/>
                    </a:lnTo>
                    <a:lnTo>
                      <a:pt x="1271" y="577"/>
                    </a:lnTo>
                    <a:lnTo>
                      <a:pt x="1267" y="575"/>
                    </a:lnTo>
                    <a:lnTo>
                      <a:pt x="1259" y="575"/>
                    </a:lnTo>
                    <a:lnTo>
                      <a:pt x="1255" y="573"/>
                    </a:lnTo>
                    <a:lnTo>
                      <a:pt x="1255" y="569"/>
                    </a:lnTo>
                    <a:lnTo>
                      <a:pt x="1240" y="569"/>
                    </a:lnTo>
                    <a:lnTo>
                      <a:pt x="1248" y="569"/>
                    </a:lnTo>
                    <a:lnTo>
                      <a:pt x="1249" y="567"/>
                    </a:lnTo>
                    <a:lnTo>
                      <a:pt x="1249" y="563"/>
                    </a:lnTo>
                    <a:lnTo>
                      <a:pt x="1251" y="561"/>
                    </a:lnTo>
                    <a:lnTo>
                      <a:pt x="1244" y="557"/>
                    </a:lnTo>
                    <a:lnTo>
                      <a:pt x="1228" y="554"/>
                    </a:lnTo>
                    <a:lnTo>
                      <a:pt x="1223" y="552"/>
                    </a:lnTo>
                    <a:lnTo>
                      <a:pt x="1217" y="548"/>
                    </a:lnTo>
                    <a:lnTo>
                      <a:pt x="1213" y="546"/>
                    </a:lnTo>
                    <a:lnTo>
                      <a:pt x="1278" y="546"/>
                    </a:lnTo>
                    <a:lnTo>
                      <a:pt x="1278" y="538"/>
                    </a:lnTo>
                    <a:lnTo>
                      <a:pt x="1284" y="536"/>
                    </a:lnTo>
                    <a:lnTo>
                      <a:pt x="1290" y="536"/>
                    </a:lnTo>
                    <a:lnTo>
                      <a:pt x="1297" y="534"/>
                    </a:lnTo>
                    <a:lnTo>
                      <a:pt x="1297" y="515"/>
                    </a:lnTo>
                    <a:lnTo>
                      <a:pt x="1288" y="513"/>
                    </a:lnTo>
                    <a:lnTo>
                      <a:pt x="1280" y="513"/>
                    </a:lnTo>
                    <a:lnTo>
                      <a:pt x="1274" y="511"/>
                    </a:lnTo>
                    <a:lnTo>
                      <a:pt x="1271" y="523"/>
                    </a:lnTo>
                    <a:lnTo>
                      <a:pt x="1267" y="527"/>
                    </a:lnTo>
                    <a:lnTo>
                      <a:pt x="1267" y="515"/>
                    </a:lnTo>
                    <a:lnTo>
                      <a:pt x="1261" y="513"/>
                    </a:lnTo>
                    <a:lnTo>
                      <a:pt x="1259" y="513"/>
                    </a:lnTo>
                    <a:lnTo>
                      <a:pt x="1255" y="511"/>
                    </a:lnTo>
                    <a:lnTo>
                      <a:pt x="1255" y="506"/>
                    </a:lnTo>
                    <a:lnTo>
                      <a:pt x="1257" y="500"/>
                    </a:lnTo>
                    <a:lnTo>
                      <a:pt x="1259" y="500"/>
                    </a:lnTo>
                    <a:lnTo>
                      <a:pt x="1259" y="484"/>
                    </a:lnTo>
                    <a:lnTo>
                      <a:pt x="1265" y="484"/>
                    </a:lnTo>
                    <a:lnTo>
                      <a:pt x="1269" y="488"/>
                    </a:lnTo>
                    <a:lnTo>
                      <a:pt x="1271" y="492"/>
                    </a:lnTo>
                    <a:lnTo>
                      <a:pt x="1263" y="492"/>
                    </a:lnTo>
                    <a:lnTo>
                      <a:pt x="1263" y="507"/>
                    </a:lnTo>
                    <a:lnTo>
                      <a:pt x="1271" y="507"/>
                    </a:lnTo>
                    <a:lnTo>
                      <a:pt x="1280" y="506"/>
                    </a:lnTo>
                    <a:lnTo>
                      <a:pt x="1290" y="507"/>
                    </a:lnTo>
                    <a:lnTo>
                      <a:pt x="1290" y="500"/>
                    </a:lnTo>
                    <a:lnTo>
                      <a:pt x="1271" y="490"/>
                    </a:lnTo>
                    <a:lnTo>
                      <a:pt x="1288" y="492"/>
                    </a:lnTo>
                    <a:lnTo>
                      <a:pt x="1309" y="496"/>
                    </a:lnTo>
                    <a:lnTo>
                      <a:pt x="1313" y="504"/>
                    </a:lnTo>
                    <a:lnTo>
                      <a:pt x="1322" y="504"/>
                    </a:lnTo>
                    <a:lnTo>
                      <a:pt x="1330" y="500"/>
                    </a:lnTo>
                    <a:lnTo>
                      <a:pt x="1336" y="500"/>
                    </a:lnTo>
                    <a:lnTo>
                      <a:pt x="1332" y="488"/>
                    </a:lnTo>
                    <a:lnTo>
                      <a:pt x="1319" y="490"/>
                    </a:lnTo>
                    <a:lnTo>
                      <a:pt x="1305" y="490"/>
                    </a:lnTo>
                    <a:lnTo>
                      <a:pt x="1294" y="492"/>
                    </a:lnTo>
                    <a:lnTo>
                      <a:pt x="1296" y="486"/>
                    </a:lnTo>
                    <a:lnTo>
                      <a:pt x="1297" y="477"/>
                    </a:lnTo>
                    <a:lnTo>
                      <a:pt x="1297" y="473"/>
                    </a:lnTo>
                    <a:lnTo>
                      <a:pt x="1292" y="473"/>
                    </a:lnTo>
                    <a:lnTo>
                      <a:pt x="1288" y="477"/>
                    </a:lnTo>
                    <a:lnTo>
                      <a:pt x="1286" y="481"/>
                    </a:lnTo>
                    <a:lnTo>
                      <a:pt x="1282" y="479"/>
                    </a:lnTo>
                    <a:lnTo>
                      <a:pt x="1282" y="475"/>
                    </a:lnTo>
                    <a:lnTo>
                      <a:pt x="1286" y="473"/>
                    </a:lnTo>
                    <a:lnTo>
                      <a:pt x="1286" y="469"/>
                    </a:lnTo>
                    <a:lnTo>
                      <a:pt x="1288" y="459"/>
                    </a:lnTo>
                    <a:lnTo>
                      <a:pt x="1286" y="454"/>
                    </a:lnTo>
                    <a:lnTo>
                      <a:pt x="1278" y="452"/>
                    </a:lnTo>
                    <a:lnTo>
                      <a:pt x="1267" y="450"/>
                    </a:lnTo>
                    <a:lnTo>
                      <a:pt x="1271" y="446"/>
                    </a:lnTo>
                    <a:lnTo>
                      <a:pt x="1301" y="446"/>
                    </a:lnTo>
                    <a:lnTo>
                      <a:pt x="1305" y="454"/>
                    </a:lnTo>
                    <a:lnTo>
                      <a:pt x="1309" y="458"/>
                    </a:lnTo>
                    <a:lnTo>
                      <a:pt x="1315" y="456"/>
                    </a:lnTo>
                    <a:lnTo>
                      <a:pt x="1317" y="452"/>
                    </a:lnTo>
                    <a:lnTo>
                      <a:pt x="1321" y="450"/>
                    </a:lnTo>
                    <a:lnTo>
                      <a:pt x="1317" y="436"/>
                    </a:lnTo>
                    <a:lnTo>
                      <a:pt x="1315" y="427"/>
                    </a:lnTo>
                    <a:lnTo>
                      <a:pt x="1313" y="415"/>
                    </a:lnTo>
                    <a:lnTo>
                      <a:pt x="1305" y="415"/>
                    </a:lnTo>
                    <a:lnTo>
                      <a:pt x="1307" y="409"/>
                    </a:lnTo>
                    <a:lnTo>
                      <a:pt x="1307" y="400"/>
                    </a:lnTo>
                    <a:lnTo>
                      <a:pt x="1290" y="396"/>
                    </a:lnTo>
                    <a:lnTo>
                      <a:pt x="1290" y="404"/>
                    </a:lnTo>
                    <a:lnTo>
                      <a:pt x="1286" y="404"/>
                    </a:lnTo>
                    <a:lnTo>
                      <a:pt x="1282" y="406"/>
                    </a:lnTo>
                    <a:lnTo>
                      <a:pt x="1282" y="404"/>
                    </a:lnTo>
                    <a:lnTo>
                      <a:pt x="1263" y="408"/>
                    </a:lnTo>
                    <a:lnTo>
                      <a:pt x="1276" y="396"/>
                    </a:lnTo>
                    <a:lnTo>
                      <a:pt x="1290" y="388"/>
                    </a:lnTo>
                    <a:lnTo>
                      <a:pt x="1286" y="383"/>
                    </a:lnTo>
                    <a:lnTo>
                      <a:pt x="1284" y="377"/>
                    </a:lnTo>
                    <a:lnTo>
                      <a:pt x="1282" y="369"/>
                    </a:lnTo>
                    <a:lnTo>
                      <a:pt x="1305" y="371"/>
                    </a:lnTo>
                    <a:lnTo>
                      <a:pt x="1328" y="375"/>
                    </a:lnTo>
                    <a:lnTo>
                      <a:pt x="1351" y="381"/>
                    </a:lnTo>
                    <a:lnTo>
                      <a:pt x="1351" y="375"/>
                    </a:lnTo>
                    <a:lnTo>
                      <a:pt x="1349" y="365"/>
                    </a:lnTo>
                    <a:lnTo>
                      <a:pt x="1351" y="361"/>
                    </a:lnTo>
                    <a:lnTo>
                      <a:pt x="1344" y="361"/>
                    </a:lnTo>
                    <a:lnTo>
                      <a:pt x="1340" y="346"/>
                    </a:lnTo>
                    <a:lnTo>
                      <a:pt x="1326" y="346"/>
                    </a:lnTo>
                    <a:lnTo>
                      <a:pt x="1328" y="350"/>
                    </a:lnTo>
                    <a:lnTo>
                      <a:pt x="1319" y="350"/>
                    </a:lnTo>
                    <a:lnTo>
                      <a:pt x="1321" y="350"/>
                    </a:lnTo>
                    <a:lnTo>
                      <a:pt x="1309" y="348"/>
                    </a:lnTo>
                    <a:lnTo>
                      <a:pt x="1299" y="344"/>
                    </a:lnTo>
                    <a:lnTo>
                      <a:pt x="1301" y="342"/>
                    </a:lnTo>
                    <a:lnTo>
                      <a:pt x="1301" y="331"/>
                    </a:lnTo>
                    <a:lnTo>
                      <a:pt x="1309" y="333"/>
                    </a:lnTo>
                    <a:lnTo>
                      <a:pt x="1315" y="335"/>
                    </a:lnTo>
                    <a:lnTo>
                      <a:pt x="1324" y="335"/>
                    </a:lnTo>
                    <a:lnTo>
                      <a:pt x="1322" y="331"/>
                    </a:lnTo>
                    <a:lnTo>
                      <a:pt x="1322" y="327"/>
                    </a:lnTo>
                    <a:lnTo>
                      <a:pt x="1321" y="323"/>
                    </a:lnTo>
                    <a:lnTo>
                      <a:pt x="1311" y="319"/>
                    </a:lnTo>
                    <a:lnTo>
                      <a:pt x="1301" y="319"/>
                    </a:lnTo>
                    <a:lnTo>
                      <a:pt x="1288" y="317"/>
                    </a:lnTo>
                    <a:lnTo>
                      <a:pt x="1276" y="317"/>
                    </a:lnTo>
                    <a:lnTo>
                      <a:pt x="1267" y="315"/>
                    </a:lnTo>
                    <a:lnTo>
                      <a:pt x="1267" y="300"/>
                    </a:lnTo>
                    <a:lnTo>
                      <a:pt x="1278" y="302"/>
                    </a:lnTo>
                    <a:lnTo>
                      <a:pt x="1288" y="302"/>
                    </a:lnTo>
                    <a:lnTo>
                      <a:pt x="1297" y="304"/>
                    </a:lnTo>
                    <a:lnTo>
                      <a:pt x="1297" y="308"/>
                    </a:lnTo>
                    <a:lnTo>
                      <a:pt x="1305" y="311"/>
                    </a:lnTo>
                    <a:lnTo>
                      <a:pt x="1305" y="306"/>
                    </a:lnTo>
                    <a:lnTo>
                      <a:pt x="1307" y="300"/>
                    </a:lnTo>
                    <a:lnTo>
                      <a:pt x="1309" y="292"/>
                    </a:lnTo>
                    <a:lnTo>
                      <a:pt x="1315" y="286"/>
                    </a:lnTo>
                    <a:lnTo>
                      <a:pt x="1322" y="283"/>
                    </a:lnTo>
                    <a:lnTo>
                      <a:pt x="1328" y="277"/>
                    </a:lnTo>
                    <a:lnTo>
                      <a:pt x="1328" y="242"/>
                    </a:lnTo>
                    <a:lnTo>
                      <a:pt x="1363" y="242"/>
                    </a:lnTo>
                    <a:lnTo>
                      <a:pt x="1363" y="227"/>
                    </a:lnTo>
                    <a:lnTo>
                      <a:pt x="1372" y="217"/>
                    </a:lnTo>
                    <a:lnTo>
                      <a:pt x="1357" y="210"/>
                    </a:lnTo>
                    <a:lnTo>
                      <a:pt x="1332" y="208"/>
                    </a:lnTo>
                    <a:lnTo>
                      <a:pt x="1313" y="217"/>
                    </a:lnTo>
                    <a:lnTo>
                      <a:pt x="1305" y="208"/>
                    </a:lnTo>
                    <a:lnTo>
                      <a:pt x="1303" y="204"/>
                    </a:lnTo>
                    <a:lnTo>
                      <a:pt x="1303" y="196"/>
                    </a:lnTo>
                    <a:lnTo>
                      <a:pt x="1313" y="196"/>
                    </a:lnTo>
                    <a:lnTo>
                      <a:pt x="1322" y="192"/>
                    </a:lnTo>
                    <a:lnTo>
                      <a:pt x="1332" y="192"/>
                    </a:lnTo>
                    <a:lnTo>
                      <a:pt x="1355" y="198"/>
                    </a:lnTo>
                    <a:lnTo>
                      <a:pt x="1380" y="202"/>
                    </a:lnTo>
                    <a:lnTo>
                      <a:pt x="1401" y="196"/>
                    </a:lnTo>
                    <a:lnTo>
                      <a:pt x="1403" y="192"/>
                    </a:lnTo>
                    <a:lnTo>
                      <a:pt x="1407" y="188"/>
                    </a:lnTo>
                    <a:lnTo>
                      <a:pt x="1409" y="185"/>
                    </a:lnTo>
                    <a:lnTo>
                      <a:pt x="1411" y="185"/>
                    </a:lnTo>
                    <a:lnTo>
                      <a:pt x="1415" y="183"/>
                    </a:lnTo>
                    <a:lnTo>
                      <a:pt x="1416" y="181"/>
                    </a:lnTo>
                    <a:lnTo>
                      <a:pt x="1416" y="173"/>
                    </a:lnTo>
                    <a:lnTo>
                      <a:pt x="1411" y="171"/>
                    </a:lnTo>
                    <a:lnTo>
                      <a:pt x="1405" y="171"/>
                    </a:lnTo>
                    <a:lnTo>
                      <a:pt x="1401" y="169"/>
                    </a:lnTo>
                    <a:lnTo>
                      <a:pt x="1392" y="173"/>
                    </a:lnTo>
                    <a:lnTo>
                      <a:pt x="1374" y="177"/>
                    </a:lnTo>
                    <a:lnTo>
                      <a:pt x="1363" y="181"/>
                    </a:lnTo>
                    <a:lnTo>
                      <a:pt x="1342" y="179"/>
                    </a:lnTo>
                    <a:lnTo>
                      <a:pt x="1340" y="175"/>
                    </a:lnTo>
                    <a:lnTo>
                      <a:pt x="1359" y="169"/>
                    </a:lnTo>
                    <a:lnTo>
                      <a:pt x="1424" y="169"/>
                    </a:lnTo>
                    <a:lnTo>
                      <a:pt x="1424" y="162"/>
                    </a:lnTo>
                    <a:lnTo>
                      <a:pt x="1434" y="160"/>
                    </a:lnTo>
                    <a:lnTo>
                      <a:pt x="1441" y="160"/>
                    </a:lnTo>
                    <a:lnTo>
                      <a:pt x="1451" y="158"/>
                    </a:lnTo>
                    <a:lnTo>
                      <a:pt x="1451" y="156"/>
                    </a:lnTo>
                    <a:lnTo>
                      <a:pt x="1453" y="150"/>
                    </a:lnTo>
                    <a:lnTo>
                      <a:pt x="1455" y="146"/>
                    </a:lnTo>
                    <a:lnTo>
                      <a:pt x="1468" y="142"/>
                    </a:lnTo>
                    <a:lnTo>
                      <a:pt x="1480" y="142"/>
                    </a:lnTo>
                    <a:lnTo>
                      <a:pt x="1493" y="139"/>
                    </a:lnTo>
                    <a:lnTo>
                      <a:pt x="1497" y="131"/>
                    </a:lnTo>
                    <a:lnTo>
                      <a:pt x="1486" y="119"/>
                    </a:lnTo>
                    <a:lnTo>
                      <a:pt x="1453" y="115"/>
                    </a:lnTo>
                    <a:lnTo>
                      <a:pt x="1367" y="115"/>
                    </a:lnTo>
                    <a:lnTo>
                      <a:pt x="1367" y="123"/>
                    </a:lnTo>
                    <a:lnTo>
                      <a:pt x="1344" y="129"/>
                    </a:lnTo>
                    <a:lnTo>
                      <a:pt x="1332" y="129"/>
                    </a:lnTo>
                    <a:lnTo>
                      <a:pt x="1313" y="127"/>
                    </a:lnTo>
                    <a:lnTo>
                      <a:pt x="1313" y="135"/>
                    </a:lnTo>
                    <a:lnTo>
                      <a:pt x="1309" y="135"/>
                    </a:lnTo>
                    <a:lnTo>
                      <a:pt x="1305" y="123"/>
                    </a:lnTo>
                    <a:lnTo>
                      <a:pt x="1301" y="119"/>
                    </a:lnTo>
                    <a:lnTo>
                      <a:pt x="1282" y="139"/>
                    </a:lnTo>
                    <a:lnTo>
                      <a:pt x="1267" y="139"/>
                    </a:lnTo>
                    <a:lnTo>
                      <a:pt x="1263" y="142"/>
                    </a:lnTo>
                    <a:lnTo>
                      <a:pt x="1259" y="150"/>
                    </a:lnTo>
                    <a:lnTo>
                      <a:pt x="1255" y="154"/>
                    </a:lnTo>
                    <a:lnTo>
                      <a:pt x="1236" y="158"/>
                    </a:lnTo>
                    <a:lnTo>
                      <a:pt x="1198" y="158"/>
                    </a:lnTo>
                    <a:lnTo>
                      <a:pt x="1198" y="156"/>
                    </a:lnTo>
                    <a:lnTo>
                      <a:pt x="1196" y="152"/>
                    </a:lnTo>
                    <a:lnTo>
                      <a:pt x="1194" y="150"/>
                    </a:lnTo>
                    <a:lnTo>
                      <a:pt x="1198" y="148"/>
                    </a:lnTo>
                    <a:lnTo>
                      <a:pt x="1202" y="144"/>
                    </a:lnTo>
                    <a:lnTo>
                      <a:pt x="1205" y="142"/>
                    </a:lnTo>
                    <a:lnTo>
                      <a:pt x="1213" y="142"/>
                    </a:lnTo>
                    <a:lnTo>
                      <a:pt x="1217" y="146"/>
                    </a:lnTo>
                    <a:lnTo>
                      <a:pt x="1225" y="146"/>
                    </a:lnTo>
                    <a:lnTo>
                      <a:pt x="1228" y="139"/>
                    </a:lnTo>
                    <a:lnTo>
                      <a:pt x="1238" y="133"/>
                    </a:lnTo>
                    <a:lnTo>
                      <a:pt x="1244" y="129"/>
                    </a:lnTo>
                    <a:lnTo>
                      <a:pt x="1248" y="127"/>
                    </a:lnTo>
                    <a:lnTo>
                      <a:pt x="1249" y="123"/>
                    </a:lnTo>
                    <a:lnTo>
                      <a:pt x="1253" y="117"/>
                    </a:lnTo>
                    <a:lnTo>
                      <a:pt x="1259" y="108"/>
                    </a:lnTo>
                    <a:lnTo>
                      <a:pt x="1246" y="106"/>
                    </a:lnTo>
                    <a:lnTo>
                      <a:pt x="1226" y="102"/>
                    </a:lnTo>
                    <a:lnTo>
                      <a:pt x="1209" y="104"/>
                    </a:lnTo>
                    <a:lnTo>
                      <a:pt x="1207" y="110"/>
                    </a:lnTo>
                    <a:lnTo>
                      <a:pt x="1207" y="117"/>
                    </a:lnTo>
                    <a:lnTo>
                      <a:pt x="1198" y="123"/>
                    </a:lnTo>
                    <a:lnTo>
                      <a:pt x="1182" y="125"/>
                    </a:lnTo>
                    <a:lnTo>
                      <a:pt x="1167" y="123"/>
                    </a:lnTo>
                    <a:lnTo>
                      <a:pt x="1152" y="123"/>
                    </a:lnTo>
                    <a:lnTo>
                      <a:pt x="1154" y="119"/>
                    </a:lnTo>
                    <a:lnTo>
                      <a:pt x="1154" y="110"/>
                    </a:lnTo>
                    <a:lnTo>
                      <a:pt x="1152" y="104"/>
                    </a:lnTo>
                    <a:lnTo>
                      <a:pt x="1129" y="102"/>
                    </a:lnTo>
                    <a:lnTo>
                      <a:pt x="1104" y="106"/>
                    </a:lnTo>
                    <a:lnTo>
                      <a:pt x="1086" y="108"/>
                    </a:lnTo>
                    <a:lnTo>
                      <a:pt x="1073" y="108"/>
                    </a:lnTo>
                    <a:lnTo>
                      <a:pt x="1059" y="106"/>
                    </a:lnTo>
                    <a:lnTo>
                      <a:pt x="1048" y="104"/>
                    </a:lnTo>
                    <a:lnTo>
                      <a:pt x="1033" y="108"/>
                    </a:lnTo>
                    <a:lnTo>
                      <a:pt x="1017" y="115"/>
                    </a:lnTo>
                    <a:lnTo>
                      <a:pt x="1006" y="119"/>
                    </a:lnTo>
                    <a:lnTo>
                      <a:pt x="983" y="119"/>
                    </a:lnTo>
                    <a:lnTo>
                      <a:pt x="998" y="115"/>
                    </a:lnTo>
                    <a:lnTo>
                      <a:pt x="1029" y="104"/>
                    </a:lnTo>
                    <a:lnTo>
                      <a:pt x="1029" y="96"/>
                    </a:lnTo>
                    <a:lnTo>
                      <a:pt x="1040" y="94"/>
                    </a:lnTo>
                    <a:lnTo>
                      <a:pt x="1044" y="92"/>
                    </a:lnTo>
                    <a:lnTo>
                      <a:pt x="1081" y="90"/>
                    </a:lnTo>
                    <a:lnTo>
                      <a:pt x="1117" y="92"/>
                    </a:lnTo>
                    <a:lnTo>
                      <a:pt x="1144" y="96"/>
                    </a:lnTo>
                    <a:lnTo>
                      <a:pt x="1150" y="96"/>
                    </a:lnTo>
                    <a:lnTo>
                      <a:pt x="1157" y="94"/>
                    </a:lnTo>
                    <a:lnTo>
                      <a:pt x="1159" y="92"/>
                    </a:lnTo>
                    <a:lnTo>
                      <a:pt x="1171" y="94"/>
                    </a:lnTo>
                    <a:lnTo>
                      <a:pt x="1184" y="94"/>
                    </a:lnTo>
                    <a:lnTo>
                      <a:pt x="1190" y="96"/>
                    </a:lnTo>
                    <a:lnTo>
                      <a:pt x="1202" y="94"/>
                    </a:lnTo>
                    <a:lnTo>
                      <a:pt x="1215" y="94"/>
                    </a:lnTo>
                    <a:lnTo>
                      <a:pt x="1221" y="92"/>
                    </a:lnTo>
                    <a:lnTo>
                      <a:pt x="1236" y="94"/>
                    </a:lnTo>
                    <a:lnTo>
                      <a:pt x="1255" y="94"/>
                    </a:lnTo>
                    <a:lnTo>
                      <a:pt x="1271" y="92"/>
                    </a:lnTo>
                    <a:lnTo>
                      <a:pt x="1276" y="89"/>
                    </a:lnTo>
                    <a:lnTo>
                      <a:pt x="1288" y="79"/>
                    </a:lnTo>
                    <a:lnTo>
                      <a:pt x="1297" y="73"/>
                    </a:lnTo>
                    <a:lnTo>
                      <a:pt x="1290" y="69"/>
                    </a:lnTo>
                    <a:lnTo>
                      <a:pt x="1280" y="62"/>
                    </a:lnTo>
                    <a:lnTo>
                      <a:pt x="1274" y="58"/>
                    </a:lnTo>
                    <a:lnTo>
                      <a:pt x="1263" y="58"/>
                    </a:lnTo>
                    <a:lnTo>
                      <a:pt x="1251" y="62"/>
                    </a:lnTo>
                    <a:lnTo>
                      <a:pt x="1244" y="62"/>
                    </a:lnTo>
                    <a:lnTo>
                      <a:pt x="1242" y="60"/>
                    </a:lnTo>
                    <a:lnTo>
                      <a:pt x="1240" y="54"/>
                    </a:lnTo>
                    <a:lnTo>
                      <a:pt x="1240" y="50"/>
                    </a:lnTo>
                    <a:lnTo>
                      <a:pt x="1219" y="50"/>
                    </a:lnTo>
                    <a:lnTo>
                      <a:pt x="1202" y="52"/>
                    </a:lnTo>
                    <a:lnTo>
                      <a:pt x="1178" y="58"/>
                    </a:lnTo>
                    <a:lnTo>
                      <a:pt x="1182" y="56"/>
                    </a:lnTo>
                    <a:lnTo>
                      <a:pt x="1202" y="50"/>
                    </a:lnTo>
                    <a:lnTo>
                      <a:pt x="1198" y="31"/>
                    </a:lnTo>
                    <a:lnTo>
                      <a:pt x="1194" y="29"/>
                    </a:lnTo>
                    <a:lnTo>
                      <a:pt x="1188" y="25"/>
                    </a:lnTo>
                    <a:lnTo>
                      <a:pt x="1186" y="23"/>
                    </a:lnTo>
                    <a:lnTo>
                      <a:pt x="1175" y="25"/>
                    </a:lnTo>
                    <a:lnTo>
                      <a:pt x="1169" y="31"/>
                    </a:lnTo>
                    <a:lnTo>
                      <a:pt x="1163" y="35"/>
                    </a:lnTo>
                    <a:lnTo>
                      <a:pt x="1152" y="37"/>
                    </a:lnTo>
                    <a:lnTo>
                      <a:pt x="1142" y="39"/>
                    </a:lnTo>
                    <a:lnTo>
                      <a:pt x="1132" y="39"/>
                    </a:lnTo>
                    <a:lnTo>
                      <a:pt x="1140" y="33"/>
                    </a:lnTo>
                    <a:lnTo>
                      <a:pt x="1150" y="27"/>
                    </a:lnTo>
                    <a:lnTo>
                      <a:pt x="1159" y="19"/>
                    </a:lnTo>
                    <a:lnTo>
                      <a:pt x="1159" y="12"/>
                    </a:lnTo>
                    <a:lnTo>
                      <a:pt x="1140" y="14"/>
                    </a:lnTo>
                    <a:lnTo>
                      <a:pt x="1123" y="14"/>
                    </a:lnTo>
                    <a:lnTo>
                      <a:pt x="1106" y="12"/>
                    </a:lnTo>
                    <a:lnTo>
                      <a:pt x="1098" y="10"/>
                    </a:lnTo>
                    <a:lnTo>
                      <a:pt x="1088" y="6"/>
                    </a:lnTo>
                    <a:lnTo>
                      <a:pt x="1083" y="4"/>
                    </a:lnTo>
                    <a:lnTo>
                      <a:pt x="1071" y="6"/>
                    </a:lnTo>
                    <a:lnTo>
                      <a:pt x="1056" y="12"/>
                    </a:lnTo>
                    <a:lnTo>
                      <a:pt x="1040" y="12"/>
                    </a:lnTo>
                    <a:lnTo>
                      <a:pt x="1040" y="8"/>
                    </a:lnTo>
                    <a:lnTo>
                      <a:pt x="1021" y="8"/>
                    </a:lnTo>
                    <a:lnTo>
                      <a:pt x="1017" y="0"/>
                    </a:lnTo>
                    <a:lnTo>
                      <a:pt x="983" y="0"/>
                    </a:lnTo>
                    <a:lnTo>
                      <a:pt x="946" y="4"/>
                    </a:lnTo>
                    <a:lnTo>
                      <a:pt x="906" y="4"/>
                    </a:lnTo>
                    <a:lnTo>
                      <a:pt x="898" y="2"/>
                    </a:lnTo>
                    <a:lnTo>
                      <a:pt x="889" y="0"/>
                    </a:lnTo>
                    <a:lnTo>
                      <a:pt x="879" y="0"/>
                    </a:lnTo>
                    <a:lnTo>
                      <a:pt x="877" y="2"/>
                    </a:lnTo>
                    <a:lnTo>
                      <a:pt x="875" y="8"/>
                    </a:lnTo>
                    <a:lnTo>
                      <a:pt x="875" y="12"/>
                    </a:lnTo>
                    <a:lnTo>
                      <a:pt x="866" y="10"/>
                    </a:lnTo>
                    <a:lnTo>
                      <a:pt x="858" y="6"/>
                    </a:lnTo>
                    <a:lnTo>
                      <a:pt x="852" y="4"/>
                    </a:lnTo>
                    <a:lnTo>
                      <a:pt x="852" y="19"/>
                    </a:lnTo>
                    <a:lnTo>
                      <a:pt x="845" y="19"/>
                    </a:lnTo>
                    <a:lnTo>
                      <a:pt x="833" y="16"/>
                    </a:lnTo>
                    <a:lnTo>
                      <a:pt x="821" y="16"/>
                    </a:lnTo>
                    <a:lnTo>
                      <a:pt x="818" y="27"/>
                    </a:lnTo>
                    <a:lnTo>
                      <a:pt x="821" y="27"/>
                    </a:lnTo>
                    <a:lnTo>
                      <a:pt x="825" y="31"/>
                    </a:lnTo>
                    <a:lnTo>
                      <a:pt x="806" y="31"/>
                    </a:lnTo>
                    <a:lnTo>
                      <a:pt x="804" y="35"/>
                    </a:lnTo>
                    <a:lnTo>
                      <a:pt x="802" y="40"/>
                    </a:lnTo>
                    <a:lnTo>
                      <a:pt x="806" y="42"/>
                    </a:lnTo>
                    <a:lnTo>
                      <a:pt x="808" y="44"/>
                    </a:lnTo>
                    <a:lnTo>
                      <a:pt x="810" y="48"/>
                    </a:lnTo>
                    <a:lnTo>
                      <a:pt x="810" y="50"/>
                    </a:lnTo>
                    <a:lnTo>
                      <a:pt x="802" y="48"/>
                    </a:lnTo>
                    <a:lnTo>
                      <a:pt x="798" y="44"/>
                    </a:lnTo>
                    <a:lnTo>
                      <a:pt x="795" y="39"/>
                    </a:lnTo>
                    <a:lnTo>
                      <a:pt x="789" y="42"/>
                    </a:lnTo>
                    <a:lnTo>
                      <a:pt x="787" y="42"/>
                    </a:lnTo>
                    <a:lnTo>
                      <a:pt x="779" y="46"/>
                    </a:lnTo>
                    <a:lnTo>
                      <a:pt x="781" y="48"/>
                    </a:lnTo>
                    <a:lnTo>
                      <a:pt x="781" y="54"/>
                    </a:lnTo>
                    <a:lnTo>
                      <a:pt x="783" y="58"/>
                    </a:lnTo>
                    <a:lnTo>
                      <a:pt x="775" y="56"/>
                    </a:lnTo>
                    <a:lnTo>
                      <a:pt x="770" y="54"/>
                    </a:lnTo>
                    <a:lnTo>
                      <a:pt x="760" y="50"/>
                    </a:lnTo>
                    <a:lnTo>
                      <a:pt x="758" y="42"/>
                    </a:lnTo>
                    <a:lnTo>
                      <a:pt x="758" y="37"/>
                    </a:lnTo>
                    <a:lnTo>
                      <a:pt x="756" y="31"/>
                    </a:lnTo>
                    <a:lnTo>
                      <a:pt x="731" y="35"/>
                    </a:lnTo>
                    <a:lnTo>
                      <a:pt x="702" y="35"/>
                    </a:lnTo>
                    <a:lnTo>
                      <a:pt x="702" y="42"/>
                    </a:lnTo>
                    <a:lnTo>
                      <a:pt x="706" y="40"/>
                    </a:lnTo>
                    <a:lnTo>
                      <a:pt x="706" y="46"/>
                    </a:lnTo>
                    <a:lnTo>
                      <a:pt x="708" y="44"/>
                    </a:lnTo>
                    <a:lnTo>
                      <a:pt x="710" y="48"/>
                    </a:lnTo>
                    <a:lnTo>
                      <a:pt x="710" y="50"/>
                    </a:lnTo>
                    <a:lnTo>
                      <a:pt x="702" y="50"/>
                    </a:lnTo>
                    <a:lnTo>
                      <a:pt x="702" y="62"/>
                    </a:lnTo>
                    <a:lnTo>
                      <a:pt x="716" y="62"/>
                    </a:lnTo>
                    <a:lnTo>
                      <a:pt x="702" y="64"/>
                    </a:lnTo>
                    <a:lnTo>
                      <a:pt x="683" y="65"/>
                    </a:lnTo>
                    <a:lnTo>
                      <a:pt x="683" y="71"/>
                    </a:lnTo>
                    <a:lnTo>
                      <a:pt x="687" y="77"/>
                    </a:lnTo>
                    <a:lnTo>
                      <a:pt x="687" y="81"/>
                    </a:lnTo>
                    <a:lnTo>
                      <a:pt x="679" y="79"/>
                    </a:lnTo>
                    <a:lnTo>
                      <a:pt x="660" y="69"/>
                    </a:lnTo>
                    <a:lnTo>
                      <a:pt x="653" y="71"/>
                    </a:lnTo>
                    <a:lnTo>
                      <a:pt x="641" y="77"/>
                    </a:lnTo>
                    <a:lnTo>
                      <a:pt x="635" y="77"/>
                    </a:lnTo>
                    <a:lnTo>
                      <a:pt x="630" y="75"/>
                    </a:lnTo>
                    <a:lnTo>
                      <a:pt x="622" y="73"/>
                    </a:lnTo>
                    <a:lnTo>
                      <a:pt x="622" y="85"/>
                    </a:lnTo>
                    <a:lnTo>
                      <a:pt x="630" y="85"/>
                    </a:lnTo>
                    <a:lnTo>
                      <a:pt x="631" y="89"/>
                    </a:lnTo>
                    <a:lnTo>
                      <a:pt x="633" y="96"/>
                    </a:lnTo>
                    <a:lnTo>
                      <a:pt x="637" y="100"/>
                    </a:lnTo>
                    <a:lnTo>
                      <a:pt x="656" y="115"/>
                    </a:lnTo>
                    <a:lnTo>
                      <a:pt x="702" y="142"/>
                    </a:lnTo>
                    <a:lnTo>
                      <a:pt x="691" y="140"/>
                    </a:lnTo>
                    <a:lnTo>
                      <a:pt x="679" y="137"/>
                    </a:lnTo>
                    <a:lnTo>
                      <a:pt x="672" y="135"/>
                    </a:lnTo>
                    <a:lnTo>
                      <a:pt x="662" y="144"/>
                    </a:lnTo>
                    <a:lnTo>
                      <a:pt x="660" y="150"/>
                    </a:lnTo>
                    <a:lnTo>
                      <a:pt x="654" y="148"/>
                    </a:lnTo>
                    <a:lnTo>
                      <a:pt x="647" y="144"/>
                    </a:lnTo>
                    <a:lnTo>
                      <a:pt x="645" y="142"/>
                    </a:lnTo>
                    <a:lnTo>
                      <a:pt x="633" y="142"/>
                    </a:lnTo>
                    <a:lnTo>
                      <a:pt x="626" y="137"/>
                    </a:lnTo>
                    <a:lnTo>
                      <a:pt x="616" y="125"/>
                    </a:lnTo>
                    <a:lnTo>
                      <a:pt x="610" y="115"/>
                    </a:lnTo>
                    <a:lnTo>
                      <a:pt x="610" y="104"/>
                    </a:lnTo>
                    <a:lnTo>
                      <a:pt x="595" y="90"/>
                    </a:lnTo>
                    <a:lnTo>
                      <a:pt x="576" y="81"/>
                    </a:lnTo>
                    <a:lnTo>
                      <a:pt x="557" y="73"/>
                    </a:lnTo>
                    <a:lnTo>
                      <a:pt x="549" y="73"/>
                    </a:lnTo>
                    <a:lnTo>
                      <a:pt x="549" y="100"/>
                    </a:lnTo>
                    <a:lnTo>
                      <a:pt x="545" y="14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6" name="Freeform 194"/>
              <p:cNvSpPr>
                <a:spLocks/>
              </p:cNvSpPr>
              <p:nvPr/>
            </p:nvSpPr>
            <p:spPr bwMode="gray">
              <a:xfrm>
                <a:off x="3355" y="2169"/>
                <a:ext cx="2" cy="4"/>
              </a:xfrm>
              <a:custGeom>
                <a:avLst/>
                <a:gdLst>
                  <a:gd name="T0" fmla="*/ 0 w 4"/>
                  <a:gd name="T1" fmla="*/ 0 h 7"/>
                  <a:gd name="T2" fmla="*/ 4 w 4"/>
                  <a:gd name="T3" fmla="*/ 7 h 7"/>
                  <a:gd name="T4" fmla="*/ 4 w 4"/>
                  <a:gd name="T5" fmla="*/ 2 h 7"/>
                  <a:gd name="T6" fmla="*/ 0 w 4"/>
                  <a:gd name="T7" fmla="*/ 0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7"/>
                  <a:gd name="T14" fmla="*/ 4 w 4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7">
                    <a:moveTo>
                      <a:pt x="0" y="0"/>
                    </a:moveTo>
                    <a:lnTo>
                      <a:pt x="4" y="7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7" name="Freeform 195"/>
              <p:cNvSpPr>
                <a:spLocks/>
              </p:cNvSpPr>
              <p:nvPr/>
            </p:nvSpPr>
            <p:spPr bwMode="gray">
              <a:xfrm>
                <a:off x="3324" y="2217"/>
                <a:ext cx="33" cy="12"/>
              </a:xfrm>
              <a:custGeom>
                <a:avLst/>
                <a:gdLst>
                  <a:gd name="T0" fmla="*/ 4 w 65"/>
                  <a:gd name="T1" fmla="*/ 0 h 23"/>
                  <a:gd name="T2" fmla="*/ 0 w 65"/>
                  <a:gd name="T3" fmla="*/ 11 h 23"/>
                  <a:gd name="T4" fmla="*/ 21 w 65"/>
                  <a:gd name="T5" fmla="*/ 17 h 23"/>
                  <a:gd name="T6" fmla="*/ 40 w 65"/>
                  <a:gd name="T7" fmla="*/ 21 h 23"/>
                  <a:gd name="T8" fmla="*/ 65 w 65"/>
                  <a:gd name="T9" fmla="*/ 23 h 23"/>
                  <a:gd name="T10" fmla="*/ 63 w 65"/>
                  <a:gd name="T11" fmla="*/ 19 h 23"/>
                  <a:gd name="T12" fmla="*/ 61 w 65"/>
                  <a:gd name="T13" fmla="*/ 11 h 23"/>
                  <a:gd name="T14" fmla="*/ 61 w 65"/>
                  <a:gd name="T15" fmla="*/ 7 h 23"/>
                  <a:gd name="T16" fmla="*/ 40 w 65"/>
                  <a:gd name="T17" fmla="*/ 7 h 23"/>
                  <a:gd name="T18" fmla="*/ 23 w 65"/>
                  <a:gd name="T19" fmla="*/ 6 h 23"/>
                  <a:gd name="T20" fmla="*/ 4 w 65"/>
                  <a:gd name="T21" fmla="*/ 0 h 2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5"/>
                  <a:gd name="T34" fmla="*/ 0 h 23"/>
                  <a:gd name="T35" fmla="*/ 65 w 65"/>
                  <a:gd name="T36" fmla="*/ 23 h 2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5" h="23">
                    <a:moveTo>
                      <a:pt x="4" y="0"/>
                    </a:moveTo>
                    <a:lnTo>
                      <a:pt x="0" y="11"/>
                    </a:lnTo>
                    <a:lnTo>
                      <a:pt x="21" y="17"/>
                    </a:lnTo>
                    <a:lnTo>
                      <a:pt x="40" y="21"/>
                    </a:lnTo>
                    <a:lnTo>
                      <a:pt x="65" y="23"/>
                    </a:lnTo>
                    <a:lnTo>
                      <a:pt x="63" y="19"/>
                    </a:lnTo>
                    <a:lnTo>
                      <a:pt x="61" y="11"/>
                    </a:lnTo>
                    <a:lnTo>
                      <a:pt x="61" y="7"/>
                    </a:lnTo>
                    <a:lnTo>
                      <a:pt x="40" y="7"/>
                    </a:lnTo>
                    <a:lnTo>
                      <a:pt x="23" y="6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8" name="Freeform 196"/>
              <p:cNvSpPr>
                <a:spLocks/>
              </p:cNvSpPr>
              <p:nvPr/>
            </p:nvSpPr>
            <p:spPr bwMode="gray">
              <a:xfrm>
                <a:off x="3278" y="2146"/>
                <a:ext cx="2" cy="4"/>
              </a:xfrm>
              <a:custGeom>
                <a:avLst/>
                <a:gdLst>
                  <a:gd name="T0" fmla="*/ 0 w 4"/>
                  <a:gd name="T1" fmla="*/ 0 h 7"/>
                  <a:gd name="T2" fmla="*/ 4 w 4"/>
                  <a:gd name="T3" fmla="*/ 7 h 7"/>
                  <a:gd name="T4" fmla="*/ 4 w 4"/>
                  <a:gd name="T5" fmla="*/ 1 h 7"/>
                  <a:gd name="T6" fmla="*/ 0 w 4"/>
                  <a:gd name="T7" fmla="*/ 0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7"/>
                  <a:gd name="T14" fmla="*/ 4 w 4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7">
                    <a:moveTo>
                      <a:pt x="0" y="0"/>
                    </a:moveTo>
                    <a:lnTo>
                      <a:pt x="4" y="7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09" name="Freeform 197"/>
              <p:cNvSpPr>
                <a:spLocks/>
              </p:cNvSpPr>
              <p:nvPr/>
            </p:nvSpPr>
            <p:spPr bwMode="gray">
              <a:xfrm>
                <a:off x="3317" y="2160"/>
                <a:ext cx="4" cy="4"/>
              </a:xfrm>
              <a:custGeom>
                <a:avLst/>
                <a:gdLst>
                  <a:gd name="T0" fmla="*/ 4 w 8"/>
                  <a:gd name="T1" fmla="*/ 0 h 8"/>
                  <a:gd name="T2" fmla="*/ 8 w 8"/>
                  <a:gd name="T3" fmla="*/ 4 h 8"/>
                  <a:gd name="T4" fmla="*/ 6 w 8"/>
                  <a:gd name="T5" fmla="*/ 6 h 8"/>
                  <a:gd name="T6" fmla="*/ 0 w 8"/>
                  <a:gd name="T7" fmla="*/ 8 h 8"/>
                  <a:gd name="T8" fmla="*/ 0 w 8"/>
                  <a:gd name="T9" fmla="*/ 2 h 8"/>
                  <a:gd name="T10" fmla="*/ 4 w 8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8"/>
                  <a:gd name="T20" fmla="*/ 8 w 8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8">
                    <a:moveTo>
                      <a:pt x="4" y="0"/>
                    </a:moveTo>
                    <a:lnTo>
                      <a:pt x="8" y="4"/>
                    </a:lnTo>
                    <a:lnTo>
                      <a:pt x="6" y="6"/>
                    </a:lnTo>
                    <a:lnTo>
                      <a:pt x="0" y="8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0" name="Freeform 198"/>
              <p:cNvSpPr>
                <a:spLocks/>
              </p:cNvSpPr>
              <p:nvPr/>
            </p:nvSpPr>
            <p:spPr bwMode="gray">
              <a:xfrm>
                <a:off x="3321" y="2164"/>
                <a:ext cx="4" cy="5"/>
              </a:xfrm>
              <a:custGeom>
                <a:avLst/>
                <a:gdLst>
                  <a:gd name="T0" fmla="*/ 4 w 10"/>
                  <a:gd name="T1" fmla="*/ 0 h 12"/>
                  <a:gd name="T2" fmla="*/ 8 w 10"/>
                  <a:gd name="T3" fmla="*/ 6 h 12"/>
                  <a:gd name="T4" fmla="*/ 10 w 10"/>
                  <a:gd name="T5" fmla="*/ 12 h 12"/>
                  <a:gd name="T6" fmla="*/ 4 w 10"/>
                  <a:gd name="T7" fmla="*/ 12 h 12"/>
                  <a:gd name="T8" fmla="*/ 2 w 10"/>
                  <a:gd name="T9" fmla="*/ 8 h 12"/>
                  <a:gd name="T10" fmla="*/ 0 w 10"/>
                  <a:gd name="T11" fmla="*/ 2 h 12"/>
                  <a:gd name="T12" fmla="*/ 4 w 1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2"/>
                  <a:gd name="T23" fmla="*/ 10 w 10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2">
                    <a:moveTo>
                      <a:pt x="4" y="0"/>
                    </a:moveTo>
                    <a:lnTo>
                      <a:pt x="8" y="6"/>
                    </a:lnTo>
                    <a:lnTo>
                      <a:pt x="10" y="12"/>
                    </a:lnTo>
                    <a:lnTo>
                      <a:pt x="4" y="12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1" name="Freeform 199"/>
              <p:cNvSpPr>
                <a:spLocks/>
              </p:cNvSpPr>
              <p:nvPr/>
            </p:nvSpPr>
            <p:spPr bwMode="gray">
              <a:xfrm>
                <a:off x="3281" y="2111"/>
                <a:ext cx="91" cy="82"/>
              </a:xfrm>
              <a:custGeom>
                <a:avLst/>
                <a:gdLst>
                  <a:gd name="T0" fmla="*/ 14 w 183"/>
                  <a:gd name="T1" fmla="*/ 93 h 166"/>
                  <a:gd name="T2" fmla="*/ 29 w 183"/>
                  <a:gd name="T3" fmla="*/ 98 h 166"/>
                  <a:gd name="T4" fmla="*/ 25 w 183"/>
                  <a:gd name="T5" fmla="*/ 104 h 166"/>
                  <a:gd name="T6" fmla="*/ 31 w 183"/>
                  <a:gd name="T7" fmla="*/ 122 h 166"/>
                  <a:gd name="T8" fmla="*/ 62 w 183"/>
                  <a:gd name="T9" fmla="*/ 127 h 166"/>
                  <a:gd name="T10" fmla="*/ 33 w 183"/>
                  <a:gd name="T11" fmla="*/ 131 h 166"/>
                  <a:gd name="T12" fmla="*/ 48 w 183"/>
                  <a:gd name="T13" fmla="*/ 166 h 166"/>
                  <a:gd name="T14" fmla="*/ 70 w 183"/>
                  <a:gd name="T15" fmla="*/ 162 h 166"/>
                  <a:gd name="T16" fmla="*/ 73 w 183"/>
                  <a:gd name="T17" fmla="*/ 152 h 166"/>
                  <a:gd name="T18" fmla="*/ 83 w 183"/>
                  <a:gd name="T19" fmla="*/ 143 h 166"/>
                  <a:gd name="T20" fmla="*/ 87 w 183"/>
                  <a:gd name="T21" fmla="*/ 135 h 166"/>
                  <a:gd name="T22" fmla="*/ 102 w 183"/>
                  <a:gd name="T23" fmla="*/ 125 h 166"/>
                  <a:gd name="T24" fmla="*/ 98 w 183"/>
                  <a:gd name="T25" fmla="*/ 123 h 166"/>
                  <a:gd name="T26" fmla="*/ 114 w 183"/>
                  <a:gd name="T27" fmla="*/ 127 h 166"/>
                  <a:gd name="T28" fmla="*/ 116 w 183"/>
                  <a:gd name="T29" fmla="*/ 125 h 166"/>
                  <a:gd name="T30" fmla="*/ 108 w 183"/>
                  <a:gd name="T31" fmla="*/ 112 h 166"/>
                  <a:gd name="T32" fmla="*/ 91 w 183"/>
                  <a:gd name="T33" fmla="*/ 98 h 166"/>
                  <a:gd name="T34" fmla="*/ 79 w 183"/>
                  <a:gd name="T35" fmla="*/ 98 h 166"/>
                  <a:gd name="T36" fmla="*/ 71 w 183"/>
                  <a:gd name="T37" fmla="*/ 91 h 166"/>
                  <a:gd name="T38" fmla="*/ 75 w 183"/>
                  <a:gd name="T39" fmla="*/ 72 h 166"/>
                  <a:gd name="T40" fmla="*/ 68 w 183"/>
                  <a:gd name="T41" fmla="*/ 47 h 166"/>
                  <a:gd name="T42" fmla="*/ 79 w 183"/>
                  <a:gd name="T43" fmla="*/ 48 h 166"/>
                  <a:gd name="T44" fmla="*/ 87 w 183"/>
                  <a:gd name="T45" fmla="*/ 56 h 166"/>
                  <a:gd name="T46" fmla="*/ 106 w 183"/>
                  <a:gd name="T47" fmla="*/ 43 h 166"/>
                  <a:gd name="T48" fmla="*/ 131 w 183"/>
                  <a:gd name="T49" fmla="*/ 27 h 166"/>
                  <a:gd name="T50" fmla="*/ 156 w 183"/>
                  <a:gd name="T51" fmla="*/ 39 h 166"/>
                  <a:gd name="T52" fmla="*/ 166 w 183"/>
                  <a:gd name="T53" fmla="*/ 20 h 166"/>
                  <a:gd name="T54" fmla="*/ 179 w 183"/>
                  <a:gd name="T55" fmla="*/ 18 h 166"/>
                  <a:gd name="T56" fmla="*/ 181 w 183"/>
                  <a:gd name="T57" fmla="*/ 6 h 166"/>
                  <a:gd name="T58" fmla="*/ 162 w 183"/>
                  <a:gd name="T59" fmla="*/ 0 h 166"/>
                  <a:gd name="T60" fmla="*/ 160 w 183"/>
                  <a:gd name="T61" fmla="*/ 12 h 166"/>
                  <a:gd name="T62" fmla="*/ 142 w 183"/>
                  <a:gd name="T63" fmla="*/ 12 h 166"/>
                  <a:gd name="T64" fmla="*/ 135 w 183"/>
                  <a:gd name="T65" fmla="*/ 2 h 166"/>
                  <a:gd name="T66" fmla="*/ 114 w 183"/>
                  <a:gd name="T67" fmla="*/ 12 h 166"/>
                  <a:gd name="T68" fmla="*/ 91 w 183"/>
                  <a:gd name="T69" fmla="*/ 12 h 166"/>
                  <a:gd name="T70" fmla="*/ 85 w 183"/>
                  <a:gd name="T71" fmla="*/ 18 h 166"/>
                  <a:gd name="T72" fmla="*/ 70 w 183"/>
                  <a:gd name="T73" fmla="*/ 23 h 166"/>
                  <a:gd name="T74" fmla="*/ 56 w 183"/>
                  <a:gd name="T75" fmla="*/ 31 h 166"/>
                  <a:gd name="T76" fmla="*/ 48 w 183"/>
                  <a:gd name="T77" fmla="*/ 39 h 166"/>
                  <a:gd name="T78" fmla="*/ 23 w 183"/>
                  <a:gd name="T79" fmla="*/ 43 h 166"/>
                  <a:gd name="T80" fmla="*/ 18 w 183"/>
                  <a:gd name="T81" fmla="*/ 68 h 166"/>
                  <a:gd name="T82" fmla="*/ 14 w 183"/>
                  <a:gd name="T83" fmla="*/ 72 h 16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3"/>
                  <a:gd name="T127" fmla="*/ 0 h 166"/>
                  <a:gd name="T128" fmla="*/ 183 w 183"/>
                  <a:gd name="T129" fmla="*/ 166 h 16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3" h="166">
                    <a:moveTo>
                      <a:pt x="0" y="73"/>
                    </a:moveTo>
                    <a:lnTo>
                      <a:pt x="8" y="85"/>
                    </a:lnTo>
                    <a:lnTo>
                      <a:pt x="14" y="93"/>
                    </a:lnTo>
                    <a:lnTo>
                      <a:pt x="18" y="97"/>
                    </a:lnTo>
                    <a:lnTo>
                      <a:pt x="18" y="98"/>
                    </a:lnTo>
                    <a:lnTo>
                      <a:pt x="29" y="98"/>
                    </a:lnTo>
                    <a:lnTo>
                      <a:pt x="27" y="102"/>
                    </a:lnTo>
                    <a:lnTo>
                      <a:pt x="29" y="104"/>
                    </a:lnTo>
                    <a:lnTo>
                      <a:pt x="25" y="104"/>
                    </a:lnTo>
                    <a:lnTo>
                      <a:pt x="25" y="125"/>
                    </a:lnTo>
                    <a:lnTo>
                      <a:pt x="29" y="123"/>
                    </a:lnTo>
                    <a:lnTo>
                      <a:pt x="31" y="122"/>
                    </a:lnTo>
                    <a:lnTo>
                      <a:pt x="33" y="118"/>
                    </a:lnTo>
                    <a:lnTo>
                      <a:pt x="48" y="120"/>
                    </a:lnTo>
                    <a:lnTo>
                      <a:pt x="62" y="127"/>
                    </a:lnTo>
                    <a:lnTo>
                      <a:pt x="71" y="133"/>
                    </a:lnTo>
                    <a:lnTo>
                      <a:pt x="56" y="131"/>
                    </a:lnTo>
                    <a:lnTo>
                      <a:pt x="33" y="131"/>
                    </a:lnTo>
                    <a:lnTo>
                      <a:pt x="37" y="143"/>
                    </a:lnTo>
                    <a:lnTo>
                      <a:pt x="41" y="166"/>
                    </a:lnTo>
                    <a:lnTo>
                      <a:pt x="48" y="166"/>
                    </a:lnTo>
                    <a:lnTo>
                      <a:pt x="60" y="164"/>
                    </a:lnTo>
                    <a:lnTo>
                      <a:pt x="71" y="166"/>
                    </a:lnTo>
                    <a:lnTo>
                      <a:pt x="70" y="162"/>
                    </a:lnTo>
                    <a:lnTo>
                      <a:pt x="66" y="156"/>
                    </a:lnTo>
                    <a:lnTo>
                      <a:pt x="68" y="152"/>
                    </a:lnTo>
                    <a:lnTo>
                      <a:pt x="73" y="152"/>
                    </a:lnTo>
                    <a:lnTo>
                      <a:pt x="79" y="154"/>
                    </a:lnTo>
                    <a:lnTo>
                      <a:pt x="87" y="152"/>
                    </a:lnTo>
                    <a:lnTo>
                      <a:pt x="83" y="143"/>
                    </a:lnTo>
                    <a:lnTo>
                      <a:pt x="79" y="141"/>
                    </a:lnTo>
                    <a:lnTo>
                      <a:pt x="75" y="141"/>
                    </a:lnTo>
                    <a:lnTo>
                      <a:pt x="87" y="135"/>
                    </a:lnTo>
                    <a:lnTo>
                      <a:pt x="93" y="139"/>
                    </a:lnTo>
                    <a:lnTo>
                      <a:pt x="102" y="143"/>
                    </a:lnTo>
                    <a:lnTo>
                      <a:pt x="102" y="125"/>
                    </a:lnTo>
                    <a:lnTo>
                      <a:pt x="96" y="123"/>
                    </a:lnTo>
                    <a:lnTo>
                      <a:pt x="94" y="123"/>
                    </a:lnTo>
                    <a:lnTo>
                      <a:pt x="98" y="123"/>
                    </a:lnTo>
                    <a:lnTo>
                      <a:pt x="104" y="122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8" y="135"/>
                    </a:lnTo>
                    <a:lnTo>
                      <a:pt x="118" y="131"/>
                    </a:lnTo>
                    <a:lnTo>
                      <a:pt x="116" y="125"/>
                    </a:lnTo>
                    <a:lnTo>
                      <a:pt x="116" y="120"/>
                    </a:lnTo>
                    <a:lnTo>
                      <a:pt x="114" y="114"/>
                    </a:lnTo>
                    <a:lnTo>
                      <a:pt x="108" y="112"/>
                    </a:lnTo>
                    <a:lnTo>
                      <a:pt x="98" y="112"/>
                    </a:lnTo>
                    <a:lnTo>
                      <a:pt x="94" y="106"/>
                    </a:lnTo>
                    <a:lnTo>
                      <a:pt x="91" y="98"/>
                    </a:lnTo>
                    <a:lnTo>
                      <a:pt x="87" y="97"/>
                    </a:lnTo>
                    <a:lnTo>
                      <a:pt x="81" y="97"/>
                    </a:lnTo>
                    <a:lnTo>
                      <a:pt x="79" y="98"/>
                    </a:lnTo>
                    <a:lnTo>
                      <a:pt x="73" y="98"/>
                    </a:lnTo>
                    <a:lnTo>
                      <a:pt x="73" y="95"/>
                    </a:lnTo>
                    <a:lnTo>
                      <a:pt x="71" y="91"/>
                    </a:lnTo>
                    <a:lnTo>
                      <a:pt x="71" y="85"/>
                    </a:lnTo>
                    <a:lnTo>
                      <a:pt x="81" y="83"/>
                    </a:lnTo>
                    <a:lnTo>
                      <a:pt x="75" y="72"/>
                    </a:lnTo>
                    <a:lnTo>
                      <a:pt x="68" y="62"/>
                    </a:lnTo>
                    <a:lnTo>
                      <a:pt x="64" y="54"/>
                    </a:lnTo>
                    <a:lnTo>
                      <a:pt x="68" y="47"/>
                    </a:lnTo>
                    <a:lnTo>
                      <a:pt x="75" y="37"/>
                    </a:lnTo>
                    <a:lnTo>
                      <a:pt x="75" y="47"/>
                    </a:lnTo>
                    <a:lnTo>
                      <a:pt x="79" y="48"/>
                    </a:lnTo>
                    <a:lnTo>
                      <a:pt x="81" y="52"/>
                    </a:lnTo>
                    <a:lnTo>
                      <a:pt x="83" y="58"/>
                    </a:lnTo>
                    <a:lnTo>
                      <a:pt x="87" y="56"/>
                    </a:lnTo>
                    <a:lnTo>
                      <a:pt x="87" y="50"/>
                    </a:lnTo>
                    <a:lnTo>
                      <a:pt x="104" y="48"/>
                    </a:lnTo>
                    <a:lnTo>
                      <a:pt x="106" y="43"/>
                    </a:lnTo>
                    <a:lnTo>
                      <a:pt x="94" y="27"/>
                    </a:lnTo>
                    <a:lnTo>
                      <a:pt x="118" y="29"/>
                    </a:lnTo>
                    <a:lnTo>
                      <a:pt x="131" y="27"/>
                    </a:lnTo>
                    <a:lnTo>
                      <a:pt x="152" y="27"/>
                    </a:lnTo>
                    <a:lnTo>
                      <a:pt x="152" y="31"/>
                    </a:lnTo>
                    <a:lnTo>
                      <a:pt x="156" y="39"/>
                    </a:lnTo>
                    <a:lnTo>
                      <a:pt x="158" y="35"/>
                    </a:lnTo>
                    <a:lnTo>
                      <a:pt x="164" y="27"/>
                    </a:lnTo>
                    <a:lnTo>
                      <a:pt x="166" y="20"/>
                    </a:lnTo>
                    <a:lnTo>
                      <a:pt x="167" y="16"/>
                    </a:lnTo>
                    <a:lnTo>
                      <a:pt x="173" y="18"/>
                    </a:lnTo>
                    <a:lnTo>
                      <a:pt x="179" y="18"/>
                    </a:lnTo>
                    <a:lnTo>
                      <a:pt x="183" y="12"/>
                    </a:lnTo>
                    <a:lnTo>
                      <a:pt x="183" y="8"/>
                    </a:lnTo>
                    <a:lnTo>
                      <a:pt x="181" y="6"/>
                    </a:lnTo>
                    <a:lnTo>
                      <a:pt x="171" y="2"/>
                    </a:lnTo>
                    <a:lnTo>
                      <a:pt x="169" y="0"/>
                    </a:lnTo>
                    <a:lnTo>
                      <a:pt x="162" y="0"/>
                    </a:lnTo>
                    <a:lnTo>
                      <a:pt x="162" y="6"/>
                    </a:lnTo>
                    <a:lnTo>
                      <a:pt x="164" y="12"/>
                    </a:lnTo>
                    <a:lnTo>
                      <a:pt x="160" y="12"/>
                    </a:lnTo>
                    <a:lnTo>
                      <a:pt x="154" y="10"/>
                    </a:lnTo>
                    <a:lnTo>
                      <a:pt x="148" y="12"/>
                    </a:lnTo>
                    <a:lnTo>
                      <a:pt x="142" y="12"/>
                    </a:lnTo>
                    <a:lnTo>
                      <a:pt x="142" y="10"/>
                    </a:lnTo>
                    <a:lnTo>
                      <a:pt x="141" y="4"/>
                    </a:lnTo>
                    <a:lnTo>
                      <a:pt x="135" y="2"/>
                    </a:lnTo>
                    <a:lnTo>
                      <a:pt x="121" y="2"/>
                    </a:lnTo>
                    <a:lnTo>
                      <a:pt x="118" y="6"/>
                    </a:lnTo>
                    <a:lnTo>
                      <a:pt x="114" y="12"/>
                    </a:lnTo>
                    <a:lnTo>
                      <a:pt x="110" y="14"/>
                    </a:lnTo>
                    <a:lnTo>
                      <a:pt x="96" y="14"/>
                    </a:lnTo>
                    <a:lnTo>
                      <a:pt x="91" y="12"/>
                    </a:lnTo>
                    <a:lnTo>
                      <a:pt x="89" y="10"/>
                    </a:lnTo>
                    <a:lnTo>
                      <a:pt x="85" y="14"/>
                    </a:lnTo>
                    <a:lnTo>
                      <a:pt x="85" y="18"/>
                    </a:lnTo>
                    <a:lnTo>
                      <a:pt x="83" y="22"/>
                    </a:lnTo>
                    <a:lnTo>
                      <a:pt x="79" y="23"/>
                    </a:lnTo>
                    <a:lnTo>
                      <a:pt x="70" y="23"/>
                    </a:lnTo>
                    <a:lnTo>
                      <a:pt x="64" y="29"/>
                    </a:lnTo>
                    <a:lnTo>
                      <a:pt x="60" y="29"/>
                    </a:lnTo>
                    <a:lnTo>
                      <a:pt x="56" y="31"/>
                    </a:lnTo>
                    <a:lnTo>
                      <a:pt x="54" y="37"/>
                    </a:lnTo>
                    <a:lnTo>
                      <a:pt x="52" y="37"/>
                    </a:lnTo>
                    <a:lnTo>
                      <a:pt x="48" y="39"/>
                    </a:lnTo>
                    <a:lnTo>
                      <a:pt x="39" y="39"/>
                    </a:lnTo>
                    <a:lnTo>
                      <a:pt x="29" y="43"/>
                    </a:lnTo>
                    <a:lnTo>
                      <a:pt x="23" y="43"/>
                    </a:lnTo>
                    <a:lnTo>
                      <a:pt x="25" y="54"/>
                    </a:lnTo>
                    <a:lnTo>
                      <a:pt x="20" y="64"/>
                    </a:lnTo>
                    <a:lnTo>
                      <a:pt x="18" y="68"/>
                    </a:lnTo>
                    <a:lnTo>
                      <a:pt x="12" y="68"/>
                    </a:lnTo>
                    <a:lnTo>
                      <a:pt x="14" y="70"/>
                    </a:lnTo>
                    <a:lnTo>
                      <a:pt x="14" y="72"/>
                    </a:lnTo>
                    <a:lnTo>
                      <a:pt x="12" y="73"/>
                    </a:lnTo>
                    <a:lnTo>
                      <a:pt x="0" y="73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2" name="Freeform 200"/>
              <p:cNvSpPr>
                <a:spLocks/>
              </p:cNvSpPr>
              <p:nvPr/>
            </p:nvSpPr>
            <p:spPr bwMode="gray">
              <a:xfrm>
                <a:off x="2985" y="2596"/>
                <a:ext cx="58" cy="113"/>
              </a:xfrm>
              <a:custGeom>
                <a:avLst/>
                <a:gdLst>
                  <a:gd name="T0" fmla="*/ 12 w 117"/>
                  <a:gd name="T1" fmla="*/ 227 h 227"/>
                  <a:gd name="T2" fmla="*/ 25 w 117"/>
                  <a:gd name="T3" fmla="*/ 217 h 227"/>
                  <a:gd name="T4" fmla="*/ 37 w 117"/>
                  <a:gd name="T5" fmla="*/ 213 h 227"/>
                  <a:gd name="T6" fmla="*/ 46 w 117"/>
                  <a:gd name="T7" fmla="*/ 213 h 227"/>
                  <a:gd name="T8" fmla="*/ 58 w 117"/>
                  <a:gd name="T9" fmla="*/ 204 h 227"/>
                  <a:gd name="T10" fmla="*/ 89 w 117"/>
                  <a:gd name="T11" fmla="*/ 202 h 227"/>
                  <a:gd name="T12" fmla="*/ 108 w 117"/>
                  <a:gd name="T13" fmla="*/ 188 h 227"/>
                  <a:gd name="T14" fmla="*/ 117 w 117"/>
                  <a:gd name="T15" fmla="*/ 184 h 227"/>
                  <a:gd name="T16" fmla="*/ 102 w 117"/>
                  <a:gd name="T17" fmla="*/ 159 h 227"/>
                  <a:gd name="T18" fmla="*/ 102 w 117"/>
                  <a:gd name="T19" fmla="*/ 154 h 227"/>
                  <a:gd name="T20" fmla="*/ 100 w 117"/>
                  <a:gd name="T21" fmla="*/ 148 h 227"/>
                  <a:gd name="T22" fmla="*/ 104 w 117"/>
                  <a:gd name="T23" fmla="*/ 123 h 227"/>
                  <a:gd name="T24" fmla="*/ 96 w 117"/>
                  <a:gd name="T25" fmla="*/ 98 h 227"/>
                  <a:gd name="T26" fmla="*/ 96 w 117"/>
                  <a:gd name="T27" fmla="*/ 83 h 227"/>
                  <a:gd name="T28" fmla="*/ 98 w 117"/>
                  <a:gd name="T29" fmla="*/ 73 h 227"/>
                  <a:gd name="T30" fmla="*/ 94 w 117"/>
                  <a:gd name="T31" fmla="*/ 65 h 227"/>
                  <a:gd name="T32" fmla="*/ 96 w 117"/>
                  <a:gd name="T33" fmla="*/ 40 h 227"/>
                  <a:gd name="T34" fmla="*/ 87 w 117"/>
                  <a:gd name="T35" fmla="*/ 25 h 227"/>
                  <a:gd name="T36" fmla="*/ 87 w 117"/>
                  <a:gd name="T37" fmla="*/ 8 h 227"/>
                  <a:gd name="T38" fmla="*/ 69 w 117"/>
                  <a:gd name="T39" fmla="*/ 0 h 227"/>
                  <a:gd name="T40" fmla="*/ 60 w 117"/>
                  <a:gd name="T41" fmla="*/ 6 h 227"/>
                  <a:gd name="T42" fmla="*/ 31 w 117"/>
                  <a:gd name="T43" fmla="*/ 4 h 227"/>
                  <a:gd name="T44" fmla="*/ 23 w 117"/>
                  <a:gd name="T45" fmla="*/ 23 h 227"/>
                  <a:gd name="T46" fmla="*/ 25 w 117"/>
                  <a:gd name="T47" fmla="*/ 40 h 227"/>
                  <a:gd name="T48" fmla="*/ 23 w 117"/>
                  <a:gd name="T49" fmla="*/ 54 h 227"/>
                  <a:gd name="T50" fmla="*/ 25 w 117"/>
                  <a:gd name="T51" fmla="*/ 71 h 227"/>
                  <a:gd name="T52" fmla="*/ 31 w 117"/>
                  <a:gd name="T53" fmla="*/ 83 h 227"/>
                  <a:gd name="T54" fmla="*/ 29 w 117"/>
                  <a:gd name="T55" fmla="*/ 104 h 227"/>
                  <a:gd name="T56" fmla="*/ 23 w 117"/>
                  <a:gd name="T57" fmla="*/ 111 h 227"/>
                  <a:gd name="T58" fmla="*/ 18 w 117"/>
                  <a:gd name="T59" fmla="*/ 131 h 227"/>
                  <a:gd name="T60" fmla="*/ 12 w 117"/>
                  <a:gd name="T61" fmla="*/ 148 h 227"/>
                  <a:gd name="T62" fmla="*/ 6 w 117"/>
                  <a:gd name="T63" fmla="*/ 157 h 227"/>
                  <a:gd name="T64" fmla="*/ 4 w 117"/>
                  <a:gd name="T65" fmla="*/ 194 h 227"/>
                  <a:gd name="T66" fmla="*/ 2 w 117"/>
                  <a:gd name="T67" fmla="*/ 213 h 227"/>
                  <a:gd name="T68" fmla="*/ 0 w 117"/>
                  <a:gd name="T69" fmla="*/ 227 h 22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17"/>
                  <a:gd name="T106" fmla="*/ 0 h 227"/>
                  <a:gd name="T107" fmla="*/ 117 w 117"/>
                  <a:gd name="T108" fmla="*/ 227 h 227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17" h="227">
                    <a:moveTo>
                      <a:pt x="0" y="227"/>
                    </a:moveTo>
                    <a:lnTo>
                      <a:pt x="12" y="227"/>
                    </a:lnTo>
                    <a:lnTo>
                      <a:pt x="18" y="223"/>
                    </a:lnTo>
                    <a:lnTo>
                      <a:pt x="25" y="217"/>
                    </a:lnTo>
                    <a:lnTo>
                      <a:pt x="31" y="213"/>
                    </a:lnTo>
                    <a:lnTo>
                      <a:pt x="37" y="213"/>
                    </a:lnTo>
                    <a:lnTo>
                      <a:pt x="41" y="215"/>
                    </a:lnTo>
                    <a:lnTo>
                      <a:pt x="46" y="213"/>
                    </a:lnTo>
                    <a:lnTo>
                      <a:pt x="54" y="206"/>
                    </a:lnTo>
                    <a:lnTo>
                      <a:pt x="58" y="204"/>
                    </a:lnTo>
                    <a:lnTo>
                      <a:pt x="73" y="202"/>
                    </a:lnTo>
                    <a:lnTo>
                      <a:pt x="89" y="202"/>
                    </a:lnTo>
                    <a:lnTo>
                      <a:pt x="104" y="200"/>
                    </a:lnTo>
                    <a:lnTo>
                      <a:pt x="108" y="188"/>
                    </a:lnTo>
                    <a:lnTo>
                      <a:pt x="116" y="184"/>
                    </a:lnTo>
                    <a:lnTo>
                      <a:pt x="117" y="184"/>
                    </a:lnTo>
                    <a:lnTo>
                      <a:pt x="108" y="167"/>
                    </a:lnTo>
                    <a:lnTo>
                      <a:pt x="102" y="159"/>
                    </a:lnTo>
                    <a:lnTo>
                      <a:pt x="100" y="156"/>
                    </a:lnTo>
                    <a:lnTo>
                      <a:pt x="102" y="154"/>
                    </a:lnTo>
                    <a:lnTo>
                      <a:pt x="102" y="152"/>
                    </a:lnTo>
                    <a:lnTo>
                      <a:pt x="100" y="148"/>
                    </a:lnTo>
                    <a:lnTo>
                      <a:pt x="100" y="140"/>
                    </a:lnTo>
                    <a:lnTo>
                      <a:pt x="104" y="123"/>
                    </a:lnTo>
                    <a:lnTo>
                      <a:pt x="104" y="109"/>
                    </a:lnTo>
                    <a:lnTo>
                      <a:pt x="96" y="98"/>
                    </a:lnTo>
                    <a:lnTo>
                      <a:pt x="94" y="90"/>
                    </a:lnTo>
                    <a:lnTo>
                      <a:pt x="96" y="83"/>
                    </a:lnTo>
                    <a:lnTo>
                      <a:pt x="98" y="77"/>
                    </a:lnTo>
                    <a:lnTo>
                      <a:pt x="98" y="73"/>
                    </a:lnTo>
                    <a:lnTo>
                      <a:pt x="94" y="69"/>
                    </a:lnTo>
                    <a:lnTo>
                      <a:pt x="94" y="65"/>
                    </a:lnTo>
                    <a:lnTo>
                      <a:pt x="96" y="58"/>
                    </a:lnTo>
                    <a:lnTo>
                      <a:pt x="96" y="40"/>
                    </a:lnTo>
                    <a:lnTo>
                      <a:pt x="94" y="33"/>
                    </a:lnTo>
                    <a:lnTo>
                      <a:pt x="87" y="25"/>
                    </a:lnTo>
                    <a:lnTo>
                      <a:pt x="85" y="19"/>
                    </a:lnTo>
                    <a:lnTo>
                      <a:pt x="87" y="8"/>
                    </a:lnTo>
                    <a:lnTo>
                      <a:pt x="89" y="2"/>
                    </a:lnTo>
                    <a:lnTo>
                      <a:pt x="69" y="0"/>
                    </a:lnTo>
                    <a:lnTo>
                      <a:pt x="68" y="8"/>
                    </a:lnTo>
                    <a:lnTo>
                      <a:pt x="60" y="6"/>
                    </a:lnTo>
                    <a:lnTo>
                      <a:pt x="43" y="4"/>
                    </a:lnTo>
                    <a:lnTo>
                      <a:pt x="31" y="4"/>
                    </a:lnTo>
                    <a:lnTo>
                      <a:pt x="23" y="11"/>
                    </a:lnTo>
                    <a:lnTo>
                      <a:pt x="23" y="23"/>
                    </a:lnTo>
                    <a:lnTo>
                      <a:pt x="25" y="29"/>
                    </a:lnTo>
                    <a:lnTo>
                      <a:pt x="25" y="40"/>
                    </a:lnTo>
                    <a:lnTo>
                      <a:pt x="23" y="48"/>
                    </a:lnTo>
                    <a:lnTo>
                      <a:pt x="23" y="54"/>
                    </a:lnTo>
                    <a:lnTo>
                      <a:pt x="25" y="61"/>
                    </a:lnTo>
                    <a:lnTo>
                      <a:pt x="25" y="71"/>
                    </a:lnTo>
                    <a:lnTo>
                      <a:pt x="29" y="77"/>
                    </a:lnTo>
                    <a:lnTo>
                      <a:pt x="31" y="83"/>
                    </a:lnTo>
                    <a:lnTo>
                      <a:pt x="29" y="92"/>
                    </a:lnTo>
                    <a:lnTo>
                      <a:pt x="29" y="104"/>
                    </a:lnTo>
                    <a:lnTo>
                      <a:pt x="27" y="106"/>
                    </a:lnTo>
                    <a:lnTo>
                      <a:pt x="23" y="111"/>
                    </a:lnTo>
                    <a:lnTo>
                      <a:pt x="21" y="119"/>
                    </a:lnTo>
                    <a:lnTo>
                      <a:pt x="18" y="131"/>
                    </a:lnTo>
                    <a:lnTo>
                      <a:pt x="14" y="138"/>
                    </a:lnTo>
                    <a:lnTo>
                      <a:pt x="12" y="148"/>
                    </a:lnTo>
                    <a:lnTo>
                      <a:pt x="8" y="154"/>
                    </a:lnTo>
                    <a:lnTo>
                      <a:pt x="6" y="157"/>
                    </a:lnTo>
                    <a:lnTo>
                      <a:pt x="2" y="175"/>
                    </a:lnTo>
                    <a:lnTo>
                      <a:pt x="4" y="194"/>
                    </a:lnTo>
                    <a:lnTo>
                      <a:pt x="4" y="207"/>
                    </a:lnTo>
                    <a:lnTo>
                      <a:pt x="2" y="213"/>
                    </a:lnTo>
                    <a:lnTo>
                      <a:pt x="0" y="221"/>
                    </a:lnTo>
                    <a:lnTo>
                      <a:pt x="0" y="227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3" name="Freeform 201"/>
              <p:cNvSpPr>
                <a:spLocks/>
              </p:cNvSpPr>
              <p:nvPr/>
            </p:nvSpPr>
            <p:spPr bwMode="gray">
              <a:xfrm>
                <a:off x="3101" y="1863"/>
                <a:ext cx="111" cy="145"/>
              </a:xfrm>
              <a:custGeom>
                <a:avLst/>
                <a:gdLst>
                  <a:gd name="T0" fmla="*/ 48 w 222"/>
                  <a:gd name="T1" fmla="*/ 98 h 290"/>
                  <a:gd name="T2" fmla="*/ 40 w 222"/>
                  <a:gd name="T3" fmla="*/ 107 h 290"/>
                  <a:gd name="T4" fmla="*/ 38 w 222"/>
                  <a:gd name="T5" fmla="*/ 117 h 290"/>
                  <a:gd name="T6" fmla="*/ 30 w 222"/>
                  <a:gd name="T7" fmla="*/ 125 h 290"/>
                  <a:gd name="T8" fmla="*/ 9 w 222"/>
                  <a:gd name="T9" fmla="*/ 125 h 290"/>
                  <a:gd name="T10" fmla="*/ 2 w 222"/>
                  <a:gd name="T11" fmla="*/ 150 h 290"/>
                  <a:gd name="T12" fmla="*/ 9 w 222"/>
                  <a:gd name="T13" fmla="*/ 161 h 290"/>
                  <a:gd name="T14" fmla="*/ 13 w 222"/>
                  <a:gd name="T15" fmla="*/ 176 h 290"/>
                  <a:gd name="T16" fmla="*/ 13 w 222"/>
                  <a:gd name="T17" fmla="*/ 188 h 290"/>
                  <a:gd name="T18" fmla="*/ 21 w 222"/>
                  <a:gd name="T19" fmla="*/ 198 h 290"/>
                  <a:gd name="T20" fmla="*/ 17 w 222"/>
                  <a:gd name="T21" fmla="*/ 215 h 290"/>
                  <a:gd name="T22" fmla="*/ 30 w 222"/>
                  <a:gd name="T23" fmla="*/ 215 h 290"/>
                  <a:gd name="T24" fmla="*/ 57 w 222"/>
                  <a:gd name="T25" fmla="*/ 224 h 290"/>
                  <a:gd name="T26" fmla="*/ 63 w 222"/>
                  <a:gd name="T27" fmla="*/ 236 h 290"/>
                  <a:gd name="T28" fmla="*/ 57 w 222"/>
                  <a:gd name="T29" fmla="*/ 251 h 290"/>
                  <a:gd name="T30" fmla="*/ 61 w 222"/>
                  <a:gd name="T31" fmla="*/ 280 h 290"/>
                  <a:gd name="T32" fmla="*/ 73 w 222"/>
                  <a:gd name="T33" fmla="*/ 274 h 290"/>
                  <a:gd name="T34" fmla="*/ 84 w 222"/>
                  <a:gd name="T35" fmla="*/ 271 h 290"/>
                  <a:gd name="T36" fmla="*/ 121 w 222"/>
                  <a:gd name="T37" fmla="*/ 282 h 290"/>
                  <a:gd name="T38" fmla="*/ 134 w 222"/>
                  <a:gd name="T39" fmla="*/ 278 h 290"/>
                  <a:gd name="T40" fmla="*/ 153 w 222"/>
                  <a:gd name="T41" fmla="*/ 269 h 290"/>
                  <a:gd name="T42" fmla="*/ 170 w 222"/>
                  <a:gd name="T43" fmla="*/ 274 h 290"/>
                  <a:gd name="T44" fmla="*/ 180 w 222"/>
                  <a:gd name="T45" fmla="*/ 263 h 290"/>
                  <a:gd name="T46" fmla="*/ 176 w 222"/>
                  <a:gd name="T47" fmla="*/ 255 h 290"/>
                  <a:gd name="T48" fmla="*/ 192 w 222"/>
                  <a:gd name="T49" fmla="*/ 249 h 290"/>
                  <a:gd name="T50" fmla="*/ 199 w 222"/>
                  <a:gd name="T51" fmla="*/ 232 h 290"/>
                  <a:gd name="T52" fmla="*/ 188 w 222"/>
                  <a:gd name="T53" fmla="*/ 219 h 290"/>
                  <a:gd name="T54" fmla="*/ 180 w 222"/>
                  <a:gd name="T55" fmla="*/ 205 h 290"/>
                  <a:gd name="T56" fmla="*/ 170 w 222"/>
                  <a:gd name="T57" fmla="*/ 192 h 290"/>
                  <a:gd name="T58" fmla="*/ 163 w 222"/>
                  <a:gd name="T59" fmla="*/ 176 h 290"/>
                  <a:gd name="T60" fmla="*/ 172 w 222"/>
                  <a:gd name="T61" fmla="*/ 171 h 290"/>
                  <a:gd name="T62" fmla="*/ 195 w 222"/>
                  <a:gd name="T63" fmla="*/ 155 h 290"/>
                  <a:gd name="T64" fmla="*/ 213 w 222"/>
                  <a:gd name="T65" fmla="*/ 146 h 290"/>
                  <a:gd name="T66" fmla="*/ 220 w 222"/>
                  <a:gd name="T67" fmla="*/ 119 h 290"/>
                  <a:gd name="T68" fmla="*/ 216 w 222"/>
                  <a:gd name="T69" fmla="*/ 103 h 290"/>
                  <a:gd name="T70" fmla="*/ 218 w 222"/>
                  <a:gd name="T71" fmla="*/ 86 h 290"/>
                  <a:gd name="T72" fmla="*/ 215 w 222"/>
                  <a:gd name="T73" fmla="*/ 61 h 290"/>
                  <a:gd name="T74" fmla="*/ 201 w 222"/>
                  <a:gd name="T75" fmla="*/ 40 h 290"/>
                  <a:gd name="T76" fmla="*/ 167 w 222"/>
                  <a:gd name="T77" fmla="*/ 30 h 290"/>
                  <a:gd name="T78" fmla="*/ 159 w 222"/>
                  <a:gd name="T79" fmla="*/ 42 h 290"/>
                  <a:gd name="T80" fmla="*/ 145 w 222"/>
                  <a:gd name="T81" fmla="*/ 52 h 290"/>
                  <a:gd name="T82" fmla="*/ 130 w 222"/>
                  <a:gd name="T83" fmla="*/ 38 h 290"/>
                  <a:gd name="T84" fmla="*/ 117 w 222"/>
                  <a:gd name="T85" fmla="*/ 30 h 290"/>
                  <a:gd name="T86" fmla="*/ 105 w 222"/>
                  <a:gd name="T87" fmla="*/ 15 h 290"/>
                  <a:gd name="T88" fmla="*/ 113 w 222"/>
                  <a:gd name="T89" fmla="*/ 3 h 290"/>
                  <a:gd name="T90" fmla="*/ 78 w 222"/>
                  <a:gd name="T91" fmla="*/ 0 h 290"/>
                  <a:gd name="T92" fmla="*/ 74 w 222"/>
                  <a:gd name="T93" fmla="*/ 15 h 290"/>
                  <a:gd name="T94" fmla="*/ 84 w 222"/>
                  <a:gd name="T95" fmla="*/ 32 h 290"/>
                  <a:gd name="T96" fmla="*/ 84 w 222"/>
                  <a:gd name="T97" fmla="*/ 59 h 290"/>
                  <a:gd name="T98" fmla="*/ 78 w 222"/>
                  <a:gd name="T99" fmla="*/ 57 h 290"/>
                  <a:gd name="T100" fmla="*/ 67 w 222"/>
                  <a:gd name="T101" fmla="*/ 67 h 290"/>
                  <a:gd name="T102" fmla="*/ 51 w 222"/>
                  <a:gd name="T103" fmla="*/ 67 h 290"/>
                  <a:gd name="T104" fmla="*/ 44 w 222"/>
                  <a:gd name="T105" fmla="*/ 77 h 290"/>
                  <a:gd name="T106" fmla="*/ 48 w 222"/>
                  <a:gd name="T107" fmla="*/ 80 h 29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22"/>
                  <a:gd name="T163" fmla="*/ 0 h 290"/>
                  <a:gd name="T164" fmla="*/ 222 w 222"/>
                  <a:gd name="T165" fmla="*/ 290 h 29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22" h="290">
                    <a:moveTo>
                      <a:pt x="44" y="82"/>
                    </a:moveTo>
                    <a:lnTo>
                      <a:pt x="46" y="88"/>
                    </a:lnTo>
                    <a:lnTo>
                      <a:pt x="48" y="98"/>
                    </a:lnTo>
                    <a:lnTo>
                      <a:pt x="46" y="103"/>
                    </a:lnTo>
                    <a:lnTo>
                      <a:pt x="40" y="103"/>
                    </a:lnTo>
                    <a:lnTo>
                      <a:pt x="40" y="107"/>
                    </a:lnTo>
                    <a:lnTo>
                      <a:pt x="44" y="111"/>
                    </a:lnTo>
                    <a:lnTo>
                      <a:pt x="44" y="115"/>
                    </a:lnTo>
                    <a:lnTo>
                      <a:pt x="38" y="117"/>
                    </a:lnTo>
                    <a:lnTo>
                      <a:pt x="34" y="119"/>
                    </a:lnTo>
                    <a:lnTo>
                      <a:pt x="34" y="121"/>
                    </a:lnTo>
                    <a:lnTo>
                      <a:pt x="30" y="125"/>
                    </a:lnTo>
                    <a:lnTo>
                      <a:pt x="23" y="123"/>
                    </a:lnTo>
                    <a:lnTo>
                      <a:pt x="13" y="121"/>
                    </a:lnTo>
                    <a:lnTo>
                      <a:pt x="9" y="125"/>
                    </a:lnTo>
                    <a:lnTo>
                      <a:pt x="9" y="130"/>
                    </a:lnTo>
                    <a:lnTo>
                      <a:pt x="3" y="140"/>
                    </a:lnTo>
                    <a:lnTo>
                      <a:pt x="2" y="150"/>
                    </a:lnTo>
                    <a:lnTo>
                      <a:pt x="0" y="155"/>
                    </a:lnTo>
                    <a:lnTo>
                      <a:pt x="2" y="157"/>
                    </a:lnTo>
                    <a:lnTo>
                      <a:pt x="9" y="161"/>
                    </a:lnTo>
                    <a:lnTo>
                      <a:pt x="9" y="163"/>
                    </a:lnTo>
                    <a:lnTo>
                      <a:pt x="7" y="165"/>
                    </a:lnTo>
                    <a:lnTo>
                      <a:pt x="13" y="176"/>
                    </a:lnTo>
                    <a:lnTo>
                      <a:pt x="11" y="184"/>
                    </a:lnTo>
                    <a:lnTo>
                      <a:pt x="9" y="188"/>
                    </a:lnTo>
                    <a:lnTo>
                      <a:pt x="13" y="188"/>
                    </a:lnTo>
                    <a:lnTo>
                      <a:pt x="15" y="194"/>
                    </a:lnTo>
                    <a:lnTo>
                      <a:pt x="19" y="198"/>
                    </a:lnTo>
                    <a:lnTo>
                      <a:pt x="21" y="198"/>
                    </a:lnTo>
                    <a:lnTo>
                      <a:pt x="17" y="203"/>
                    </a:lnTo>
                    <a:lnTo>
                      <a:pt x="15" y="211"/>
                    </a:lnTo>
                    <a:lnTo>
                      <a:pt x="17" y="215"/>
                    </a:lnTo>
                    <a:lnTo>
                      <a:pt x="17" y="217"/>
                    </a:lnTo>
                    <a:lnTo>
                      <a:pt x="23" y="217"/>
                    </a:lnTo>
                    <a:lnTo>
                      <a:pt x="30" y="215"/>
                    </a:lnTo>
                    <a:lnTo>
                      <a:pt x="38" y="221"/>
                    </a:lnTo>
                    <a:lnTo>
                      <a:pt x="42" y="224"/>
                    </a:lnTo>
                    <a:lnTo>
                      <a:pt x="57" y="224"/>
                    </a:lnTo>
                    <a:lnTo>
                      <a:pt x="61" y="226"/>
                    </a:lnTo>
                    <a:lnTo>
                      <a:pt x="63" y="226"/>
                    </a:lnTo>
                    <a:lnTo>
                      <a:pt x="63" y="236"/>
                    </a:lnTo>
                    <a:lnTo>
                      <a:pt x="61" y="242"/>
                    </a:lnTo>
                    <a:lnTo>
                      <a:pt x="57" y="248"/>
                    </a:lnTo>
                    <a:lnTo>
                      <a:pt x="57" y="251"/>
                    </a:lnTo>
                    <a:lnTo>
                      <a:pt x="59" y="257"/>
                    </a:lnTo>
                    <a:lnTo>
                      <a:pt x="59" y="273"/>
                    </a:lnTo>
                    <a:lnTo>
                      <a:pt x="61" y="280"/>
                    </a:lnTo>
                    <a:lnTo>
                      <a:pt x="63" y="280"/>
                    </a:lnTo>
                    <a:lnTo>
                      <a:pt x="69" y="278"/>
                    </a:lnTo>
                    <a:lnTo>
                      <a:pt x="73" y="274"/>
                    </a:lnTo>
                    <a:lnTo>
                      <a:pt x="76" y="273"/>
                    </a:lnTo>
                    <a:lnTo>
                      <a:pt x="78" y="271"/>
                    </a:lnTo>
                    <a:lnTo>
                      <a:pt x="84" y="271"/>
                    </a:lnTo>
                    <a:lnTo>
                      <a:pt x="94" y="276"/>
                    </a:lnTo>
                    <a:lnTo>
                      <a:pt x="113" y="290"/>
                    </a:lnTo>
                    <a:lnTo>
                      <a:pt x="121" y="282"/>
                    </a:lnTo>
                    <a:lnTo>
                      <a:pt x="124" y="280"/>
                    </a:lnTo>
                    <a:lnTo>
                      <a:pt x="130" y="280"/>
                    </a:lnTo>
                    <a:lnTo>
                      <a:pt x="134" y="278"/>
                    </a:lnTo>
                    <a:lnTo>
                      <a:pt x="138" y="278"/>
                    </a:lnTo>
                    <a:lnTo>
                      <a:pt x="147" y="269"/>
                    </a:lnTo>
                    <a:lnTo>
                      <a:pt x="153" y="269"/>
                    </a:lnTo>
                    <a:lnTo>
                      <a:pt x="159" y="271"/>
                    </a:lnTo>
                    <a:lnTo>
                      <a:pt x="169" y="271"/>
                    </a:lnTo>
                    <a:lnTo>
                      <a:pt x="170" y="274"/>
                    </a:lnTo>
                    <a:lnTo>
                      <a:pt x="176" y="278"/>
                    </a:lnTo>
                    <a:lnTo>
                      <a:pt x="180" y="278"/>
                    </a:lnTo>
                    <a:lnTo>
                      <a:pt x="180" y="263"/>
                    </a:lnTo>
                    <a:lnTo>
                      <a:pt x="174" y="259"/>
                    </a:lnTo>
                    <a:lnTo>
                      <a:pt x="174" y="257"/>
                    </a:lnTo>
                    <a:lnTo>
                      <a:pt x="176" y="255"/>
                    </a:lnTo>
                    <a:lnTo>
                      <a:pt x="182" y="251"/>
                    </a:lnTo>
                    <a:lnTo>
                      <a:pt x="188" y="251"/>
                    </a:lnTo>
                    <a:lnTo>
                      <a:pt x="192" y="249"/>
                    </a:lnTo>
                    <a:lnTo>
                      <a:pt x="192" y="244"/>
                    </a:lnTo>
                    <a:lnTo>
                      <a:pt x="193" y="236"/>
                    </a:lnTo>
                    <a:lnTo>
                      <a:pt x="199" y="232"/>
                    </a:lnTo>
                    <a:lnTo>
                      <a:pt x="201" y="230"/>
                    </a:lnTo>
                    <a:lnTo>
                      <a:pt x="193" y="223"/>
                    </a:lnTo>
                    <a:lnTo>
                      <a:pt x="188" y="219"/>
                    </a:lnTo>
                    <a:lnTo>
                      <a:pt x="182" y="217"/>
                    </a:lnTo>
                    <a:lnTo>
                      <a:pt x="180" y="213"/>
                    </a:lnTo>
                    <a:lnTo>
                      <a:pt x="180" y="205"/>
                    </a:lnTo>
                    <a:lnTo>
                      <a:pt x="178" y="201"/>
                    </a:lnTo>
                    <a:lnTo>
                      <a:pt x="174" y="196"/>
                    </a:lnTo>
                    <a:lnTo>
                      <a:pt x="170" y="192"/>
                    </a:lnTo>
                    <a:lnTo>
                      <a:pt x="169" y="188"/>
                    </a:lnTo>
                    <a:lnTo>
                      <a:pt x="165" y="182"/>
                    </a:lnTo>
                    <a:lnTo>
                      <a:pt x="163" y="176"/>
                    </a:lnTo>
                    <a:lnTo>
                      <a:pt x="163" y="173"/>
                    </a:lnTo>
                    <a:lnTo>
                      <a:pt x="167" y="173"/>
                    </a:lnTo>
                    <a:lnTo>
                      <a:pt x="172" y="171"/>
                    </a:lnTo>
                    <a:lnTo>
                      <a:pt x="178" y="171"/>
                    </a:lnTo>
                    <a:lnTo>
                      <a:pt x="184" y="163"/>
                    </a:lnTo>
                    <a:lnTo>
                      <a:pt x="195" y="155"/>
                    </a:lnTo>
                    <a:lnTo>
                      <a:pt x="205" y="150"/>
                    </a:lnTo>
                    <a:lnTo>
                      <a:pt x="211" y="148"/>
                    </a:lnTo>
                    <a:lnTo>
                      <a:pt x="213" y="146"/>
                    </a:lnTo>
                    <a:lnTo>
                      <a:pt x="222" y="150"/>
                    </a:lnTo>
                    <a:lnTo>
                      <a:pt x="222" y="128"/>
                    </a:lnTo>
                    <a:lnTo>
                      <a:pt x="220" y="119"/>
                    </a:lnTo>
                    <a:lnTo>
                      <a:pt x="220" y="115"/>
                    </a:lnTo>
                    <a:lnTo>
                      <a:pt x="218" y="111"/>
                    </a:lnTo>
                    <a:lnTo>
                      <a:pt x="216" y="103"/>
                    </a:lnTo>
                    <a:lnTo>
                      <a:pt x="216" y="9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3" y="75"/>
                    </a:lnTo>
                    <a:lnTo>
                      <a:pt x="213" y="69"/>
                    </a:lnTo>
                    <a:lnTo>
                      <a:pt x="215" y="61"/>
                    </a:lnTo>
                    <a:lnTo>
                      <a:pt x="215" y="46"/>
                    </a:lnTo>
                    <a:lnTo>
                      <a:pt x="209" y="44"/>
                    </a:lnTo>
                    <a:lnTo>
                      <a:pt x="201" y="40"/>
                    </a:lnTo>
                    <a:lnTo>
                      <a:pt x="193" y="38"/>
                    </a:lnTo>
                    <a:lnTo>
                      <a:pt x="190" y="30"/>
                    </a:lnTo>
                    <a:lnTo>
                      <a:pt x="167" y="30"/>
                    </a:lnTo>
                    <a:lnTo>
                      <a:pt x="165" y="34"/>
                    </a:lnTo>
                    <a:lnTo>
                      <a:pt x="161" y="40"/>
                    </a:lnTo>
                    <a:lnTo>
                      <a:pt x="159" y="42"/>
                    </a:lnTo>
                    <a:lnTo>
                      <a:pt x="147" y="42"/>
                    </a:lnTo>
                    <a:lnTo>
                      <a:pt x="147" y="46"/>
                    </a:lnTo>
                    <a:lnTo>
                      <a:pt x="145" y="52"/>
                    </a:lnTo>
                    <a:lnTo>
                      <a:pt x="144" y="53"/>
                    </a:lnTo>
                    <a:lnTo>
                      <a:pt x="136" y="38"/>
                    </a:lnTo>
                    <a:lnTo>
                      <a:pt x="130" y="38"/>
                    </a:lnTo>
                    <a:lnTo>
                      <a:pt x="122" y="40"/>
                    </a:lnTo>
                    <a:lnTo>
                      <a:pt x="117" y="38"/>
                    </a:lnTo>
                    <a:lnTo>
                      <a:pt x="117" y="30"/>
                    </a:lnTo>
                    <a:lnTo>
                      <a:pt x="113" y="25"/>
                    </a:lnTo>
                    <a:lnTo>
                      <a:pt x="107" y="19"/>
                    </a:lnTo>
                    <a:lnTo>
                      <a:pt x="105" y="15"/>
                    </a:lnTo>
                    <a:lnTo>
                      <a:pt x="105" y="13"/>
                    </a:lnTo>
                    <a:lnTo>
                      <a:pt x="109" y="7"/>
                    </a:lnTo>
                    <a:lnTo>
                      <a:pt x="113" y="3"/>
                    </a:lnTo>
                    <a:lnTo>
                      <a:pt x="101" y="3"/>
                    </a:lnTo>
                    <a:lnTo>
                      <a:pt x="101" y="0"/>
                    </a:lnTo>
                    <a:lnTo>
                      <a:pt x="78" y="0"/>
                    </a:lnTo>
                    <a:lnTo>
                      <a:pt x="76" y="3"/>
                    </a:lnTo>
                    <a:lnTo>
                      <a:pt x="74" y="9"/>
                    </a:lnTo>
                    <a:lnTo>
                      <a:pt x="74" y="15"/>
                    </a:lnTo>
                    <a:lnTo>
                      <a:pt x="82" y="15"/>
                    </a:lnTo>
                    <a:lnTo>
                      <a:pt x="82" y="23"/>
                    </a:lnTo>
                    <a:lnTo>
                      <a:pt x="84" y="32"/>
                    </a:lnTo>
                    <a:lnTo>
                      <a:pt x="86" y="46"/>
                    </a:lnTo>
                    <a:lnTo>
                      <a:pt x="86" y="57"/>
                    </a:lnTo>
                    <a:lnTo>
                      <a:pt x="84" y="59"/>
                    </a:lnTo>
                    <a:lnTo>
                      <a:pt x="82" y="55"/>
                    </a:lnTo>
                    <a:lnTo>
                      <a:pt x="82" y="53"/>
                    </a:lnTo>
                    <a:lnTo>
                      <a:pt x="78" y="57"/>
                    </a:lnTo>
                    <a:lnTo>
                      <a:pt x="74" y="63"/>
                    </a:lnTo>
                    <a:lnTo>
                      <a:pt x="74" y="69"/>
                    </a:lnTo>
                    <a:lnTo>
                      <a:pt x="67" y="67"/>
                    </a:lnTo>
                    <a:lnTo>
                      <a:pt x="63" y="65"/>
                    </a:lnTo>
                    <a:lnTo>
                      <a:pt x="55" y="65"/>
                    </a:lnTo>
                    <a:lnTo>
                      <a:pt x="51" y="67"/>
                    </a:lnTo>
                    <a:lnTo>
                      <a:pt x="48" y="71"/>
                    </a:lnTo>
                    <a:lnTo>
                      <a:pt x="44" y="73"/>
                    </a:lnTo>
                    <a:lnTo>
                      <a:pt x="44" y="77"/>
                    </a:lnTo>
                    <a:lnTo>
                      <a:pt x="48" y="77"/>
                    </a:lnTo>
                    <a:lnTo>
                      <a:pt x="50" y="78"/>
                    </a:lnTo>
                    <a:lnTo>
                      <a:pt x="48" y="80"/>
                    </a:lnTo>
                    <a:lnTo>
                      <a:pt x="44" y="82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4" name="Freeform 202"/>
              <p:cNvSpPr>
                <a:spLocks/>
              </p:cNvSpPr>
              <p:nvPr/>
            </p:nvSpPr>
            <p:spPr bwMode="gray">
              <a:xfrm>
                <a:off x="3529" y="2070"/>
                <a:ext cx="89" cy="46"/>
              </a:xfrm>
              <a:custGeom>
                <a:avLst/>
                <a:gdLst>
                  <a:gd name="T0" fmla="*/ 11 w 178"/>
                  <a:gd name="T1" fmla="*/ 29 h 92"/>
                  <a:gd name="T2" fmla="*/ 28 w 178"/>
                  <a:gd name="T3" fmla="*/ 38 h 92"/>
                  <a:gd name="T4" fmla="*/ 32 w 178"/>
                  <a:gd name="T5" fmla="*/ 52 h 92"/>
                  <a:gd name="T6" fmla="*/ 40 w 178"/>
                  <a:gd name="T7" fmla="*/ 57 h 92"/>
                  <a:gd name="T8" fmla="*/ 36 w 178"/>
                  <a:gd name="T9" fmla="*/ 80 h 92"/>
                  <a:gd name="T10" fmla="*/ 46 w 178"/>
                  <a:gd name="T11" fmla="*/ 82 h 92"/>
                  <a:gd name="T12" fmla="*/ 65 w 178"/>
                  <a:gd name="T13" fmla="*/ 80 h 92"/>
                  <a:gd name="T14" fmla="*/ 74 w 178"/>
                  <a:gd name="T15" fmla="*/ 84 h 92"/>
                  <a:gd name="T16" fmla="*/ 82 w 178"/>
                  <a:gd name="T17" fmla="*/ 86 h 92"/>
                  <a:gd name="T18" fmla="*/ 94 w 178"/>
                  <a:gd name="T19" fmla="*/ 84 h 92"/>
                  <a:gd name="T20" fmla="*/ 103 w 178"/>
                  <a:gd name="T21" fmla="*/ 92 h 92"/>
                  <a:gd name="T22" fmla="*/ 132 w 178"/>
                  <a:gd name="T23" fmla="*/ 90 h 92"/>
                  <a:gd name="T24" fmla="*/ 140 w 178"/>
                  <a:gd name="T25" fmla="*/ 84 h 92"/>
                  <a:gd name="T26" fmla="*/ 145 w 178"/>
                  <a:gd name="T27" fmla="*/ 77 h 92"/>
                  <a:gd name="T28" fmla="*/ 159 w 178"/>
                  <a:gd name="T29" fmla="*/ 79 h 92"/>
                  <a:gd name="T30" fmla="*/ 167 w 178"/>
                  <a:gd name="T31" fmla="*/ 88 h 92"/>
                  <a:gd name="T32" fmla="*/ 176 w 178"/>
                  <a:gd name="T33" fmla="*/ 90 h 92"/>
                  <a:gd name="T34" fmla="*/ 176 w 178"/>
                  <a:gd name="T35" fmla="*/ 82 h 92"/>
                  <a:gd name="T36" fmla="*/ 172 w 178"/>
                  <a:gd name="T37" fmla="*/ 75 h 92"/>
                  <a:gd name="T38" fmla="*/ 176 w 178"/>
                  <a:gd name="T39" fmla="*/ 65 h 92"/>
                  <a:gd name="T40" fmla="*/ 169 w 178"/>
                  <a:gd name="T41" fmla="*/ 57 h 92"/>
                  <a:gd name="T42" fmla="*/ 155 w 178"/>
                  <a:gd name="T43" fmla="*/ 54 h 92"/>
                  <a:gd name="T44" fmla="*/ 155 w 178"/>
                  <a:gd name="T45" fmla="*/ 46 h 92"/>
                  <a:gd name="T46" fmla="*/ 149 w 178"/>
                  <a:gd name="T47" fmla="*/ 42 h 92"/>
                  <a:gd name="T48" fmla="*/ 140 w 178"/>
                  <a:gd name="T49" fmla="*/ 34 h 92"/>
                  <a:gd name="T50" fmla="*/ 132 w 178"/>
                  <a:gd name="T51" fmla="*/ 25 h 92"/>
                  <a:gd name="T52" fmla="*/ 124 w 178"/>
                  <a:gd name="T53" fmla="*/ 27 h 92"/>
                  <a:gd name="T54" fmla="*/ 117 w 178"/>
                  <a:gd name="T55" fmla="*/ 32 h 92"/>
                  <a:gd name="T56" fmla="*/ 94 w 178"/>
                  <a:gd name="T57" fmla="*/ 32 h 92"/>
                  <a:gd name="T58" fmla="*/ 74 w 178"/>
                  <a:gd name="T59" fmla="*/ 17 h 92"/>
                  <a:gd name="T60" fmla="*/ 67 w 178"/>
                  <a:gd name="T61" fmla="*/ 11 h 92"/>
                  <a:gd name="T62" fmla="*/ 55 w 178"/>
                  <a:gd name="T63" fmla="*/ 11 h 92"/>
                  <a:gd name="T64" fmla="*/ 34 w 178"/>
                  <a:gd name="T65" fmla="*/ 7 h 92"/>
                  <a:gd name="T66" fmla="*/ 21 w 178"/>
                  <a:gd name="T67" fmla="*/ 0 h 92"/>
                  <a:gd name="T68" fmla="*/ 7 w 178"/>
                  <a:gd name="T69" fmla="*/ 5 h 92"/>
                  <a:gd name="T70" fmla="*/ 2 w 178"/>
                  <a:gd name="T71" fmla="*/ 19 h 92"/>
                  <a:gd name="T72" fmla="*/ 0 w 178"/>
                  <a:gd name="T73" fmla="*/ 25 h 9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78"/>
                  <a:gd name="T112" fmla="*/ 0 h 92"/>
                  <a:gd name="T113" fmla="*/ 178 w 178"/>
                  <a:gd name="T114" fmla="*/ 92 h 9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78" h="92">
                    <a:moveTo>
                      <a:pt x="0" y="25"/>
                    </a:moveTo>
                    <a:lnTo>
                      <a:pt x="11" y="29"/>
                    </a:lnTo>
                    <a:lnTo>
                      <a:pt x="21" y="32"/>
                    </a:lnTo>
                    <a:lnTo>
                      <a:pt x="28" y="38"/>
                    </a:lnTo>
                    <a:lnTo>
                      <a:pt x="30" y="44"/>
                    </a:lnTo>
                    <a:lnTo>
                      <a:pt x="32" y="52"/>
                    </a:lnTo>
                    <a:lnTo>
                      <a:pt x="36" y="57"/>
                    </a:lnTo>
                    <a:lnTo>
                      <a:pt x="40" y="57"/>
                    </a:lnTo>
                    <a:lnTo>
                      <a:pt x="40" y="73"/>
                    </a:lnTo>
                    <a:lnTo>
                      <a:pt x="36" y="80"/>
                    </a:lnTo>
                    <a:lnTo>
                      <a:pt x="40" y="82"/>
                    </a:lnTo>
                    <a:lnTo>
                      <a:pt x="46" y="82"/>
                    </a:lnTo>
                    <a:lnTo>
                      <a:pt x="51" y="80"/>
                    </a:lnTo>
                    <a:lnTo>
                      <a:pt x="65" y="80"/>
                    </a:lnTo>
                    <a:lnTo>
                      <a:pt x="71" y="82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82" y="86"/>
                    </a:lnTo>
                    <a:lnTo>
                      <a:pt x="90" y="84"/>
                    </a:lnTo>
                    <a:lnTo>
                      <a:pt x="94" y="84"/>
                    </a:lnTo>
                    <a:lnTo>
                      <a:pt x="94" y="90"/>
                    </a:lnTo>
                    <a:lnTo>
                      <a:pt x="103" y="92"/>
                    </a:lnTo>
                    <a:lnTo>
                      <a:pt x="105" y="90"/>
                    </a:lnTo>
                    <a:lnTo>
                      <a:pt x="132" y="90"/>
                    </a:lnTo>
                    <a:lnTo>
                      <a:pt x="136" y="88"/>
                    </a:lnTo>
                    <a:lnTo>
                      <a:pt x="140" y="84"/>
                    </a:lnTo>
                    <a:lnTo>
                      <a:pt x="144" y="79"/>
                    </a:lnTo>
                    <a:lnTo>
                      <a:pt x="145" y="77"/>
                    </a:lnTo>
                    <a:lnTo>
                      <a:pt x="153" y="77"/>
                    </a:lnTo>
                    <a:lnTo>
                      <a:pt x="159" y="79"/>
                    </a:lnTo>
                    <a:lnTo>
                      <a:pt x="165" y="84"/>
                    </a:lnTo>
                    <a:lnTo>
                      <a:pt x="167" y="88"/>
                    </a:lnTo>
                    <a:lnTo>
                      <a:pt x="172" y="92"/>
                    </a:lnTo>
                    <a:lnTo>
                      <a:pt x="176" y="90"/>
                    </a:lnTo>
                    <a:lnTo>
                      <a:pt x="178" y="86"/>
                    </a:lnTo>
                    <a:lnTo>
                      <a:pt x="176" y="82"/>
                    </a:lnTo>
                    <a:lnTo>
                      <a:pt x="172" y="79"/>
                    </a:lnTo>
                    <a:lnTo>
                      <a:pt x="172" y="75"/>
                    </a:lnTo>
                    <a:lnTo>
                      <a:pt x="178" y="69"/>
                    </a:lnTo>
                    <a:lnTo>
                      <a:pt x="176" y="65"/>
                    </a:lnTo>
                    <a:lnTo>
                      <a:pt x="172" y="59"/>
                    </a:lnTo>
                    <a:lnTo>
                      <a:pt x="169" y="57"/>
                    </a:lnTo>
                    <a:lnTo>
                      <a:pt x="157" y="57"/>
                    </a:lnTo>
                    <a:lnTo>
                      <a:pt x="155" y="54"/>
                    </a:lnTo>
                    <a:lnTo>
                      <a:pt x="157" y="50"/>
                    </a:lnTo>
                    <a:lnTo>
                      <a:pt x="155" y="46"/>
                    </a:lnTo>
                    <a:lnTo>
                      <a:pt x="153" y="44"/>
                    </a:lnTo>
                    <a:lnTo>
                      <a:pt x="149" y="42"/>
                    </a:lnTo>
                    <a:lnTo>
                      <a:pt x="142" y="36"/>
                    </a:lnTo>
                    <a:lnTo>
                      <a:pt x="140" y="34"/>
                    </a:lnTo>
                    <a:lnTo>
                      <a:pt x="136" y="29"/>
                    </a:lnTo>
                    <a:lnTo>
                      <a:pt x="132" y="25"/>
                    </a:lnTo>
                    <a:lnTo>
                      <a:pt x="128" y="25"/>
                    </a:lnTo>
                    <a:lnTo>
                      <a:pt x="124" y="27"/>
                    </a:lnTo>
                    <a:lnTo>
                      <a:pt x="119" y="29"/>
                    </a:lnTo>
                    <a:lnTo>
                      <a:pt x="117" y="32"/>
                    </a:lnTo>
                    <a:lnTo>
                      <a:pt x="109" y="29"/>
                    </a:lnTo>
                    <a:lnTo>
                      <a:pt x="94" y="32"/>
                    </a:lnTo>
                    <a:lnTo>
                      <a:pt x="86" y="29"/>
                    </a:lnTo>
                    <a:lnTo>
                      <a:pt x="74" y="17"/>
                    </a:lnTo>
                    <a:lnTo>
                      <a:pt x="69" y="13"/>
                    </a:lnTo>
                    <a:lnTo>
                      <a:pt x="67" y="11"/>
                    </a:lnTo>
                    <a:lnTo>
                      <a:pt x="61" y="9"/>
                    </a:lnTo>
                    <a:lnTo>
                      <a:pt x="55" y="11"/>
                    </a:lnTo>
                    <a:lnTo>
                      <a:pt x="50" y="11"/>
                    </a:lnTo>
                    <a:lnTo>
                      <a:pt x="34" y="7"/>
                    </a:lnTo>
                    <a:lnTo>
                      <a:pt x="28" y="7"/>
                    </a:lnTo>
                    <a:lnTo>
                      <a:pt x="21" y="0"/>
                    </a:lnTo>
                    <a:lnTo>
                      <a:pt x="13" y="2"/>
                    </a:lnTo>
                    <a:lnTo>
                      <a:pt x="7" y="5"/>
                    </a:lnTo>
                    <a:lnTo>
                      <a:pt x="3" y="11"/>
                    </a:lnTo>
                    <a:lnTo>
                      <a:pt x="2" y="19"/>
                    </a:lnTo>
                    <a:lnTo>
                      <a:pt x="0" y="23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5" name="Freeform 203"/>
              <p:cNvSpPr>
                <a:spLocks/>
              </p:cNvSpPr>
              <p:nvPr/>
            </p:nvSpPr>
            <p:spPr bwMode="gray">
              <a:xfrm>
                <a:off x="2819" y="2564"/>
                <a:ext cx="43" cy="13"/>
              </a:xfrm>
              <a:custGeom>
                <a:avLst/>
                <a:gdLst>
                  <a:gd name="T0" fmla="*/ 6 w 87"/>
                  <a:gd name="T1" fmla="*/ 25 h 25"/>
                  <a:gd name="T2" fmla="*/ 27 w 87"/>
                  <a:gd name="T3" fmla="*/ 25 h 25"/>
                  <a:gd name="T4" fmla="*/ 27 w 87"/>
                  <a:gd name="T5" fmla="*/ 24 h 25"/>
                  <a:gd name="T6" fmla="*/ 29 w 87"/>
                  <a:gd name="T7" fmla="*/ 20 h 25"/>
                  <a:gd name="T8" fmla="*/ 37 w 87"/>
                  <a:gd name="T9" fmla="*/ 18 h 25"/>
                  <a:gd name="T10" fmla="*/ 75 w 87"/>
                  <a:gd name="T11" fmla="*/ 18 h 25"/>
                  <a:gd name="T12" fmla="*/ 81 w 87"/>
                  <a:gd name="T13" fmla="*/ 16 h 25"/>
                  <a:gd name="T14" fmla="*/ 85 w 87"/>
                  <a:gd name="T15" fmla="*/ 12 h 25"/>
                  <a:gd name="T16" fmla="*/ 87 w 87"/>
                  <a:gd name="T17" fmla="*/ 6 h 25"/>
                  <a:gd name="T18" fmla="*/ 85 w 87"/>
                  <a:gd name="T19" fmla="*/ 2 h 25"/>
                  <a:gd name="T20" fmla="*/ 60 w 87"/>
                  <a:gd name="T21" fmla="*/ 2 h 25"/>
                  <a:gd name="T22" fmla="*/ 52 w 87"/>
                  <a:gd name="T23" fmla="*/ 4 h 25"/>
                  <a:gd name="T24" fmla="*/ 43 w 87"/>
                  <a:gd name="T25" fmla="*/ 4 h 25"/>
                  <a:gd name="T26" fmla="*/ 37 w 87"/>
                  <a:gd name="T27" fmla="*/ 2 h 25"/>
                  <a:gd name="T28" fmla="*/ 33 w 87"/>
                  <a:gd name="T29" fmla="*/ 0 h 25"/>
                  <a:gd name="T30" fmla="*/ 29 w 87"/>
                  <a:gd name="T31" fmla="*/ 4 h 25"/>
                  <a:gd name="T32" fmla="*/ 23 w 87"/>
                  <a:gd name="T33" fmla="*/ 6 h 25"/>
                  <a:gd name="T34" fmla="*/ 8 w 87"/>
                  <a:gd name="T35" fmla="*/ 6 h 25"/>
                  <a:gd name="T36" fmla="*/ 2 w 87"/>
                  <a:gd name="T37" fmla="*/ 10 h 25"/>
                  <a:gd name="T38" fmla="*/ 0 w 87"/>
                  <a:gd name="T39" fmla="*/ 10 h 25"/>
                  <a:gd name="T40" fmla="*/ 4 w 87"/>
                  <a:gd name="T41" fmla="*/ 22 h 25"/>
                  <a:gd name="T42" fmla="*/ 6 w 87"/>
                  <a:gd name="T43" fmla="*/ 25 h 2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87"/>
                  <a:gd name="T67" fmla="*/ 0 h 25"/>
                  <a:gd name="T68" fmla="*/ 87 w 87"/>
                  <a:gd name="T69" fmla="*/ 25 h 25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87" h="25">
                    <a:moveTo>
                      <a:pt x="6" y="25"/>
                    </a:moveTo>
                    <a:lnTo>
                      <a:pt x="27" y="25"/>
                    </a:lnTo>
                    <a:lnTo>
                      <a:pt x="27" y="24"/>
                    </a:lnTo>
                    <a:lnTo>
                      <a:pt x="29" y="20"/>
                    </a:lnTo>
                    <a:lnTo>
                      <a:pt x="37" y="18"/>
                    </a:lnTo>
                    <a:lnTo>
                      <a:pt x="75" y="18"/>
                    </a:lnTo>
                    <a:lnTo>
                      <a:pt x="81" y="16"/>
                    </a:lnTo>
                    <a:lnTo>
                      <a:pt x="85" y="12"/>
                    </a:lnTo>
                    <a:lnTo>
                      <a:pt x="87" y="6"/>
                    </a:lnTo>
                    <a:lnTo>
                      <a:pt x="85" y="2"/>
                    </a:lnTo>
                    <a:lnTo>
                      <a:pt x="60" y="2"/>
                    </a:lnTo>
                    <a:lnTo>
                      <a:pt x="52" y="4"/>
                    </a:lnTo>
                    <a:lnTo>
                      <a:pt x="43" y="4"/>
                    </a:lnTo>
                    <a:lnTo>
                      <a:pt x="37" y="2"/>
                    </a:lnTo>
                    <a:lnTo>
                      <a:pt x="33" y="0"/>
                    </a:lnTo>
                    <a:lnTo>
                      <a:pt x="29" y="4"/>
                    </a:lnTo>
                    <a:lnTo>
                      <a:pt x="23" y="6"/>
                    </a:lnTo>
                    <a:lnTo>
                      <a:pt x="8" y="6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4" y="22"/>
                    </a:lnTo>
                    <a:lnTo>
                      <a:pt x="6" y="25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0516" name="Freeform 204"/>
              <p:cNvSpPr>
                <a:spLocks/>
              </p:cNvSpPr>
              <p:nvPr/>
            </p:nvSpPr>
            <p:spPr bwMode="gray">
              <a:xfrm>
                <a:off x="3138" y="2737"/>
                <a:ext cx="76" cy="103"/>
              </a:xfrm>
              <a:custGeom>
                <a:avLst/>
                <a:gdLst>
                  <a:gd name="T0" fmla="*/ 16 w 152"/>
                  <a:gd name="T1" fmla="*/ 43 h 206"/>
                  <a:gd name="T2" fmla="*/ 12 w 152"/>
                  <a:gd name="T3" fmla="*/ 50 h 206"/>
                  <a:gd name="T4" fmla="*/ 20 w 152"/>
                  <a:gd name="T5" fmla="*/ 68 h 206"/>
                  <a:gd name="T6" fmla="*/ 12 w 152"/>
                  <a:gd name="T7" fmla="*/ 87 h 206"/>
                  <a:gd name="T8" fmla="*/ 8 w 152"/>
                  <a:gd name="T9" fmla="*/ 133 h 206"/>
                  <a:gd name="T10" fmla="*/ 8 w 152"/>
                  <a:gd name="T11" fmla="*/ 150 h 206"/>
                  <a:gd name="T12" fmla="*/ 39 w 152"/>
                  <a:gd name="T13" fmla="*/ 175 h 206"/>
                  <a:gd name="T14" fmla="*/ 47 w 152"/>
                  <a:gd name="T15" fmla="*/ 193 h 206"/>
                  <a:gd name="T16" fmla="*/ 50 w 152"/>
                  <a:gd name="T17" fmla="*/ 200 h 206"/>
                  <a:gd name="T18" fmla="*/ 60 w 152"/>
                  <a:gd name="T19" fmla="*/ 202 h 206"/>
                  <a:gd name="T20" fmla="*/ 68 w 152"/>
                  <a:gd name="T21" fmla="*/ 187 h 206"/>
                  <a:gd name="T22" fmla="*/ 75 w 152"/>
                  <a:gd name="T23" fmla="*/ 189 h 206"/>
                  <a:gd name="T24" fmla="*/ 87 w 152"/>
                  <a:gd name="T25" fmla="*/ 193 h 206"/>
                  <a:gd name="T26" fmla="*/ 85 w 152"/>
                  <a:gd name="T27" fmla="*/ 173 h 206"/>
                  <a:gd name="T28" fmla="*/ 81 w 152"/>
                  <a:gd name="T29" fmla="*/ 162 h 206"/>
                  <a:gd name="T30" fmla="*/ 85 w 152"/>
                  <a:gd name="T31" fmla="*/ 158 h 206"/>
                  <a:gd name="T32" fmla="*/ 85 w 152"/>
                  <a:gd name="T33" fmla="*/ 148 h 206"/>
                  <a:gd name="T34" fmla="*/ 100 w 152"/>
                  <a:gd name="T35" fmla="*/ 145 h 206"/>
                  <a:gd name="T36" fmla="*/ 100 w 152"/>
                  <a:gd name="T37" fmla="*/ 139 h 206"/>
                  <a:gd name="T38" fmla="*/ 108 w 152"/>
                  <a:gd name="T39" fmla="*/ 145 h 206"/>
                  <a:gd name="T40" fmla="*/ 112 w 152"/>
                  <a:gd name="T41" fmla="*/ 145 h 206"/>
                  <a:gd name="T42" fmla="*/ 125 w 152"/>
                  <a:gd name="T43" fmla="*/ 143 h 206"/>
                  <a:gd name="T44" fmla="*/ 133 w 152"/>
                  <a:gd name="T45" fmla="*/ 152 h 206"/>
                  <a:gd name="T46" fmla="*/ 141 w 152"/>
                  <a:gd name="T47" fmla="*/ 158 h 206"/>
                  <a:gd name="T48" fmla="*/ 144 w 152"/>
                  <a:gd name="T49" fmla="*/ 145 h 206"/>
                  <a:gd name="T50" fmla="*/ 139 w 152"/>
                  <a:gd name="T51" fmla="*/ 129 h 206"/>
                  <a:gd name="T52" fmla="*/ 141 w 152"/>
                  <a:gd name="T53" fmla="*/ 121 h 206"/>
                  <a:gd name="T54" fmla="*/ 137 w 152"/>
                  <a:gd name="T55" fmla="*/ 112 h 206"/>
                  <a:gd name="T56" fmla="*/ 139 w 152"/>
                  <a:gd name="T57" fmla="*/ 96 h 206"/>
                  <a:gd name="T58" fmla="*/ 135 w 152"/>
                  <a:gd name="T59" fmla="*/ 85 h 206"/>
                  <a:gd name="T60" fmla="*/ 127 w 152"/>
                  <a:gd name="T61" fmla="*/ 77 h 206"/>
                  <a:gd name="T62" fmla="*/ 129 w 152"/>
                  <a:gd name="T63" fmla="*/ 73 h 206"/>
                  <a:gd name="T64" fmla="*/ 129 w 152"/>
                  <a:gd name="T65" fmla="*/ 72 h 206"/>
                  <a:gd name="T66" fmla="*/ 127 w 152"/>
                  <a:gd name="T67" fmla="*/ 60 h 206"/>
                  <a:gd name="T68" fmla="*/ 133 w 152"/>
                  <a:gd name="T69" fmla="*/ 54 h 206"/>
                  <a:gd name="T70" fmla="*/ 150 w 152"/>
                  <a:gd name="T71" fmla="*/ 52 h 206"/>
                  <a:gd name="T72" fmla="*/ 148 w 152"/>
                  <a:gd name="T73" fmla="*/ 31 h 206"/>
                  <a:gd name="T74" fmla="*/ 137 w 152"/>
                  <a:gd name="T75" fmla="*/ 29 h 206"/>
                  <a:gd name="T76" fmla="*/ 123 w 152"/>
                  <a:gd name="T77" fmla="*/ 31 h 206"/>
                  <a:gd name="T78" fmla="*/ 119 w 152"/>
                  <a:gd name="T79" fmla="*/ 2 h 206"/>
                  <a:gd name="T80" fmla="*/ 110 w 152"/>
                  <a:gd name="T81" fmla="*/ 0 h 206"/>
                  <a:gd name="T82" fmla="*/ 96 w 152"/>
                  <a:gd name="T83" fmla="*/ 4 h 206"/>
                  <a:gd name="T84" fmla="*/ 87 w 152"/>
                  <a:gd name="T85" fmla="*/ 4 h 206"/>
                  <a:gd name="T86" fmla="*/ 73 w 152"/>
                  <a:gd name="T87" fmla="*/ 8 h 206"/>
                  <a:gd name="T88" fmla="*/ 20 w 152"/>
                  <a:gd name="T89" fmla="*/ 41 h 20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52"/>
                  <a:gd name="T136" fmla="*/ 0 h 206"/>
                  <a:gd name="T137" fmla="*/ 152 w 152"/>
                  <a:gd name="T138" fmla="*/ 206 h 20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52" h="206">
                    <a:moveTo>
                      <a:pt x="20" y="41"/>
                    </a:moveTo>
                    <a:lnTo>
                      <a:pt x="16" y="43"/>
                    </a:lnTo>
                    <a:lnTo>
                      <a:pt x="14" y="48"/>
                    </a:lnTo>
                    <a:lnTo>
                      <a:pt x="12" y="50"/>
                    </a:lnTo>
                    <a:lnTo>
                      <a:pt x="14" y="58"/>
                    </a:lnTo>
                    <a:lnTo>
                      <a:pt x="20" y="68"/>
                    </a:lnTo>
                    <a:lnTo>
                      <a:pt x="20" y="73"/>
                    </a:lnTo>
                    <a:lnTo>
                      <a:pt x="12" y="87"/>
                    </a:lnTo>
                    <a:lnTo>
                      <a:pt x="0" y="129"/>
                    </a:lnTo>
                    <a:lnTo>
                      <a:pt x="8" y="133"/>
                    </a:lnTo>
                    <a:lnTo>
                      <a:pt x="14" y="143"/>
                    </a:lnTo>
                    <a:lnTo>
                      <a:pt x="8" y="150"/>
                    </a:lnTo>
                    <a:lnTo>
                      <a:pt x="22" y="162"/>
                    </a:lnTo>
                    <a:lnTo>
                      <a:pt x="39" y="175"/>
                    </a:lnTo>
                    <a:lnTo>
                      <a:pt x="50" y="185"/>
                    </a:lnTo>
                    <a:lnTo>
                      <a:pt x="47" y="193"/>
                    </a:lnTo>
                    <a:lnTo>
                      <a:pt x="47" y="196"/>
                    </a:lnTo>
                    <a:lnTo>
                      <a:pt x="50" y="200"/>
                    </a:lnTo>
                    <a:lnTo>
                      <a:pt x="58" y="206"/>
                    </a:lnTo>
                    <a:lnTo>
                      <a:pt x="60" y="202"/>
                    </a:lnTo>
                    <a:lnTo>
                      <a:pt x="62" y="191"/>
                    </a:lnTo>
                    <a:lnTo>
                      <a:pt x="68" y="187"/>
                    </a:lnTo>
                    <a:lnTo>
                      <a:pt x="71" y="187"/>
                    </a:lnTo>
                    <a:lnTo>
                      <a:pt x="75" y="189"/>
                    </a:lnTo>
                    <a:lnTo>
                      <a:pt x="83" y="191"/>
                    </a:lnTo>
                    <a:lnTo>
                      <a:pt x="87" y="193"/>
                    </a:lnTo>
                    <a:lnTo>
                      <a:pt x="89" y="189"/>
                    </a:lnTo>
                    <a:lnTo>
                      <a:pt x="85" y="173"/>
                    </a:lnTo>
                    <a:lnTo>
                      <a:pt x="81" y="166"/>
                    </a:lnTo>
                    <a:lnTo>
                      <a:pt x="81" y="162"/>
                    </a:lnTo>
                    <a:lnTo>
                      <a:pt x="85" y="160"/>
                    </a:lnTo>
                    <a:lnTo>
                      <a:pt x="85" y="158"/>
                    </a:lnTo>
                    <a:lnTo>
                      <a:pt x="83" y="154"/>
                    </a:lnTo>
                    <a:lnTo>
                      <a:pt x="85" y="148"/>
                    </a:lnTo>
                    <a:lnTo>
                      <a:pt x="98" y="148"/>
                    </a:lnTo>
                    <a:lnTo>
                      <a:pt x="100" y="145"/>
                    </a:lnTo>
                    <a:lnTo>
                      <a:pt x="98" y="141"/>
                    </a:lnTo>
                    <a:lnTo>
                      <a:pt x="100" y="139"/>
                    </a:lnTo>
                    <a:lnTo>
                      <a:pt x="106" y="143"/>
                    </a:lnTo>
                    <a:lnTo>
                      <a:pt x="108" y="145"/>
                    </a:lnTo>
                    <a:lnTo>
                      <a:pt x="108" y="146"/>
                    </a:lnTo>
                    <a:lnTo>
                      <a:pt x="112" y="145"/>
                    </a:lnTo>
                    <a:lnTo>
                      <a:pt x="118" y="143"/>
                    </a:lnTo>
                    <a:lnTo>
                      <a:pt x="125" y="143"/>
                    </a:lnTo>
                    <a:lnTo>
                      <a:pt x="129" y="146"/>
                    </a:lnTo>
                    <a:lnTo>
                      <a:pt x="133" y="152"/>
                    </a:lnTo>
                    <a:lnTo>
                      <a:pt x="137" y="156"/>
                    </a:lnTo>
                    <a:lnTo>
                      <a:pt x="141" y="158"/>
                    </a:lnTo>
                    <a:lnTo>
                      <a:pt x="142" y="154"/>
                    </a:lnTo>
                    <a:lnTo>
                      <a:pt x="144" y="145"/>
                    </a:lnTo>
                    <a:lnTo>
                      <a:pt x="146" y="137"/>
                    </a:lnTo>
                    <a:lnTo>
                      <a:pt x="139" y="129"/>
                    </a:lnTo>
                    <a:lnTo>
                      <a:pt x="139" y="125"/>
                    </a:lnTo>
                    <a:lnTo>
                      <a:pt x="141" y="121"/>
                    </a:lnTo>
                    <a:lnTo>
                      <a:pt x="141" y="116"/>
                    </a:lnTo>
                    <a:lnTo>
                      <a:pt x="137" y="112"/>
                    </a:lnTo>
                    <a:lnTo>
                      <a:pt x="137" y="102"/>
                    </a:lnTo>
                    <a:lnTo>
                      <a:pt x="139" y="96"/>
                    </a:lnTo>
                    <a:lnTo>
                      <a:pt x="139" y="93"/>
                    </a:lnTo>
                    <a:lnTo>
                      <a:pt x="135" y="85"/>
                    </a:lnTo>
                    <a:lnTo>
                      <a:pt x="131" y="79"/>
                    </a:lnTo>
                    <a:lnTo>
                      <a:pt x="127" y="77"/>
                    </a:lnTo>
                    <a:lnTo>
                      <a:pt x="125" y="75"/>
                    </a:lnTo>
                    <a:lnTo>
                      <a:pt x="129" y="73"/>
                    </a:lnTo>
                    <a:lnTo>
                      <a:pt x="131" y="73"/>
                    </a:lnTo>
                    <a:lnTo>
                      <a:pt x="129" y="72"/>
                    </a:lnTo>
                    <a:lnTo>
                      <a:pt x="129" y="68"/>
                    </a:lnTo>
                    <a:lnTo>
                      <a:pt x="127" y="60"/>
                    </a:lnTo>
                    <a:lnTo>
                      <a:pt x="129" y="56"/>
                    </a:lnTo>
                    <a:lnTo>
                      <a:pt x="133" y="54"/>
                    </a:lnTo>
                    <a:lnTo>
                      <a:pt x="139" y="52"/>
                    </a:lnTo>
                    <a:lnTo>
                      <a:pt x="150" y="52"/>
                    </a:lnTo>
                    <a:lnTo>
                      <a:pt x="152" y="33"/>
                    </a:lnTo>
                    <a:lnTo>
                      <a:pt x="148" y="31"/>
                    </a:lnTo>
                    <a:lnTo>
                      <a:pt x="142" y="31"/>
                    </a:lnTo>
                    <a:lnTo>
                      <a:pt x="137" y="29"/>
                    </a:lnTo>
                    <a:lnTo>
                      <a:pt x="129" y="29"/>
                    </a:lnTo>
                    <a:lnTo>
                      <a:pt x="123" y="31"/>
                    </a:lnTo>
                    <a:lnTo>
                      <a:pt x="119" y="31"/>
                    </a:lnTo>
                    <a:lnTo>
                      <a:pt x="119" y="2"/>
                    </a:lnTo>
                    <a:lnTo>
                      <a:pt x="116" y="2"/>
                    </a:lnTo>
                    <a:lnTo>
                      <a:pt x="110" y="0"/>
                    </a:lnTo>
                    <a:lnTo>
                      <a:pt x="102" y="2"/>
                    </a:lnTo>
                    <a:lnTo>
                      <a:pt x="96" y="4"/>
                    </a:lnTo>
                    <a:lnTo>
                      <a:pt x="91" y="2"/>
                    </a:lnTo>
                    <a:lnTo>
                      <a:pt x="87" y="4"/>
                    </a:lnTo>
                    <a:lnTo>
                      <a:pt x="75" y="8"/>
                    </a:lnTo>
                    <a:lnTo>
                      <a:pt x="73" y="8"/>
                    </a:lnTo>
                    <a:lnTo>
                      <a:pt x="70" y="41"/>
                    </a:lnTo>
                    <a:lnTo>
                      <a:pt x="20" y="41"/>
                    </a:lnTo>
                    <a:close/>
                  </a:path>
                </a:pathLst>
              </a:custGeom>
              <a:solidFill>
                <a:srgbClr val="B3B375"/>
              </a:solidFill>
              <a:ln w="12700" cmpd="sng">
                <a:solidFill>
                  <a:srgbClr val="85755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50200" name="Freeform 205"/>
            <p:cNvSpPr>
              <a:spLocks/>
            </p:cNvSpPr>
            <p:nvPr/>
          </p:nvSpPr>
          <p:spPr bwMode="gray">
            <a:xfrm>
              <a:off x="2347" y="2691"/>
              <a:ext cx="39" cy="63"/>
            </a:xfrm>
            <a:custGeom>
              <a:avLst/>
              <a:gdLst>
                <a:gd name="T0" fmla="*/ 11 w 77"/>
                <a:gd name="T1" fmla="*/ 2 h 127"/>
                <a:gd name="T2" fmla="*/ 0 w 77"/>
                <a:gd name="T3" fmla="*/ 21 h 127"/>
                <a:gd name="T4" fmla="*/ 0 w 77"/>
                <a:gd name="T5" fmla="*/ 41 h 127"/>
                <a:gd name="T6" fmla="*/ 2 w 77"/>
                <a:gd name="T7" fmla="*/ 54 h 127"/>
                <a:gd name="T8" fmla="*/ 6 w 77"/>
                <a:gd name="T9" fmla="*/ 64 h 127"/>
                <a:gd name="T10" fmla="*/ 11 w 77"/>
                <a:gd name="T11" fmla="*/ 71 h 127"/>
                <a:gd name="T12" fmla="*/ 15 w 77"/>
                <a:gd name="T13" fmla="*/ 75 h 127"/>
                <a:gd name="T14" fmla="*/ 15 w 77"/>
                <a:gd name="T15" fmla="*/ 77 h 127"/>
                <a:gd name="T16" fmla="*/ 13 w 77"/>
                <a:gd name="T17" fmla="*/ 87 h 127"/>
                <a:gd name="T18" fmla="*/ 10 w 77"/>
                <a:gd name="T19" fmla="*/ 96 h 127"/>
                <a:gd name="T20" fmla="*/ 2 w 77"/>
                <a:gd name="T21" fmla="*/ 112 h 127"/>
                <a:gd name="T22" fmla="*/ 0 w 77"/>
                <a:gd name="T23" fmla="*/ 114 h 127"/>
                <a:gd name="T24" fmla="*/ 0 w 77"/>
                <a:gd name="T25" fmla="*/ 117 h 127"/>
                <a:gd name="T26" fmla="*/ 4 w 77"/>
                <a:gd name="T27" fmla="*/ 123 h 127"/>
                <a:gd name="T28" fmla="*/ 8 w 77"/>
                <a:gd name="T29" fmla="*/ 127 h 127"/>
                <a:gd name="T30" fmla="*/ 15 w 77"/>
                <a:gd name="T31" fmla="*/ 127 h 127"/>
                <a:gd name="T32" fmla="*/ 21 w 77"/>
                <a:gd name="T33" fmla="*/ 125 h 127"/>
                <a:gd name="T34" fmla="*/ 23 w 77"/>
                <a:gd name="T35" fmla="*/ 123 h 127"/>
                <a:gd name="T36" fmla="*/ 36 w 77"/>
                <a:gd name="T37" fmla="*/ 121 h 127"/>
                <a:gd name="T38" fmla="*/ 46 w 77"/>
                <a:gd name="T39" fmla="*/ 127 h 127"/>
                <a:gd name="T40" fmla="*/ 50 w 77"/>
                <a:gd name="T41" fmla="*/ 123 h 127"/>
                <a:gd name="T42" fmla="*/ 58 w 77"/>
                <a:gd name="T43" fmla="*/ 114 h 127"/>
                <a:gd name="T44" fmla="*/ 61 w 77"/>
                <a:gd name="T45" fmla="*/ 106 h 127"/>
                <a:gd name="T46" fmla="*/ 65 w 77"/>
                <a:gd name="T47" fmla="*/ 79 h 127"/>
                <a:gd name="T48" fmla="*/ 71 w 77"/>
                <a:gd name="T49" fmla="*/ 64 h 127"/>
                <a:gd name="T50" fmla="*/ 71 w 77"/>
                <a:gd name="T51" fmla="*/ 62 h 127"/>
                <a:gd name="T52" fmla="*/ 73 w 77"/>
                <a:gd name="T53" fmla="*/ 56 h 127"/>
                <a:gd name="T54" fmla="*/ 77 w 77"/>
                <a:gd name="T55" fmla="*/ 48 h 127"/>
                <a:gd name="T56" fmla="*/ 77 w 77"/>
                <a:gd name="T57" fmla="*/ 41 h 127"/>
                <a:gd name="T58" fmla="*/ 71 w 77"/>
                <a:gd name="T59" fmla="*/ 37 h 127"/>
                <a:gd name="T60" fmla="*/ 65 w 77"/>
                <a:gd name="T61" fmla="*/ 35 h 127"/>
                <a:gd name="T62" fmla="*/ 61 w 77"/>
                <a:gd name="T63" fmla="*/ 33 h 127"/>
                <a:gd name="T64" fmla="*/ 58 w 77"/>
                <a:gd name="T65" fmla="*/ 23 h 127"/>
                <a:gd name="T66" fmla="*/ 54 w 77"/>
                <a:gd name="T67" fmla="*/ 16 h 127"/>
                <a:gd name="T68" fmla="*/ 50 w 77"/>
                <a:gd name="T69" fmla="*/ 10 h 127"/>
                <a:gd name="T70" fmla="*/ 38 w 77"/>
                <a:gd name="T71" fmla="*/ 2 h 127"/>
                <a:gd name="T72" fmla="*/ 34 w 77"/>
                <a:gd name="T73" fmla="*/ 2 h 127"/>
                <a:gd name="T74" fmla="*/ 25 w 77"/>
                <a:gd name="T75" fmla="*/ 0 h 127"/>
                <a:gd name="T76" fmla="*/ 19 w 77"/>
                <a:gd name="T77" fmla="*/ 2 h 127"/>
                <a:gd name="T78" fmla="*/ 11 w 77"/>
                <a:gd name="T79" fmla="*/ 2 h 12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7"/>
                <a:gd name="T121" fmla="*/ 0 h 127"/>
                <a:gd name="T122" fmla="*/ 77 w 77"/>
                <a:gd name="T123" fmla="*/ 127 h 12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7" h="127">
                  <a:moveTo>
                    <a:pt x="11" y="2"/>
                  </a:moveTo>
                  <a:lnTo>
                    <a:pt x="0" y="21"/>
                  </a:lnTo>
                  <a:lnTo>
                    <a:pt x="0" y="41"/>
                  </a:lnTo>
                  <a:lnTo>
                    <a:pt x="2" y="54"/>
                  </a:lnTo>
                  <a:lnTo>
                    <a:pt x="6" y="64"/>
                  </a:lnTo>
                  <a:lnTo>
                    <a:pt x="11" y="71"/>
                  </a:lnTo>
                  <a:lnTo>
                    <a:pt x="15" y="75"/>
                  </a:lnTo>
                  <a:lnTo>
                    <a:pt x="15" y="77"/>
                  </a:lnTo>
                  <a:lnTo>
                    <a:pt x="13" y="87"/>
                  </a:lnTo>
                  <a:lnTo>
                    <a:pt x="10" y="96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7"/>
                  </a:lnTo>
                  <a:lnTo>
                    <a:pt x="4" y="123"/>
                  </a:lnTo>
                  <a:lnTo>
                    <a:pt x="8" y="127"/>
                  </a:lnTo>
                  <a:lnTo>
                    <a:pt x="15" y="127"/>
                  </a:lnTo>
                  <a:lnTo>
                    <a:pt x="21" y="125"/>
                  </a:lnTo>
                  <a:lnTo>
                    <a:pt x="23" y="123"/>
                  </a:lnTo>
                  <a:lnTo>
                    <a:pt x="36" y="121"/>
                  </a:lnTo>
                  <a:lnTo>
                    <a:pt x="46" y="127"/>
                  </a:lnTo>
                  <a:lnTo>
                    <a:pt x="50" y="123"/>
                  </a:lnTo>
                  <a:lnTo>
                    <a:pt x="58" y="114"/>
                  </a:lnTo>
                  <a:lnTo>
                    <a:pt x="61" y="106"/>
                  </a:lnTo>
                  <a:lnTo>
                    <a:pt x="65" y="79"/>
                  </a:lnTo>
                  <a:lnTo>
                    <a:pt x="71" y="64"/>
                  </a:lnTo>
                  <a:lnTo>
                    <a:pt x="71" y="62"/>
                  </a:lnTo>
                  <a:lnTo>
                    <a:pt x="73" y="56"/>
                  </a:lnTo>
                  <a:lnTo>
                    <a:pt x="77" y="48"/>
                  </a:lnTo>
                  <a:lnTo>
                    <a:pt x="77" y="41"/>
                  </a:lnTo>
                  <a:lnTo>
                    <a:pt x="71" y="37"/>
                  </a:lnTo>
                  <a:lnTo>
                    <a:pt x="65" y="35"/>
                  </a:lnTo>
                  <a:lnTo>
                    <a:pt x="61" y="33"/>
                  </a:lnTo>
                  <a:lnTo>
                    <a:pt x="58" y="23"/>
                  </a:lnTo>
                  <a:lnTo>
                    <a:pt x="54" y="16"/>
                  </a:lnTo>
                  <a:lnTo>
                    <a:pt x="50" y="10"/>
                  </a:lnTo>
                  <a:lnTo>
                    <a:pt x="38" y="2"/>
                  </a:lnTo>
                  <a:lnTo>
                    <a:pt x="34" y="2"/>
                  </a:lnTo>
                  <a:lnTo>
                    <a:pt x="25" y="0"/>
                  </a:lnTo>
                  <a:lnTo>
                    <a:pt x="19" y="2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1" name="Freeform 206"/>
            <p:cNvSpPr>
              <a:spLocks/>
            </p:cNvSpPr>
            <p:nvPr/>
          </p:nvSpPr>
          <p:spPr bwMode="gray">
            <a:xfrm>
              <a:off x="3136" y="2086"/>
              <a:ext cx="15" cy="29"/>
            </a:xfrm>
            <a:custGeom>
              <a:avLst/>
              <a:gdLst>
                <a:gd name="T0" fmla="*/ 19 w 28"/>
                <a:gd name="T1" fmla="*/ 0 h 58"/>
                <a:gd name="T2" fmla="*/ 17 w 28"/>
                <a:gd name="T3" fmla="*/ 2 h 58"/>
                <a:gd name="T4" fmla="*/ 15 w 28"/>
                <a:gd name="T5" fmla="*/ 8 h 58"/>
                <a:gd name="T6" fmla="*/ 15 w 28"/>
                <a:gd name="T7" fmla="*/ 12 h 58"/>
                <a:gd name="T8" fmla="*/ 0 w 28"/>
                <a:gd name="T9" fmla="*/ 27 h 58"/>
                <a:gd name="T10" fmla="*/ 0 w 28"/>
                <a:gd name="T11" fmla="*/ 39 h 58"/>
                <a:gd name="T12" fmla="*/ 7 w 28"/>
                <a:gd name="T13" fmla="*/ 58 h 58"/>
                <a:gd name="T14" fmla="*/ 23 w 28"/>
                <a:gd name="T15" fmla="*/ 58 h 58"/>
                <a:gd name="T16" fmla="*/ 21 w 28"/>
                <a:gd name="T17" fmla="*/ 50 h 58"/>
                <a:gd name="T18" fmla="*/ 21 w 28"/>
                <a:gd name="T19" fmla="*/ 41 h 58"/>
                <a:gd name="T20" fmla="*/ 23 w 28"/>
                <a:gd name="T21" fmla="*/ 35 h 58"/>
                <a:gd name="T22" fmla="*/ 28 w 28"/>
                <a:gd name="T23" fmla="*/ 25 h 58"/>
                <a:gd name="T24" fmla="*/ 23 w 28"/>
                <a:gd name="T25" fmla="*/ 12 h 58"/>
                <a:gd name="T26" fmla="*/ 19 w 28"/>
                <a:gd name="T27" fmla="*/ 0 h 5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8"/>
                <a:gd name="T43" fmla="*/ 0 h 58"/>
                <a:gd name="T44" fmla="*/ 28 w 28"/>
                <a:gd name="T45" fmla="*/ 58 h 5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8" h="58">
                  <a:moveTo>
                    <a:pt x="19" y="0"/>
                  </a:moveTo>
                  <a:lnTo>
                    <a:pt x="17" y="2"/>
                  </a:lnTo>
                  <a:lnTo>
                    <a:pt x="15" y="8"/>
                  </a:lnTo>
                  <a:lnTo>
                    <a:pt x="15" y="12"/>
                  </a:lnTo>
                  <a:lnTo>
                    <a:pt x="0" y="27"/>
                  </a:lnTo>
                  <a:lnTo>
                    <a:pt x="0" y="39"/>
                  </a:lnTo>
                  <a:lnTo>
                    <a:pt x="7" y="58"/>
                  </a:lnTo>
                  <a:lnTo>
                    <a:pt x="23" y="58"/>
                  </a:lnTo>
                  <a:lnTo>
                    <a:pt x="21" y="50"/>
                  </a:lnTo>
                  <a:lnTo>
                    <a:pt x="21" y="41"/>
                  </a:lnTo>
                  <a:lnTo>
                    <a:pt x="23" y="35"/>
                  </a:lnTo>
                  <a:lnTo>
                    <a:pt x="28" y="25"/>
                  </a:lnTo>
                  <a:lnTo>
                    <a:pt x="23" y="12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2" name="Freeform 207"/>
            <p:cNvSpPr>
              <a:spLocks/>
            </p:cNvSpPr>
            <p:nvPr/>
          </p:nvSpPr>
          <p:spPr bwMode="gray">
            <a:xfrm>
              <a:off x="5064" y="3104"/>
              <a:ext cx="37" cy="39"/>
            </a:xfrm>
            <a:custGeom>
              <a:avLst/>
              <a:gdLst>
                <a:gd name="T0" fmla="*/ 0 w 72"/>
                <a:gd name="T1" fmla="*/ 0 h 77"/>
                <a:gd name="T2" fmla="*/ 5 w 72"/>
                <a:gd name="T3" fmla="*/ 14 h 77"/>
                <a:gd name="T4" fmla="*/ 9 w 72"/>
                <a:gd name="T5" fmla="*/ 27 h 77"/>
                <a:gd name="T6" fmla="*/ 15 w 72"/>
                <a:gd name="T7" fmla="*/ 39 h 77"/>
                <a:gd name="T8" fmla="*/ 23 w 72"/>
                <a:gd name="T9" fmla="*/ 45 h 77"/>
                <a:gd name="T10" fmla="*/ 32 w 72"/>
                <a:gd name="T11" fmla="*/ 50 h 77"/>
                <a:gd name="T12" fmla="*/ 40 w 72"/>
                <a:gd name="T13" fmla="*/ 58 h 77"/>
                <a:gd name="T14" fmla="*/ 40 w 72"/>
                <a:gd name="T15" fmla="*/ 66 h 77"/>
                <a:gd name="T16" fmla="*/ 49 w 72"/>
                <a:gd name="T17" fmla="*/ 70 h 77"/>
                <a:gd name="T18" fmla="*/ 72 w 72"/>
                <a:gd name="T19" fmla="*/ 77 h 77"/>
                <a:gd name="T20" fmla="*/ 72 w 72"/>
                <a:gd name="T21" fmla="*/ 66 h 77"/>
                <a:gd name="T22" fmla="*/ 69 w 72"/>
                <a:gd name="T23" fmla="*/ 62 h 77"/>
                <a:gd name="T24" fmla="*/ 61 w 72"/>
                <a:gd name="T25" fmla="*/ 58 h 77"/>
                <a:gd name="T26" fmla="*/ 49 w 72"/>
                <a:gd name="T27" fmla="*/ 49 h 77"/>
                <a:gd name="T28" fmla="*/ 38 w 72"/>
                <a:gd name="T29" fmla="*/ 41 h 77"/>
                <a:gd name="T30" fmla="*/ 26 w 72"/>
                <a:gd name="T31" fmla="*/ 31 h 77"/>
                <a:gd name="T32" fmla="*/ 23 w 72"/>
                <a:gd name="T33" fmla="*/ 24 h 77"/>
                <a:gd name="T34" fmla="*/ 19 w 72"/>
                <a:gd name="T35" fmla="*/ 10 h 77"/>
                <a:gd name="T36" fmla="*/ 15 w 72"/>
                <a:gd name="T37" fmla="*/ 4 h 77"/>
                <a:gd name="T38" fmla="*/ 11 w 72"/>
                <a:gd name="T39" fmla="*/ 2 h 77"/>
                <a:gd name="T40" fmla="*/ 5 w 72"/>
                <a:gd name="T41" fmla="*/ 2 h 77"/>
                <a:gd name="T42" fmla="*/ 0 w 72"/>
                <a:gd name="T43" fmla="*/ 0 h 7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2"/>
                <a:gd name="T67" fmla="*/ 0 h 77"/>
                <a:gd name="T68" fmla="*/ 72 w 72"/>
                <a:gd name="T69" fmla="*/ 77 h 7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2" h="77">
                  <a:moveTo>
                    <a:pt x="0" y="0"/>
                  </a:moveTo>
                  <a:lnTo>
                    <a:pt x="5" y="14"/>
                  </a:lnTo>
                  <a:lnTo>
                    <a:pt x="9" y="27"/>
                  </a:lnTo>
                  <a:lnTo>
                    <a:pt x="15" y="39"/>
                  </a:lnTo>
                  <a:lnTo>
                    <a:pt x="23" y="45"/>
                  </a:lnTo>
                  <a:lnTo>
                    <a:pt x="32" y="50"/>
                  </a:lnTo>
                  <a:lnTo>
                    <a:pt x="40" y="58"/>
                  </a:lnTo>
                  <a:lnTo>
                    <a:pt x="40" y="66"/>
                  </a:lnTo>
                  <a:lnTo>
                    <a:pt x="49" y="70"/>
                  </a:lnTo>
                  <a:lnTo>
                    <a:pt x="72" y="77"/>
                  </a:lnTo>
                  <a:lnTo>
                    <a:pt x="72" y="66"/>
                  </a:lnTo>
                  <a:lnTo>
                    <a:pt x="69" y="62"/>
                  </a:lnTo>
                  <a:lnTo>
                    <a:pt x="61" y="58"/>
                  </a:lnTo>
                  <a:lnTo>
                    <a:pt x="49" y="49"/>
                  </a:lnTo>
                  <a:lnTo>
                    <a:pt x="38" y="41"/>
                  </a:lnTo>
                  <a:lnTo>
                    <a:pt x="26" y="31"/>
                  </a:lnTo>
                  <a:lnTo>
                    <a:pt x="23" y="24"/>
                  </a:lnTo>
                  <a:lnTo>
                    <a:pt x="19" y="10"/>
                  </a:lnTo>
                  <a:lnTo>
                    <a:pt x="15" y="4"/>
                  </a:lnTo>
                  <a:lnTo>
                    <a:pt x="11" y="2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3" name="Freeform 208"/>
            <p:cNvSpPr>
              <a:spLocks/>
            </p:cNvSpPr>
            <p:nvPr/>
          </p:nvSpPr>
          <p:spPr bwMode="gray">
            <a:xfrm>
              <a:off x="2971" y="1936"/>
              <a:ext cx="161" cy="161"/>
            </a:xfrm>
            <a:custGeom>
              <a:avLst/>
              <a:gdLst>
                <a:gd name="T0" fmla="*/ 267 w 323"/>
                <a:gd name="T1" fmla="*/ 69 h 323"/>
                <a:gd name="T2" fmla="*/ 283 w 323"/>
                <a:gd name="T3" fmla="*/ 71 h 323"/>
                <a:gd name="T4" fmla="*/ 302 w 323"/>
                <a:gd name="T5" fmla="*/ 78 h 323"/>
                <a:gd name="T6" fmla="*/ 323 w 323"/>
                <a:gd name="T7" fmla="*/ 80 h 323"/>
                <a:gd name="T8" fmla="*/ 317 w 323"/>
                <a:gd name="T9" fmla="*/ 102 h 323"/>
                <a:gd name="T10" fmla="*/ 319 w 323"/>
                <a:gd name="T11" fmla="*/ 127 h 323"/>
                <a:gd name="T12" fmla="*/ 317 w 323"/>
                <a:gd name="T13" fmla="*/ 138 h 323"/>
                <a:gd name="T14" fmla="*/ 310 w 323"/>
                <a:gd name="T15" fmla="*/ 144 h 323"/>
                <a:gd name="T16" fmla="*/ 294 w 323"/>
                <a:gd name="T17" fmla="*/ 152 h 323"/>
                <a:gd name="T18" fmla="*/ 281 w 323"/>
                <a:gd name="T19" fmla="*/ 173 h 323"/>
                <a:gd name="T20" fmla="*/ 267 w 323"/>
                <a:gd name="T21" fmla="*/ 190 h 323"/>
                <a:gd name="T22" fmla="*/ 281 w 323"/>
                <a:gd name="T23" fmla="*/ 190 h 323"/>
                <a:gd name="T24" fmla="*/ 288 w 323"/>
                <a:gd name="T25" fmla="*/ 200 h 323"/>
                <a:gd name="T26" fmla="*/ 302 w 323"/>
                <a:gd name="T27" fmla="*/ 207 h 323"/>
                <a:gd name="T28" fmla="*/ 300 w 323"/>
                <a:gd name="T29" fmla="*/ 217 h 323"/>
                <a:gd name="T30" fmla="*/ 290 w 323"/>
                <a:gd name="T31" fmla="*/ 226 h 323"/>
                <a:gd name="T32" fmla="*/ 290 w 323"/>
                <a:gd name="T33" fmla="*/ 240 h 323"/>
                <a:gd name="T34" fmla="*/ 292 w 323"/>
                <a:gd name="T35" fmla="*/ 261 h 323"/>
                <a:gd name="T36" fmla="*/ 304 w 323"/>
                <a:gd name="T37" fmla="*/ 265 h 323"/>
                <a:gd name="T38" fmla="*/ 296 w 323"/>
                <a:gd name="T39" fmla="*/ 274 h 323"/>
                <a:gd name="T40" fmla="*/ 296 w 323"/>
                <a:gd name="T41" fmla="*/ 278 h 323"/>
                <a:gd name="T42" fmla="*/ 281 w 323"/>
                <a:gd name="T43" fmla="*/ 278 h 323"/>
                <a:gd name="T44" fmla="*/ 283 w 323"/>
                <a:gd name="T45" fmla="*/ 298 h 323"/>
                <a:gd name="T46" fmla="*/ 246 w 323"/>
                <a:gd name="T47" fmla="*/ 290 h 323"/>
                <a:gd name="T48" fmla="*/ 212 w 323"/>
                <a:gd name="T49" fmla="*/ 288 h 323"/>
                <a:gd name="T50" fmla="*/ 198 w 323"/>
                <a:gd name="T51" fmla="*/ 303 h 323"/>
                <a:gd name="T52" fmla="*/ 185 w 323"/>
                <a:gd name="T53" fmla="*/ 321 h 323"/>
                <a:gd name="T54" fmla="*/ 167 w 323"/>
                <a:gd name="T55" fmla="*/ 321 h 323"/>
                <a:gd name="T56" fmla="*/ 160 w 323"/>
                <a:gd name="T57" fmla="*/ 321 h 323"/>
                <a:gd name="T58" fmla="*/ 141 w 323"/>
                <a:gd name="T59" fmla="*/ 315 h 323"/>
                <a:gd name="T60" fmla="*/ 125 w 323"/>
                <a:gd name="T61" fmla="*/ 315 h 323"/>
                <a:gd name="T62" fmla="*/ 116 w 323"/>
                <a:gd name="T63" fmla="*/ 307 h 323"/>
                <a:gd name="T64" fmla="*/ 100 w 323"/>
                <a:gd name="T65" fmla="*/ 303 h 323"/>
                <a:gd name="T66" fmla="*/ 93 w 323"/>
                <a:gd name="T67" fmla="*/ 292 h 323"/>
                <a:gd name="T68" fmla="*/ 95 w 323"/>
                <a:gd name="T69" fmla="*/ 259 h 323"/>
                <a:gd name="T70" fmla="*/ 70 w 323"/>
                <a:gd name="T71" fmla="*/ 184 h 323"/>
                <a:gd name="T72" fmla="*/ 64 w 323"/>
                <a:gd name="T73" fmla="*/ 159 h 323"/>
                <a:gd name="T74" fmla="*/ 52 w 323"/>
                <a:gd name="T75" fmla="*/ 148 h 323"/>
                <a:gd name="T76" fmla="*/ 50 w 323"/>
                <a:gd name="T77" fmla="*/ 134 h 323"/>
                <a:gd name="T78" fmla="*/ 22 w 323"/>
                <a:gd name="T79" fmla="*/ 128 h 323"/>
                <a:gd name="T80" fmla="*/ 2 w 323"/>
                <a:gd name="T81" fmla="*/ 121 h 323"/>
                <a:gd name="T82" fmla="*/ 4 w 323"/>
                <a:gd name="T83" fmla="*/ 109 h 323"/>
                <a:gd name="T84" fmla="*/ 2 w 323"/>
                <a:gd name="T85" fmla="*/ 102 h 323"/>
                <a:gd name="T86" fmla="*/ 18 w 323"/>
                <a:gd name="T87" fmla="*/ 94 h 323"/>
                <a:gd name="T88" fmla="*/ 43 w 323"/>
                <a:gd name="T89" fmla="*/ 94 h 323"/>
                <a:gd name="T90" fmla="*/ 62 w 323"/>
                <a:gd name="T91" fmla="*/ 92 h 323"/>
                <a:gd name="T92" fmla="*/ 85 w 323"/>
                <a:gd name="T93" fmla="*/ 96 h 323"/>
                <a:gd name="T94" fmla="*/ 75 w 323"/>
                <a:gd name="T95" fmla="*/ 65 h 323"/>
                <a:gd name="T96" fmla="*/ 79 w 323"/>
                <a:gd name="T97" fmla="*/ 50 h 323"/>
                <a:gd name="T98" fmla="*/ 98 w 323"/>
                <a:gd name="T99" fmla="*/ 63 h 323"/>
                <a:gd name="T100" fmla="*/ 127 w 323"/>
                <a:gd name="T101" fmla="*/ 57 h 323"/>
                <a:gd name="T102" fmla="*/ 139 w 323"/>
                <a:gd name="T103" fmla="*/ 42 h 323"/>
                <a:gd name="T104" fmla="*/ 154 w 323"/>
                <a:gd name="T105" fmla="*/ 7 h 323"/>
                <a:gd name="T106" fmla="*/ 183 w 323"/>
                <a:gd name="T107" fmla="*/ 7 h 323"/>
                <a:gd name="T108" fmla="*/ 189 w 323"/>
                <a:gd name="T109" fmla="*/ 19 h 323"/>
                <a:gd name="T110" fmla="*/ 194 w 323"/>
                <a:gd name="T111" fmla="*/ 23 h 323"/>
                <a:gd name="T112" fmla="*/ 210 w 323"/>
                <a:gd name="T113" fmla="*/ 30 h 323"/>
                <a:gd name="T114" fmla="*/ 215 w 323"/>
                <a:gd name="T115" fmla="*/ 40 h 323"/>
                <a:gd name="T116" fmla="*/ 235 w 323"/>
                <a:gd name="T117" fmla="*/ 48 h 323"/>
                <a:gd name="T118" fmla="*/ 240 w 323"/>
                <a:gd name="T119" fmla="*/ 53 h 323"/>
                <a:gd name="T120" fmla="*/ 263 w 323"/>
                <a:gd name="T121" fmla="*/ 55 h 32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23"/>
                <a:gd name="T184" fmla="*/ 0 h 323"/>
                <a:gd name="T185" fmla="*/ 323 w 323"/>
                <a:gd name="T186" fmla="*/ 323 h 32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23" h="323">
                  <a:moveTo>
                    <a:pt x="263" y="59"/>
                  </a:moveTo>
                  <a:lnTo>
                    <a:pt x="263" y="65"/>
                  </a:lnTo>
                  <a:lnTo>
                    <a:pt x="267" y="69"/>
                  </a:lnTo>
                  <a:lnTo>
                    <a:pt x="271" y="69"/>
                  </a:lnTo>
                  <a:lnTo>
                    <a:pt x="277" y="71"/>
                  </a:lnTo>
                  <a:lnTo>
                    <a:pt x="283" y="71"/>
                  </a:lnTo>
                  <a:lnTo>
                    <a:pt x="290" y="69"/>
                  </a:lnTo>
                  <a:lnTo>
                    <a:pt x="298" y="75"/>
                  </a:lnTo>
                  <a:lnTo>
                    <a:pt x="302" y="78"/>
                  </a:lnTo>
                  <a:lnTo>
                    <a:pt x="317" y="78"/>
                  </a:lnTo>
                  <a:lnTo>
                    <a:pt x="321" y="80"/>
                  </a:lnTo>
                  <a:lnTo>
                    <a:pt x="323" y="80"/>
                  </a:lnTo>
                  <a:lnTo>
                    <a:pt x="323" y="90"/>
                  </a:lnTo>
                  <a:lnTo>
                    <a:pt x="321" y="96"/>
                  </a:lnTo>
                  <a:lnTo>
                    <a:pt x="317" y="102"/>
                  </a:lnTo>
                  <a:lnTo>
                    <a:pt x="317" y="105"/>
                  </a:lnTo>
                  <a:lnTo>
                    <a:pt x="319" y="111"/>
                  </a:lnTo>
                  <a:lnTo>
                    <a:pt x="319" y="127"/>
                  </a:lnTo>
                  <a:lnTo>
                    <a:pt x="321" y="134"/>
                  </a:lnTo>
                  <a:lnTo>
                    <a:pt x="321" y="136"/>
                  </a:lnTo>
                  <a:lnTo>
                    <a:pt x="317" y="138"/>
                  </a:lnTo>
                  <a:lnTo>
                    <a:pt x="313" y="136"/>
                  </a:lnTo>
                  <a:lnTo>
                    <a:pt x="310" y="136"/>
                  </a:lnTo>
                  <a:lnTo>
                    <a:pt x="310" y="144"/>
                  </a:lnTo>
                  <a:lnTo>
                    <a:pt x="308" y="146"/>
                  </a:lnTo>
                  <a:lnTo>
                    <a:pt x="302" y="148"/>
                  </a:lnTo>
                  <a:lnTo>
                    <a:pt x="294" y="152"/>
                  </a:lnTo>
                  <a:lnTo>
                    <a:pt x="288" y="159"/>
                  </a:lnTo>
                  <a:lnTo>
                    <a:pt x="285" y="167"/>
                  </a:lnTo>
                  <a:lnTo>
                    <a:pt x="281" y="173"/>
                  </a:lnTo>
                  <a:lnTo>
                    <a:pt x="275" y="176"/>
                  </a:lnTo>
                  <a:lnTo>
                    <a:pt x="271" y="182"/>
                  </a:lnTo>
                  <a:lnTo>
                    <a:pt x="267" y="190"/>
                  </a:lnTo>
                  <a:lnTo>
                    <a:pt x="267" y="196"/>
                  </a:lnTo>
                  <a:lnTo>
                    <a:pt x="273" y="194"/>
                  </a:lnTo>
                  <a:lnTo>
                    <a:pt x="281" y="190"/>
                  </a:lnTo>
                  <a:lnTo>
                    <a:pt x="285" y="194"/>
                  </a:lnTo>
                  <a:lnTo>
                    <a:pt x="285" y="196"/>
                  </a:lnTo>
                  <a:lnTo>
                    <a:pt x="288" y="200"/>
                  </a:lnTo>
                  <a:lnTo>
                    <a:pt x="294" y="201"/>
                  </a:lnTo>
                  <a:lnTo>
                    <a:pt x="298" y="203"/>
                  </a:lnTo>
                  <a:lnTo>
                    <a:pt x="302" y="207"/>
                  </a:lnTo>
                  <a:lnTo>
                    <a:pt x="304" y="207"/>
                  </a:lnTo>
                  <a:lnTo>
                    <a:pt x="306" y="205"/>
                  </a:lnTo>
                  <a:lnTo>
                    <a:pt x="300" y="217"/>
                  </a:lnTo>
                  <a:lnTo>
                    <a:pt x="298" y="219"/>
                  </a:lnTo>
                  <a:lnTo>
                    <a:pt x="296" y="225"/>
                  </a:lnTo>
                  <a:lnTo>
                    <a:pt x="290" y="226"/>
                  </a:lnTo>
                  <a:lnTo>
                    <a:pt x="286" y="230"/>
                  </a:lnTo>
                  <a:lnTo>
                    <a:pt x="286" y="236"/>
                  </a:lnTo>
                  <a:lnTo>
                    <a:pt x="290" y="240"/>
                  </a:lnTo>
                  <a:lnTo>
                    <a:pt x="292" y="244"/>
                  </a:lnTo>
                  <a:lnTo>
                    <a:pt x="290" y="253"/>
                  </a:lnTo>
                  <a:lnTo>
                    <a:pt x="292" y="261"/>
                  </a:lnTo>
                  <a:lnTo>
                    <a:pt x="296" y="263"/>
                  </a:lnTo>
                  <a:lnTo>
                    <a:pt x="304" y="261"/>
                  </a:lnTo>
                  <a:lnTo>
                    <a:pt x="304" y="265"/>
                  </a:lnTo>
                  <a:lnTo>
                    <a:pt x="300" y="269"/>
                  </a:lnTo>
                  <a:lnTo>
                    <a:pt x="296" y="271"/>
                  </a:lnTo>
                  <a:lnTo>
                    <a:pt x="296" y="274"/>
                  </a:lnTo>
                  <a:lnTo>
                    <a:pt x="298" y="276"/>
                  </a:lnTo>
                  <a:lnTo>
                    <a:pt x="300" y="276"/>
                  </a:lnTo>
                  <a:lnTo>
                    <a:pt x="296" y="278"/>
                  </a:lnTo>
                  <a:lnTo>
                    <a:pt x="292" y="276"/>
                  </a:lnTo>
                  <a:lnTo>
                    <a:pt x="285" y="274"/>
                  </a:lnTo>
                  <a:lnTo>
                    <a:pt x="281" y="278"/>
                  </a:lnTo>
                  <a:lnTo>
                    <a:pt x="288" y="292"/>
                  </a:lnTo>
                  <a:lnTo>
                    <a:pt x="285" y="294"/>
                  </a:lnTo>
                  <a:lnTo>
                    <a:pt x="283" y="298"/>
                  </a:lnTo>
                  <a:lnTo>
                    <a:pt x="281" y="299"/>
                  </a:lnTo>
                  <a:lnTo>
                    <a:pt x="262" y="298"/>
                  </a:lnTo>
                  <a:lnTo>
                    <a:pt x="246" y="290"/>
                  </a:lnTo>
                  <a:lnTo>
                    <a:pt x="231" y="284"/>
                  </a:lnTo>
                  <a:lnTo>
                    <a:pt x="223" y="284"/>
                  </a:lnTo>
                  <a:lnTo>
                    <a:pt x="212" y="288"/>
                  </a:lnTo>
                  <a:lnTo>
                    <a:pt x="208" y="292"/>
                  </a:lnTo>
                  <a:lnTo>
                    <a:pt x="202" y="296"/>
                  </a:lnTo>
                  <a:lnTo>
                    <a:pt x="198" y="303"/>
                  </a:lnTo>
                  <a:lnTo>
                    <a:pt x="198" y="313"/>
                  </a:lnTo>
                  <a:lnTo>
                    <a:pt x="192" y="317"/>
                  </a:lnTo>
                  <a:lnTo>
                    <a:pt x="185" y="321"/>
                  </a:lnTo>
                  <a:lnTo>
                    <a:pt x="177" y="323"/>
                  </a:lnTo>
                  <a:lnTo>
                    <a:pt x="171" y="323"/>
                  </a:lnTo>
                  <a:lnTo>
                    <a:pt x="167" y="321"/>
                  </a:lnTo>
                  <a:lnTo>
                    <a:pt x="164" y="317"/>
                  </a:lnTo>
                  <a:lnTo>
                    <a:pt x="160" y="319"/>
                  </a:lnTo>
                  <a:lnTo>
                    <a:pt x="160" y="321"/>
                  </a:lnTo>
                  <a:lnTo>
                    <a:pt x="156" y="319"/>
                  </a:lnTo>
                  <a:lnTo>
                    <a:pt x="150" y="317"/>
                  </a:lnTo>
                  <a:lnTo>
                    <a:pt x="141" y="315"/>
                  </a:lnTo>
                  <a:lnTo>
                    <a:pt x="135" y="313"/>
                  </a:lnTo>
                  <a:lnTo>
                    <a:pt x="129" y="313"/>
                  </a:lnTo>
                  <a:lnTo>
                    <a:pt x="125" y="315"/>
                  </a:lnTo>
                  <a:lnTo>
                    <a:pt x="121" y="313"/>
                  </a:lnTo>
                  <a:lnTo>
                    <a:pt x="119" y="309"/>
                  </a:lnTo>
                  <a:lnTo>
                    <a:pt x="116" y="307"/>
                  </a:lnTo>
                  <a:lnTo>
                    <a:pt x="110" y="307"/>
                  </a:lnTo>
                  <a:lnTo>
                    <a:pt x="106" y="305"/>
                  </a:lnTo>
                  <a:lnTo>
                    <a:pt x="100" y="303"/>
                  </a:lnTo>
                  <a:lnTo>
                    <a:pt x="95" y="303"/>
                  </a:lnTo>
                  <a:lnTo>
                    <a:pt x="93" y="301"/>
                  </a:lnTo>
                  <a:lnTo>
                    <a:pt x="93" y="292"/>
                  </a:lnTo>
                  <a:lnTo>
                    <a:pt x="89" y="290"/>
                  </a:lnTo>
                  <a:lnTo>
                    <a:pt x="89" y="288"/>
                  </a:lnTo>
                  <a:lnTo>
                    <a:pt x="95" y="259"/>
                  </a:lnTo>
                  <a:lnTo>
                    <a:pt x="96" y="232"/>
                  </a:lnTo>
                  <a:lnTo>
                    <a:pt x="96" y="196"/>
                  </a:lnTo>
                  <a:lnTo>
                    <a:pt x="70" y="184"/>
                  </a:lnTo>
                  <a:lnTo>
                    <a:pt x="62" y="176"/>
                  </a:lnTo>
                  <a:lnTo>
                    <a:pt x="60" y="167"/>
                  </a:lnTo>
                  <a:lnTo>
                    <a:pt x="64" y="159"/>
                  </a:lnTo>
                  <a:lnTo>
                    <a:pt x="66" y="153"/>
                  </a:lnTo>
                  <a:lnTo>
                    <a:pt x="54" y="153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47" y="146"/>
                  </a:lnTo>
                  <a:lnTo>
                    <a:pt x="50" y="134"/>
                  </a:lnTo>
                  <a:lnTo>
                    <a:pt x="35" y="142"/>
                  </a:lnTo>
                  <a:lnTo>
                    <a:pt x="35" y="134"/>
                  </a:lnTo>
                  <a:lnTo>
                    <a:pt x="22" y="128"/>
                  </a:lnTo>
                  <a:lnTo>
                    <a:pt x="14" y="127"/>
                  </a:lnTo>
                  <a:lnTo>
                    <a:pt x="0" y="127"/>
                  </a:lnTo>
                  <a:lnTo>
                    <a:pt x="2" y="121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4" y="109"/>
                  </a:lnTo>
                  <a:lnTo>
                    <a:pt x="8" y="109"/>
                  </a:lnTo>
                  <a:lnTo>
                    <a:pt x="12" y="107"/>
                  </a:lnTo>
                  <a:lnTo>
                    <a:pt x="2" y="102"/>
                  </a:lnTo>
                  <a:lnTo>
                    <a:pt x="0" y="100"/>
                  </a:lnTo>
                  <a:lnTo>
                    <a:pt x="4" y="100"/>
                  </a:lnTo>
                  <a:lnTo>
                    <a:pt x="18" y="94"/>
                  </a:lnTo>
                  <a:lnTo>
                    <a:pt x="33" y="92"/>
                  </a:lnTo>
                  <a:lnTo>
                    <a:pt x="39" y="92"/>
                  </a:lnTo>
                  <a:lnTo>
                    <a:pt x="43" y="94"/>
                  </a:lnTo>
                  <a:lnTo>
                    <a:pt x="45" y="98"/>
                  </a:lnTo>
                  <a:lnTo>
                    <a:pt x="50" y="100"/>
                  </a:lnTo>
                  <a:lnTo>
                    <a:pt x="62" y="92"/>
                  </a:lnTo>
                  <a:lnTo>
                    <a:pt x="70" y="92"/>
                  </a:lnTo>
                  <a:lnTo>
                    <a:pt x="75" y="94"/>
                  </a:lnTo>
                  <a:lnTo>
                    <a:pt x="85" y="96"/>
                  </a:lnTo>
                  <a:lnTo>
                    <a:pt x="85" y="88"/>
                  </a:lnTo>
                  <a:lnTo>
                    <a:pt x="81" y="78"/>
                  </a:lnTo>
                  <a:lnTo>
                    <a:pt x="75" y="65"/>
                  </a:lnTo>
                  <a:lnTo>
                    <a:pt x="73" y="57"/>
                  </a:lnTo>
                  <a:lnTo>
                    <a:pt x="73" y="53"/>
                  </a:lnTo>
                  <a:lnTo>
                    <a:pt x="79" y="50"/>
                  </a:lnTo>
                  <a:lnTo>
                    <a:pt x="89" y="50"/>
                  </a:lnTo>
                  <a:lnTo>
                    <a:pt x="89" y="61"/>
                  </a:lnTo>
                  <a:lnTo>
                    <a:pt x="98" y="63"/>
                  </a:lnTo>
                  <a:lnTo>
                    <a:pt x="112" y="65"/>
                  </a:lnTo>
                  <a:lnTo>
                    <a:pt x="127" y="61"/>
                  </a:lnTo>
                  <a:lnTo>
                    <a:pt x="127" y="57"/>
                  </a:lnTo>
                  <a:lnTo>
                    <a:pt x="129" y="50"/>
                  </a:lnTo>
                  <a:lnTo>
                    <a:pt x="131" y="46"/>
                  </a:lnTo>
                  <a:lnTo>
                    <a:pt x="139" y="42"/>
                  </a:lnTo>
                  <a:lnTo>
                    <a:pt x="158" y="38"/>
                  </a:lnTo>
                  <a:lnTo>
                    <a:pt x="154" y="15"/>
                  </a:lnTo>
                  <a:lnTo>
                    <a:pt x="154" y="7"/>
                  </a:lnTo>
                  <a:lnTo>
                    <a:pt x="160" y="4"/>
                  </a:lnTo>
                  <a:lnTo>
                    <a:pt x="175" y="0"/>
                  </a:lnTo>
                  <a:lnTo>
                    <a:pt x="183" y="7"/>
                  </a:lnTo>
                  <a:lnTo>
                    <a:pt x="187" y="9"/>
                  </a:lnTo>
                  <a:lnTo>
                    <a:pt x="187" y="15"/>
                  </a:lnTo>
                  <a:lnTo>
                    <a:pt x="189" y="19"/>
                  </a:lnTo>
                  <a:lnTo>
                    <a:pt x="189" y="21"/>
                  </a:lnTo>
                  <a:lnTo>
                    <a:pt x="191" y="21"/>
                  </a:lnTo>
                  <a:lnTo>
                    <a:pt x="194" y="23"/>
                  </a:lnTo>
                  <a:lnTo>
                    <a:pt x="200" y="29"/>
                  </a:lnTo>
                  <a:lnTo>
                    <a:pt x="206" y="32"/>
                  </a:lnTo>
                  <a:lnTo>
                    <a:pt x="210" y="30"/>
                  </a:lnTo>
                  <a:lnTo>
                    <a:pt x="212" y="30"/>
                  </a:lnTo>
                  <a:lnTo>
                    <a:pt x="212" y="34"/>
                  </a:lnTo>
                  <a:lnTo>
                    <a:pt x="215" y="40"/>
                  </a:lnTo>
                  <a:lnTo>
                    <a:pt x="221" y="44"/>
                  </a:lnTo>
                  <a:lnTo>
                    <a:pt x="229" y="48"/>
                  </a:lnTo>
                  <a:lnTo>
                    <a:pt x="235" y="48"/>
                  </a:lnTo>
                  <a:lnTo>
                    <a:pt x="238" y="44"/>
                  </a:lnTo>
                  <a:lnTo>
                    <a:pt x="240" y="48"/>
                  </a:lnTo>
                  <a:lnTo>
                    <a:pt x="240" y="53"/>
                  </a:lnTo>
                  <a:lnTo>
                    <a:pt x="244" y="57"/>
                  </a:lnTo>
                  <a:lnTo>
                    <a:pt x="252" y="57"/>
                  </a:lnTo>
                  <a:lnTo>
                    <a:pt x="263" y="55"/>
                  </a:lnTo>
                  <a:lnTo>
                    <a:pt x="263" y="59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4" name="Freeform 209"/>
            <p:cNvSpPr>
              <a:spLocks noEditPoints="1"/>
            </p:cNvSpPr>
            <p:nvPr/>
          </p:nvSpPr>
          <p:spPr bwMode="gray">
            <a:xfrm>
              <a:off x="3273" y="1536"/>
              <a:ext cx="155" cy="223"/>
            </a:xfrm>
            <a:custGeom>
              <a:avLst/>
              <a:gdLst>
                <a:gd name="T0" fmla="*/ 259 w 311"/>
                <a:gd name="T1" fmla="*/ 35 h 446"/>
                <a:gd name="T2" fmla="*/ 238 w 311"/>
                <a:gd name="T3" fmla="*/ 21 h 446"/>
                <a:gd name="T4" fmla="*/ 225 w 311"/>
                <a:gd name="T5" fmla="*/ 0 h 446"/>
                <a:gd name="T6" fmla="*/ 204 w 311"/>
                <a:gd name="T7" fmla="*/ 12 h 446"/>
                <a:gd name="T8" fmla="*/ 186 w 311"/>
                <a:gd name="T9" fmla="*/ 10 h 446"/>
                <a:gd name="T10" fmla="*/ 171 w 311"/>
                <a:gd name="T11" fmla="*/ 23 h 446"/>
                <a:gd name="T12" fmla="*/ 165 w 311"/>
                <a:gd name="T13" fmla="*/ 33 h 446"/>
                <a:gd name="T14" fmla="*/ 165 w 311"/>
                <a:gd name="T15" fmla="*/ 52 h 446"/>
                <a:gd name="T16" fmla="*/ 154 w 311"/>
                <a:gd name="T17" fmla="*/ 69 h 446"/>
                <a:gd name="T18" fmla="*/ 135 w 311"/>
                <a:gd name="T19" fmla="*/ 68 h 446"/>
                <a:gd name="T20" fmla="*/ 123 w 311"/>
                <a:gd name="T21" fmla="*/ 66 h 446"/>
                <a:gd name="T22" fmla="*/ 94 w 311"/>
                <a:gd name="T23" fmla="*/ 66 h 446"/>
                <a:gd name="T24" fmla="*/ 54 w 311"/>
                <a:gd name="T25" fmla="*/ 37 h 446"/>
                <a:gd name="T26" fmla="*/ 37 w 311"/>
                <a:gd name="T27" fmla="*/ 52 h 446"/>
                <a:gd name="T28" fmla="*/ 56 w 311"/>
                <a:gd name="T29" fmla="*/ 68 h 446"/>
                <a:gd name="T30" fmla="*/ 83 w 311"/>
                <a:gd name="T31" fmla="*/ 79 h 446"/>
                <a:gd name="T32" fmla="*/ 102 w 311"/>
                <a:gd name="T33" fmla="*/ 100 h 446"/>
                <a:gd name="T34" fmla="*/ 104 w 311"/>
                <a:gd name="T35" fmla="*/ 117 h 446"/>
                <a:gd name="T36" fmla="*/ 110 w 311"/>
                <a:gd name="T37" fmla="*/ 131 h 446"/>
                <a:gd name="T38" fmla="*/ 106 w 311"/>
                <a:gd name="T39" fmla="*/ 152 h 446"/>
                <a:gd name="T40" fmla="*/ 106 w 311"/>
                <a:gd name="T41" fmla="*/ 164 h 446"/>
                <a:gd name="T42" fmla="*/ 123 w 311"/>
                <a:gd name="T43" fmla="*/ 183 h 446"/>
                <a:gd name="T44" fmla="*/ 146 w 311"/>
                <a:gd name="T45" fmla="*/ 196 h 446"/>
                <a:gd name="T46" fmla="*/ 135 w 311"/>
                <a:gd name="T47" fmla="*/ 233 h 446"/>
                <a:gd name="T48" fmla="*/ 115 w 311"/>
                <a:gd name="T49" fmla="*/ 265 h 446"/>
                <a:gd name="T50" fmla="*/ 85 w 311"/>
                <a:gd name="T51" fmla="*/ 285 h 446"/>
                <a:gd name="T52" fmla="*/ 77 w 311"/>
                <a:gd name="T53" fmla="*/ 292 h 446"/>
                <a:gd name="T54" fmla="*/ 65 w 311"/>
                <a:gd name="T55" fmla="*/ 315 h 446"/>
                <a:gd name="T56" fmla="*/ 69 w 311"/>
                <a:gd name="T57" fmla="*/ 342 h 446"/>
                <a:gd name="T58" fmla="*/ 71 w 311"/>
                <a:gd name="T59" fmla="*/ 367 h 446"/>
                <a:gd name="T60" fmla="*/ 71 w 311"/>
                <a:gd name="T61" fmla="*/ 394 h 446"/>
                <a:gd name="T62" fmla="*/ 77 w 311"/>
                <a:gd name="T63" fmla="*/ 408 h 446"/>
                <a:gd name="T64" fmla="*/ 90 w 311"/>
                <a:gd name="T65" fmla="*/ 404 h 446"/>
                <a:gd name="T66" fmla="*/ 106 w 311"/>
                <a:gd name="T67" fmla="*/ 417 h 446"/>
                <a:gd name="T68" fmla="*/ 100 w 311"/>
                <a:gd name="T69" fmla="*/ 435 h 446"/>
                <a:gd name="T70" fmla="*/ 108 w 311"/>
                <a:gd name="T71" fmla="*/ 427 h 446"/>
                <a:gd name="T72" fmla="*/ 110 w 311"/>
                <a:gd name="T73" fmla="*/ 436 h 446"/>
                <a:gd name="T74" fmla="*/ 127 w 311"/>
                <a:gd name="T75" fmla="*/ 442 h 446"/>
                <a:gd name="T76" fmla="*/ 150 w 311"/>
                <a:gd name="T77" fmla="*/ 425 h 446"/>
                <a:gd name="T78" fmla="*/ 167 w 311"/>
                <a:gd name="T79" fmla="*/ 417 h 446"/>
                <a:gd name="T80" fmla="*/ 192 w 311"/>
                <a:gd name="T81" fmla="*/ 410 h 446"/>
                <a:gd name="T82" fmla="*/ 246 w 311"/>
                <a:gd name="T83" fmla="*/ 381 h 446"/>
                <a:gd name="T84" fmla="*/ 305 w 311"/>
                <a:gd name="T85" fmla="*/ 319 h 446"/>
                <a:gd name="T86" fmla="*/ 290 w 311"/>
                <a:gd name="T87" fmla="*/ 310 h 446"/>
                <a:gd name="T88" fmla="*/ 290 w 311"/>
                <a:gd name="T89" fmla="*/ 283 h 446"/>
                <a:gd name="T90" fmla="*/ 292 w 311"/>
                <a:gd name="T91" fmla="*/ 265 h 446"/>
                <a:gd name="T92" fmla="*/ 286 w 311"/>
                <a:gd name="T93" fmla="*/ 250 h 446"/>
                <a:gd name="T94" fmla="*/ 275 w 311"/>
                <a:gd name="T95" fmla="*/ 235 h 446"/>
                <a:gd name="T96" fmla="*/ 273 w 311"/>
                <a:gd name="T97" fmla="*/ 223 h 446"/>
                <a:gd name="T98" fmla="*/ 273 w 311"/>
                <a:gd name="T99" fmla="*/ 202 h 446"/>
                <a:gd name="T100" fmla="*/ 271 w 311"/>
                <a:gd name="T101" fmla="*/ 177 h 446"/>
                <a:gd name="T102" fmla="*/ 255 w 311"/>
                <a:gd name="T103" fmla="*/ 123 h 446"/>
                <a:gd name="T104" fmla="*/ 269 w 311"/>
                <a:gd name="T105" fmla="*/ 100 h 446"/>
                <a:gd name="T106" fmla="*/ 259 w 311"/>
                <a:gd name="T107" fmla="*/ 81 h 446"/>
                <a:gd name="T108" fmla="*/ 254 w 311"/>
                <a:gd name="T109" fmla="*/ 54 h 446"/>
                <a:gd name="T110" fmla="*/ 4 w 311"/>
                <a:gd name="T111" fmla="*/ 423 h 446"/>
                <a:gd name="T112" fmla="*/ 12 w 311"/>
                <a:gd name="T113" fmla="*/ 442 h 446"/>
                <a:gd name="T114" fmla="*/ 8 w 311"/>
                <a:gd name="T115" fmla="*/ 427 h 44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1"/>
                <a:gd name="T175" fmla="*/ 0 h 446"/>
                <a:gd name="T176" fmla="*/ 311 w 311"/>
                <a:gd name="T177" fmla="*/ 446 h 44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1" h="446">
                  <a:moveTo>
                    <a:pt x="265" y="37"/>
                  </a:moveTo>
                  <a:lnTo>
                    <a:pt x="263" y="35"/>
                  </a:lnTo>
                  <a:lnTo>
                    <a:pt x="259" y="35"/>
                  </a:lnTo>
                  <a:lnTo>
                    <a:pt x="254" y="33"/>
                  </a:lnTo>
                  <a:lnTo>
                    <a:pt x="250" y="29"/>
                  </a:lnTo>
                  <a:lnTo>
                    <a:pt x="238" y="21"/>
                  </a:lnTo>
                  <a:lnTo>
                    <a:pt x="230" y="14"/>
                  </a:lnTo>
                  <a:lnTo>
                    <a:pt x="227" y="4"/>
                  </a:lnTo>
                  <a:lnTo>
                    <a:pt x="225" y="0"/>
                  </a:lnTo>
                  <a:lnTo>
                    <a:pt x="219" y="2"/>
                  </a:lnTo>
                  <a:lnTo>
                    <a:pt x="211" y="8"/>
                  </a:lnTo>
                  <a:lnTo>
                    <a:pt x="204" y="12"/>
                  </a:lnTo>
                  <a:lnTo>
                    <a:pt x="198" y="8"/>
                  </a:lnTo>
                  <a:lnTo>
                    <a:pt x="188" y="8"/>
                  </a:lnTo>
                  <a:lnTo>
                    <a:pt x="186" y="10"/>
                  </a:lnTo>
                  <a:lnTo>
                    <a:pt x="184" y="16"/>
                  </a:lnTo>
                  <a:lnTo>
                    <a:pt x="179" y="19"/>
                  </a:lnTo>
                  <a:lnTo>
                    <a:pt x="171" y="23"/>
                  </a:lnTo>
                  <a:lnTo>
                    <a:pt x="167" y="29"/>
                  </a:lnTo>
                  <a:lnTo>
                    <a:pt x="165" y="31"/>
                  </a:lnTo>
                  <a:lnTo>
                    <a:pt x="165" y="33"/>
                  </a:lnTo>
                  <a:lnTo>
                    <a:pt x="163" y="37"/>
                  </a:lnTo>
                  <a:lnTo>
                    <a:pt x="165" y="41"/>
                  </a:lnTo>
                  <a:lnTo>
                    <a:pt x="165" y="52"/>
                  </a:lnTo>
                  <a:lnTo>
                    <a:pt x="163" y="60"/>
                  </a:lnTo>
                  <a:lnTo>
                    <a:pt x="159" y="66"/>
                  </a:lnTo>
                  <a:lnTo>
                    <a:pt x="154" y="69"/>
                  </a:lnTo>
                  <a:lnTo>
                    <a:pt x="150" y="73"/>
                  </a:lnTo>
                  <a:lnTo>
                    <a:pt x="150" y="79"/>
                  </a:lnTo>
                  <a:lnTo>
                    <a:pt x="135" y="68"/>
                  </a:lnTo>
                  <a:lnTo>
                    <a:pt x="133" y="64"/>
                  </a:lnTo>
                  <a:lnTo>
                    <a:pt x="127" y="64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15" y="66"/>
                  </a:lnTo>
                  <a:lnTo>
                    <a:pt x="94" y="66"/>
                  </a:lnTo>
                  <a:lnTo>
                    <a:pt x="90" y="68"/>
                  </a:lnTo>
                  <a:lnTo>
                    <a:pt x="62" y="37"/>
                  </a:lnTo>
                  <a:lnTo>
                    <a:pt x="54" y="37"/>
                  </a:lnTo>
                  <a:lnTo>
                    <a:pt x="50" y="41"/>
                  </a:lnTo>
                  <a:lnTo>
                    <a:pt x="50" y="46"/>
                  </a:lnTo>
                  <a:lnTo>
                    <a:pt x="37" y="52"/>
                  </a:lnTo>
                  <a:lnTo>
                    <a:pt x="48" y="56"/>
                  </a:lnTo>
                  <a:lnTo>
                    <a:pt x="54" y="62"/>
                  </a:lnTo>
                  <a:lnTo>
                    <a:pt x="56" y="68"/>
                  </a:lnTo>
                  <a:lnTo>
                    <a:pt x="62" y="73"/>
                  </a:lnTo>
                  <a:lnTo>
                    <a:pt x="77" y="77"/>
                  </a:lnTo>
                  <a:lnTo>
                    <a:pt x="83" y="79"/>
                  </a:lnTo>
                  <a:lnTo>
                    <a:pt x="88" y="83"/>
                  </a:lnTo>
                  <a:lnTo>
                    <a:pt x="96" y="94"/>
                  </a:lnTo>
                  <a:lnTo>
                    <a:pt x="102" y="100"/>
                  </a:lnTo>
                  <a:lnTo>
                    <a:pt x="102" y="104"/>
                  </a:lnTo>
                  <a:lnTo>
                    <a:pt x="104" y="110"/>
                  </a:lnTo>
                  <a:lnTo>
                    <a:pt x="104" y="117"/>
                  </a:lnTo>
                  <a:lnTo>
                    <a:pt x="106" y="123"/>
                  </a:lnTo>
                  <a:lnTo>
                    <a:pt x="110" y="129"/>
                  </a:lnTo>
                  <a:lnTo>
                    <a:pt x="110" y="131"/>
                  </a:lnTo>
                  <a:lnTo>
                    <a:pt x="108" y="139"/>
                  </a:lnTo>
                  <a:lnTo>
                    <a:pt x="108" y="146"/>
                  </a:lnTo>
                  <a:lnTo>
                    <a:pt x="106" y="152"/>
                  </a:lnTo>
                  <a:lnTo>
                    <a:pt x="104" y="156"/>
                  </a:lnTo>
                  <a:lnTo>
                    <a:pt x="106" y="162"/>
                  </a:lnTo>
                  <a:lnTo>
                    <a:pt x="106" y="164"/>
                  </a:lnTo>
                  <a:lnTo>
                    <a:pt x="108" y="166"/>
                  </a:lnTo>
                  <a:lnTo>
                    <a:pt x="111" y="183"/>
                  </a:lnTo>
                  <a:lnTo>
                    <a:pt x="123" y="183"/>
                  </a:lnTo>
                  <a:lnTo>
                    <a:pt x="133" y="185"/>
                  </a:lnTo>
                  <a:lnTo>
                    <a:pt x="146" y="185"/>
                  </a:lnTo>
                  <a:lnTo>
                    <a:pt x="146" y="196"/>
                  </a:lnTo>
                  <a:lnTo>
                    <a:pt x="150" y="208"/>
                  </a:lnTo>
                  <a:lnTo>
                    <a:pt x="150" y="217"/>
                  </a:lnTo>
                  <a:lnTo>
                    <a:pt x="135" y="233"/>
                  </a:lnTo>
                  <a:lnTo>
                    <a:pt x="127" y="239"/>
                  </a:lnTo>
                  <a:lnTo>
                    <a:pt x="119" y="258"/>
                  </a:lnTo>
                  <a:lnTo>
                    <a:pt x="115" y="265"/>
                  </a:lnTo>
                  <a:lnTo>
                    <a:pt x="106" y="273"/>
                  </a:lnTo>
                  <a:lnTo>
                    <a:pt x="92" y="281"/>
                  </a:lnTo>
                  <a:lnTo>
                    <a:pt x="85" y="285"/>
                  </a:lnTo>
                  <a:lnTo>
                    <a:pt x="85" y="300"/>
                  </a:lnTo>
                  <a:lnTo>
                    <a:pt x="81" y="300"/>
                  </a:lnTo>
                  <a:lnTo>
                    <a:pt x="77" y="292"/>
                  </a:lnTo>
                  <a:lnTo>
                    <a:pt x="73" y="302"/>
                  </a:lnTo>
                  <a:lnTo>
                    <a:pt x="69" y="308"/>
                  </a:lnTo>
                  <a:lnTo>
                    <a:pt x="65" y="315"/>
                  </a:lnTo>
                  <a:lnTo>
                    <a:pt x="62" y="315"/>
                  </a:lnTo>
                  <a:lnTo>
                    <a:pt x="62" y="329"/>
                  </a:lnTo>
                  <a:lnTo>
                    <a:pt x="69" y="342"/>
                  </a:lnTo>
                  <a:lnTo>
                    <a:pt x="73" y="350"/>
                  </a:lnTo>
                  <a:lnTo>
                    <a:pt x="73" y="360"/>
                  </a:lnTo>
                  <a:lnTo>
                    <a:pt x="71" y="367"/>
                  </a:lnTo>
                  <a:lnTo>
                    <a:pt x="69" y="377"/>
                  </a:lnTo>
                  <a:lnTo>
                    <a:pt x="69" y="396"/>
                  </a:lnTo>
                  <a:lnTo>
                    <a:pt x="71" y="394"/>
                  </a:lnTo>
                  <a:lnTo>
                    <a:pt x="75" y="392"/>
                  </a:lnTo>
                  <a:lnTo>
                    <a:pt x="77" y="392"/>
                  </a:lnTo>
                  <a:lnTo>
                    <a:pt x="77" y="408"/>
                  </a:lnTo>
                  <a:lnTo>
                    <a:pt x="83" y="406"/>
                  </a:lnTo>
                  <a:lnTo>
                    <a:pt x="85" y="404"/>
                  </a:lnTo>
                  <a:lnTo>
                    <a:pt x="90" y="404"/>
                  </a:lnTo>
                  <a:lnTo>
                    <a:pt x="88" y="404"/>
                  </a:lnTo>
                  <a:lnTo>
                    <a:pt x="100" y="411"/>
                  </a:lnTo>
                  <a:lnTo>
                    <a:pt x="106" y="417"/>
                  </a:lnTo>
                  <a:lnTo>
                    <a:pt x="92" y="419"/>
                  </a:lnTo>
                  <a:lnTo>
                    <a:pt x="88" y="435"/>
                  </a:lnTo>
                  <a:lnTo>
                    <a:pt x="100" y="435"/>
                  </a:lnTo>
                  <a:lnTo>
                    <a:pt x="98" y="431"/>
                  </a:lnTo>
                  <a:lnTo>
                    <a:pt x="108" y="425"/>
                  </a:lnTo>
                  <a:lnTo>
                    <a:pt x="108" y="427"/>
                  </a:lnTo>
                  <a:lnTo>
                    <a:pt x="111" y="427"/>
                  </a:lnTo>
                  <a:lnTo>
                    <a:pt x="111" y="431"/>
                  </a:lnTo>
                  <a:lnTo>
                    <a:pt x="110" y="436"/>
                  </a:lnTo>
                  <a:lnTo>
                    <a:pt x="111" y="438"/>
                  </a:lnTo>
                  <a:lnTo>
                    <a:pt x="119" y="442"/>
                  </a:lnTo>
                  <a:lnTo>
                    <a:pt x="127" y="442"/>
                  </a:lnTo>
                  <a:lnTo>
                    <a:pt x="138" y="438"/>
                  </a:lnTo>
                  <a:lnTo>
                    <a:pt x="142" y="435"/>
                  </a:lnTo>
                  <a:lnTo>
                    <a:pt x="150" y="425"/>
                  </a:lnTo>
                  <a:lnTo>
                    <a:pt x="158" y="419"/>
                  </a:lnTo>
                  <a:lnTo>
                    <a:pt x="169" y="419"/>
                  </a:lnTo>
                  <a:lnTo>
                    <a:pt x="167" y="417"/>
                  </a:lnTo>
                  <a:lnTo>
                    <a:pt x="165" y="411"/>
                  </a:lnTo>
                  <a:lnTo>
                    <a:pt x="181" y="410"/>
                  </a:lnTo>
                  <a:lnTo>
                    <a:pt x="192" y="410"/>
                  </a:lnTo>
                  <a:lnTo>
                    <a:pt x="202" y="411"/>
                  </a:lnTo>
                  <a:lnTo>
                    <a:pt x="223" y="394"/>
                  </a:lnTo>
                  <a:lnTo>
                    <a:pt x="246" y="381"/>
                  </a:lnTo>
                  <a:lnTo>
                    <a:pt x="288" y="354"/>
                  </a:lnTo>
                  <a:lnTo>
                    <a:pt x="311" y="337"/>
                  </a:lnTo>
                  <a:lnTo>
                    <a:pt x="305" y="319"/>
                  </a:lnTo>
                  <a:lnTo>
                    <a:pt x="302" y="313"/>
                  </a:lnTo>
                  <a:lnTo>
                    <a:pt x="296" y="313"/>
                  </a:lnTo>
                  <a:lnTo>
                    <a:pt x="290" y="310"/>
                  </a:lnTo>
                  <a:lnTo>
                    <a:pt x="286" y="304"/>
                  </a:lnTo>
                  <a:lnTo>
                    <a:pt x="286" y="287"/>
                  </a:lnTo>
                  <a:lnTo>
                    <a:pt x="290" y="283"/>
                  </a:lnTo>
                  <a:lnTo>
                    <a:pt x="294" y="277"/>
                  </a:lnTo>
                  <a:lnTo>
                    <a:pt x="294" y="271"/>
                  </a:lnTo>
                  <a:lnTo>
                    <a:pt x="292" y="265"/>
                  </a:lnTo>
                  <a:lnTo>
                    <a:pt x="288" y="260"/>
                  </a:lnTo>
                  <a:lnTo>
                    <a:pt x="288" y="254"/>
                  </a:lnTo>
                  <a:lnTo>
                    <a:pt x="286" y="250"/>
                  </a:lnTo>
                  <a:lnTo>
                    <a:pt x="280" y="246"/>
                  </a:lnTo>
                  <a:lnTo>
                    <a:pt x="277" y="240"/>
                  </a:lnTo>
                  <a:lnTo>
                    <a:pt x="275" y="235"/>
                  </a:lnTo>
                  <a:lnTo>
                    <a:pt x="275" y="233"/>
                  </a:lnTo>
                  <a:lnTo>
                    <a:pt x="273" y="231"/>
                  </a:lnTo>
                  <a:lnTo>
                    <a:pt x="273" y="223"/>
                  </a:lnTo>
                  <a:lnTo>
                    <a:pt x="269" y="212"/>
                  </a:lnTo>
                  <a:lnTo>
                    <a:pt x="271" y="208"/>
                  </a:lnTo>
                  <a:lnTo>
                    <a:pt x="273" y="202"/>
                  </a:lnTo>
                  <a:lnTo>
                    <a:pt x="273" y="198"/>
                  </a:lnTo>
                  <a:lnTo>
                    <a:pt x="271" y="192"/>
                  </a:lnTo>
                  <a:lnTo>
                    <a:pt x="271" y="177"/>
                  </a:lnTo>
                  <a:lnTo>
                    <a:pt x="269" y="173"/>
                  </a:lnTo>
                  <a:lnTo>
                    <a:pt x="265" y="162"/>
                  </a:lnTo>
                  <a:lnTo>
                    <a:pt x="255" y="123"/>
                  </a:lnTo>
                  <a:lnTo>
                    <a:pt x="257" y="116"/>
                  </a:lnTo>
                  <a:lnTo>
                    <a:pt x="265" y="108"/>
                  </a:lnTo>
                  <a:lnTo>
                    <a:pt x="269" y="100"/>
                  </a:lnTo>
                  <a:lnTo>
                    <a:pt x="269" y="92"/>
                  </a:lnTo>
                  <a:lnTo>
                    <a:pt x="263" y="81"/>
                  </a:lnTo>
                  <a:lnTo>
                    <a:pt x="259" y="81"/>
                  </a:lnTo>
                  <a:lnTo>
                    <a:pt x="255" y="77"/>
                  </a:lnTo>
                  <a:lnTo>
                    <a:pt x="254" y="68"/>
                  </a:lnTo>
                  <a:lnTo>
                    <a:pt x="254" y="54"/>
                  </a:lnTo>
                  <a:lnTo>
                    <a:pt x="255" y="46"/>
                  </a:lnTo>
                  <a:lnTo>
                    <a:pt x="265" y="37"/>
                  </a:lnTo>
                  <a:close/>
                  <a:moveTo>
                    <a:pt x="4" y="423"/>
                  </a:moveTo>
                  <a:lnTo>
                    <a:pt x="8" y="435"/>
                  </a:lnTo>
                  <a:lnTo>
                    <a:pt x="0" y="435"/>
                  </a:lnTo>
                  <a:lnTo>
                    <a:pt x="12" y="442"/>
                  </a:lnTo>
                  <a:lnTo>
                    <a:pt x="19" y="446"/>
                  </a:lnTo>
                  <a:lnTo>
                    <a:pt x="19" y="431"/>
                  </a:lnTo>
                  <a:lnTo>
                    <a:pt x="8" y="427"/>
                  </a:lnTo>
                  <a:lnTo>
                    <a:pt x="4" y="423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5" name="Freeform 210"/>
            <p:cNvSpPr>
              <a:spLocks/>
            </p:cNvSpPr>
            <p:nvPr/>
          </p:nvSpPr>
          <p:spPr bwMode="gray">
            <a:xfrm>
              <a:off x="2265" y="3634"/>
              <a:ext cx="18" cy="17"/>
            </a:xfrm>
            <a:custGeom>
              <a:avLst/>
              <a:gdLst>
                <a:gd name="T0" fmla="*/ 11 w 36"/>
                <a:gd name="T1" fmla="*/ 0 h 35"/>
                <a:gd name="T2" fmla="*/ 11 w 36"/>
                <a:gd name="T3" fmla="*/ 6 h 35"/>
                <a:gd name="T4" fmla="*/ 13 w 36"/>
                <a:gd name="T5" fmla="*/ 14 h 35"/>
                <a:gd name="T6" fmla="*/ 15 w 36"/>
                <a:gd name="T7" fmla="*/ 20 h 35"/>
                <a:gd name="T8" fmla="*/ 11 w 36"/>
                <a:gd name="T9" fmla="*/ 21 h 35"/>
                <a:gd name="T10" fmla="*/ 8 w 36"/>
                <a:gd name="T11" fmla="*/ 21 h 35"/>
                <a:gd name="T12" fmla="*/ 4 w 36"/>
                <a:gd name="T13" fmla="*/ 23 h 35"/>
                <a:gd name="T14" fmla="*/ 0 w 36"/>
                <a:gd name="T15" fmla="*/ 29 h 35"/>
                <a:gd name="T16" fmla="*/ 2 w 36"/>
                <a:gd name="T17" fmla="*/ 35 h 35"/>
                <a:gd name="T18" fmla="*/ 11 w 36"/>
                <a:gd name="T19" fmla="*/ 35 h 35"/>
                <a:gd name="T20" fmla="*/ 13 w 36"/>
                <a:gd name="T21" fmla="*/ 33 h 35"/>
                <a:gd name="T22" fmla="*/ 15 w 36"/>
                <a:gd name="T23" fmla="*/ 25 h 35"/>
                <a:gd name="T24" fmla="*/ 19 w 36"/>
                <a:gd name="T25" fmla="*/ 23 h 35"/>
                <a:gd name="T26" fmla="*/ 23 w 36"/>
                <a:gd name="T27" fmla="*/ 25 h 35"/>
                <a:gd name="T28" fmla="*/ 23 w 36"/>
                <a:gd name="T29" fmla="*/ 27 h 35"/>
                <a:gd name="T30" fmla="*/ 27 w 36"/>
                <a:gd name="T31" fmla="*/ 27 h 35"/>
                <a:gd name="T32" fmla="*/ 29 w 36"/>
                <a:gd name="T33" fmla="*/ 23 h 35"/>
                <a:gd name="T34" fmla="*/ 31 w 36"/>
                <a:gd name="T35" fmla="*/ 16 h 35"/>
                <a:gd name="T36" fmla="*/ 34 w 36"/>
                <a:gd name="T37" fmla="*/ 12 h 35"/>
                <a:gd name="T38" fmla="*/ 36 w 36"/>
                <a:gd name="T39" fmla="*/ 4 h 35"/>
                <a:gd name="T40" fmla="*/ 25 w 36"/>
                <a:gd name="T41" fmla="*/ 0 h 35"/>
                <a:gd name="T42" fmla="*/ 11 w 36"/>
                <a:gd name="T43" fmla="*/ 0 h 3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6"/>
                <a:gd name="T67" fmla="*/ 0 h 35"/>
                <a:gd name="T68" fmla="*/ 36 w 36"/>
                <a:gd name="T69" fmla="*/ 35 h 3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6" h="35">
                  <a:moveTo>
                    <a:pt x="11" y="0"/>
                  </a:moveTo>
                  <a:lnTo>
                    <a:pt x="11" y="6"/>
                  </a:lnTo>
                  <a:lnTo>
                    <a:pt x="13" y="14"/>
                  </a:lnTo>
                  <a:lnTo>
                    <a:pt x="15" y="20"/>
                  </a:lnTo>
                  <a:lnTo>
                    <a:pt x="11" y="21"/>
                  </a:lnTo>
                  <a:lnTo>
                    <a:pt x="8" y="21"/>
                  </a:lnTo>
                  <a:lnTo>
                    <a:pt x="4" y="23"/>
                  </a:lnTo>
                  <a:lnTo>
                    <a:pt x="0" y="29"/>
                  </a:lnTo>
                  <a:lnTo>
                    <a:pt x="2" y="35"/>
                  </a:lnTo>
                  <a:lnTo>
                    <a:pt x="11" y="35"/>
                  </a:lnTo>
                  <a:lnTo>
                    <a:pt x="13" y="33"/>
                  </a:lnTo>
                  <a:lnTo>
                    <a:pt x="15" y="25"/>
                  </a:lnTo>
                  <a:lnTo>
                    <a:pt x="19" y="23"/>
                  </a:lnTo>
                  <a:lnTo>
                    <a:pt x="23" y="25"/>
                  </a:lnTo>
                  <a:lnTo>
                    <a:pt x="23" y="27"/>
                  </a:lnTo>
                  <a:lnTo>
                    <a:pt x="27" y="27"/>
                  </a:lnTo>
                  <a:lnTo>
                    <a:pt x="29" y="23"/>
                  </a:lnTo>
                  <a:lnTo>
                    <a:pt x="31" y="16"/>
                  </a:lnTo>
                  <a:lnTo>
                    <a:pt x="34" y="12"/>
                  </a:lnTo>
                  <a:lnTo>
                    <a:pt x="36" y="4"/>
                  </a:lnTo>
                  <a:lnTo>
                    <a:pt x="25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6" name="Freeform 211"/>
            <p:cNvSpPr>
              <a:spLocks/>
            </p:cNvSpPr>
            <p:nvPr/>
          </p:nvSpPr>
          <p:spPr bwMode="gray">
            <a:xfrm>
              <a:off x="2280" y="3634"/>
              <a:ext cx="29" cy="21"/>
            </a:xfrm>
            <a:custGeom>
              <a:avLst/>
              <a:gdLst>
                <a:gd name="T0" fmla="*/ 30 w 57"/>
                <a:gd name="T1" fmla="*/ 0 h 43"/>
                <a:gd name="T2" fmla="*/ 21 w 57"/>
                <a:gd name="T3" fmla="*/ 10 h 43"/>
                <a:gd name="T4" fmla="*/ 11 w 57"/>
                <a:gd name="T5" fmla="*/ 21 h 43"/>
                <a:gd name="T6" fmla="*/ 0 w 57"/>
                <a:gd name="T7" fmla="*/ 31 h 43"/>
                <a:gd name="T8" fmla="*/ 0 w 57"/>
                <a:gd name="T9" fmla="*/ 35 h 43"/>
                <a:gd name="T10" fmla="*/ 3 w 57"/>
                <a:gd name="T11" fmla="*/ 37 h 43"/>
                <a:gd name="T12" fmla="*/ 7 w 57"/>
                <a:gd name="T13" fmla="*/ 41 h 43"/>
                <a:gd name="T14" fmla="*/ 11 w 57"/>
                <a:gd name="T15" fmla="*/ 43 h 43"/>
                <a:gd name="T16" fmla="*/ 15 w 57"/>
                <a:gd name="T17" fmla="*/ 31 h 43"/>
                <a:gd name="T18" fmla="*/ 21 w 57"/>
                <a:gd name="T19" fmla="*/ 31 h 43"/>
                <a:gd name="T20" fmla="*/ 25 w 57"/>
                <a:gd name="T21" fmla="*/ 35 h 43"/>
                <a:gd name="T22" fmla="*/ 30 w 57"/>
                <a:gd name="T23" fmla="*/ 35 h 43"/>
                <a:gd name="T24" fmla="*/ 26 w 57"/>
                <a:gd name="T25" fmla="*/ 23 h 43"/>
                <a:gd name="T26" fmla="*/ 36 w 57"/>
                <a:gd name="T27" fmla="*/ 21 h 43"/>
                <a:gd name="T28" fmla="*/ 44 w 57"/>
                <a:gd name="T29" fmla="*/ 21 h 43"/>
                <a:gd name="T30" fmla="*/ 57 w 57"/>
                <a:gd name="T31" fmla="*/ 20 h 43"/>
                <a:gd name="T32" fmla="*/ 57 w 57"/>
                <a:gd name="T33" fmla="*/ 12 h 43"/>
                <a:gd name="T34" fmla="*/ 49 w 57"/>
                <a:gd name="T35" fmla="*/ 10 h 43"/>
                <a:gd name="T36" fmla="*/ 46 w 57"/>
                <a:gd name="T37" fmla="*/ 12 h 43"/>
                <a:gd name="T38" fmla="*/ 38 w 57"/>
                <a:gd name="T39" fmla="*/ 12 h 43"/>
                <a:gd name="T40" fmla="*/ 36 w 57"/>
                <a:gd name="T41" fmla="*/ 6 h 43"/>
                <a:gd name="T42" fmla="*/ 30 w 57"/>
                <a:gd name="T43" fmla="*/ 0 h 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7"/>
                <a:gd name="T67" fmla="*/ 0 h 43"/>
                <a:gd name="T68" fmla="*/ 57 w 57"/>
                <a:gd name="T69" fmla="*/ 43 h 4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7" h="43">
                  <a:moveTo>
                    <a:pt x="30" y="0"/>
                  </a:moveTo>
                  <a:lnTo>
                    <a:pt x="21" y="10"/>
                  </a:lnTo>
                  <a:lnTo>
                    <a:pt x="11" y="21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3" y="37"/>
                  </a:lnTo>
                  <a:lnTo>
                    <a:pt x="7" y="41"/>
                  </a:lnTo>
                  <a:lnTo>
                    <a:pt x="11" y="43"/>
                  </a:lnTo>
                  <a:lnTo>
                    <a:pt x="15" y="31"/>
                  </a:lnTo>
                  <a:lnTo>
                    <a:pt x="21" y="31"/>
                  </a:lnTo>
                  <a:lnTo>
                    <a:pt x="25" y="35"/>
                  </a:lnTo>
                  <a:lnTo>
                    <a:pt x="30" y="35"/>
                  </a:lnTo>
                  <a:lnTo>
                    <a:pt x="26" y="23"/>
                  </a:lnTo>
                  <a:lnTo>
                    <a:pt x="36" y="21"/>
                  </a:lnTo>
                  <a:lnTo>
                    <a:pt x="44" y="21"/>
                  </a:lnTo>
                  <a:lnTo>
                    <a:pt x="57" y="20"/>
                  </a:lnTo>
                  <a:lnTo>
                    <a:pt x="57" y="12"/>
                  </a:lnTo>
                  <a:lnTo>
                    <a:pt x="49" y="10"/>
                  </a:lnTo>
                  <a:lnTo>
                    <a:pt x="46" y="12"/>
                  </a:lnTo>
                  <a:lnTo>
                    <a:pt x="38" y="12"/>
                  </a:lnTo>
                  <a:lnTo>
                    <a:pt x="36" y="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7" name="Freeform 212"/>
            <p:cNvSpPr>
              <a:spLocks/>
            </p:cNvSpPr>
            <p:nvPr/>
          </p:nvSpPr>
          <p:spPr bwMode="gray">
            <a:xfrm>
              <a:off x="3498" y="2584"/>
              <a:ext cx="10" cy="10"/>
            </a:xfrm>
            <a:custGeom>
              <a:avLst/>
              <a:gdLst>
                <a:gd name="T0" fmla="*/ 10 w 19"/>
                <a:gd name="T1" fmla="*/ 0 h 19"/>
                <a:gd name="T2" fmla="*/ 19 w 19"/>
                <a:gd name="T3" fmla="*/ 4 h 19"/>
                <a:gd name="T4" fmla="*/ 17 w 19"/>
                <a:gd name="T5" fmla="*/ 11 h 19"/>
                <a:gd name="T6" fmla="*/ 10 w 19"/>
                <a:gd name="T7" fmla="*/ 19 h 19"/>
                <a:gd name="T8" fmla="*/ 2 w 19"/>
                <a:gd name="T9" fmla="*/ 11 h 19"/>
                <a:gd name="T10" fmla="*/ 0 w 19"/>
                <a:gd name="T11" fmla="*/ 4 h 19"/>
                <a:gd name="T12" fmla="*/ 10 w 19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19"/>
                <a:gd name="T23" fmla="*/ 19 w 19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19">
                  <a:moveTo>
                    <a:pt x="10" y="0"/>
                  </a:moveTo>
                  <a:lnTo>
                    <a:pt x="19" y="4"/>
                  </a:lnTo>
                  <a:lnTo>
                    <a:pt x="17" y="11"/>
                  </a:lnTo>
                  <a:lnTo>
                    <a:pt x="10" y="19"/>
                  </a:lnTo>
                  <a:lnTo>
                    <a:pt x="2" y="11"/>
                  </a:lnTo>
                  <a:lnTo>
                    <a:pt x="0" y="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8" name="Freeform 213"/>
            <p:cNvSpPr>
              <a:spLocks/>
            </p:cNvSpPr>
            <p:nvPr/>
          </p:nvSpPr>
          <p:spPr bwMode="gray">
            <a:xfrm>
              <a:off x="3437" y="2549"/>
              <a:ext cx="194" cy="167"/>
            </a:xfrm>
            <a:custGeom>
              <a:avLst/>
              <a:gdLst>
                <a:gd name="T0" fmla="*/ 231 w 388"/>
                <a:gd name="T1" fmla="*/ 90 h 334"/>
                <a:gd name="T2" fmla="*/ 223 w 388"/>
                <a:gd name="T3" fmla="*/ 123 h 334"/>
                <a:gd name="T4" fmla="*/ 233 w 388"/>
                <a:gd name="T5" fmla="*/ 128 h 334"/>
                <a:gd name="T6" fmla="*/ 246 w 388"/>
                <a:gd name="T7" fmla="*/ 127 h 334"/>
                <a:gd name="T8" fmla="*/ 250 w 388"/>
                <a:gd name="T9" fmla="*/ 138 h 334"/>
                <a:gd name="T10" fmla="*/ 261 w 388"/>
                <a:gd name="T11" fmla="*/ 157 h 334"/>
                <a:gd name="T12" fmla="*/ 267 w 388"/>
                <a:gd name="T13" fmla="*/ 167 h 334"/>
                <a:gd name="T14" fmla="*/ 277 w 388"/>
                <a:gd name="T15" fmla="*/ 175 h 334"/>
                <a:gd name="T16" fmla="*/ 336 w 388"/>
                <a:gd name="T17" fmla="*/ 203 h 334"/>
                <a:gd name="T18" fmla="*/ 388 w 388"/>
                <a:gd name="T19" fmla="*/ 207 h 334"/>
                <a:gd name="T20" fmla="*/ 290 w 388"/>
                <a:gd name="T21" fmla="*/ 311 h 334"/>
                <a:gd name="T22" fmla="*/ 256 w 388"/>
                <a:gd name="T23" fmla="*/ 319 h 334"/>
                <a:gd name="T24" fmla="*/ 244 w 388"/>
                <a:gd name="T25" fmla="*/ 326 h 334"/>
                <a:gd name="T26" fmla="*/ 221 w 388"/>
                <a:gd name="T27" fmla="*/ 326 h 334"/>
                <a:gd name="T28" fmla="*/ 213 w 388"/>
                <a:gd name="T29" fmla="*/ 319 h 334"/>
                <a:gd name="T30" fmla="*/ 211 w 388"/>
                <a:gd name="T31" fmla="*/ 321 h 334"/>
                <a:gd name="T32" fmla="*/ 198 w 388"/>
                <a:gd name="T33" fmla="*/ 325 h 334"/>
                <a:gd name="T34" fmla="*/ 188 w 388"/>
                <a:gd name="T35" fmla="*/ 334 h 334"/>
                <a:gd name="T36" fmla="*/ 160 w 388"/>
                <a:gd name="T37" fmla="*/ 332 h 334"/>
                <a:gd name="T38" fmla="*/ 139 w 388"/>
                <a:gd name="T39" fmla="*/ 328 h 334"/>
                <a:gd name="T40" fmla="*/ 129 w 388"/>
                <a:gd name="T41" fmla="*/ 332 h 334"/>
                <a:gd name="T42" fmla="*/ 110 w 388"/>
                <a:gd name="T43" fmla="*/ 330 h 334"/>
                <a:gd name="T44" fmla="*/ 98 w 388"/>
                <a:gd name="T45" fmla="*/ 330 h 334"/>
                <a:gd name="T46" fmla="*/ 85 w 388"/>
                <a:gd name="T47" fmla="*/ 323 h 334"/>
                <a:gd name="T48" fmla="*/ 83 w 388"/>
                <a:gd name="T49" fmla="*/ 311 h 334"/>
                <a:gd name="T50" fmla="*/ 68 w 388"/>
                <a:gd name="T51" fmla="*/ 307 h 334"/>
                <a:gd name="T52" fmla="*/ 58 w 388"/>
                <a:gd name="T53" fmla="*/ 298 h 334"/>
                <a:gd name="T54" fmla="*/ 50 w 388"/>
                <a:gd name="T55" fmla="*/ 280 h 334"/>
                <a:gd name="T56" fmla="*/ 37 w 388"/>
                <a:gd name="T57" fmla="*/ 255 h 334"/>
                <a:gd name="T58" fmla="*/ 18 w 388"/>
                <a:gd name="T59" fmla="*/ 234 h 334"/>
                <a:gd name="T60" fmla="*/ 0 w 388"/>
                <a:gd name="T61" fmla="*/ 230 h 334"/>
                <a:gd name="T62" fmla="*/ 4 w 388"/>
                <a:gd name="T63" fmla="*/ 215 h 334"/>
                <a:gd name="T64" fmla="*/ 14 w 388"/>
                <a:gd name="T65" fmla="*/ 213 h 334"/>
                <a:gd name="T66" fmla="*/ 23 w 388"/>
                <a:gd name="T67" fmla="*/ 211 h 334"/>
                <a:gd name="T68" fmla="*/ 25 w 388"/>
                <a:gd name="T69" fmla="*/ 207 h 334"/>
                <a:gd name="T70" fmla="*/ 29 w 388"/>
                <a:gd name="T71" fmla="*/ 194 h 334"/>
                <a:gd name="T72" fmla="*/ 33 w 388"/>
                <a:gd name="T73" fmla="*/ 159 h 334"/>
                <a:gd name="T74" fmla="*/ 41 w 388"/>
                <a:gd name="T75" fmla="*/ 128 h 334"/>
                <a:gd name="T76" fmla="*/ 43 w 388"/>
                <a:gd name="T77" fmla="*/ 119 h 334"/>
                <a:gd name="T78" fmla="*/ 58 w 388"/>
                <a:gd name="T79" fmla="*/ 111 h 334"/>
                <a:gd name="T80" fmla="*/ 66 w 388"/>
                <a:gd name="T81" fmla="*/ 98 h 334"/>
                <a:gd name="T82" fmla="*/ 69 w 388"/>
                <a:gd name="T83" fmla="*/ 88 h 334"/>
                <a:gd name="T84" fmla="*/ 77 w 388"/>
                <a:gd name="T85" fmla="*/ 75 h 334"/>
                <a:gd name="T86" fmla="*/ 81 w 388"/>
                <a:gd name="T87" fmla="*/ 55 h 334"/>
                <a:gd name="T88" fmla="*/ 91 w 388"/>
                <a:gd name="T89" fmla="*/ 42 h 334"/>
                <a:gd name="T90" fmla="*/ 102 w 388"/>
                <a:gd name="T91" fmla="*/ 25 h 334"/>
                <a:gd name="T92" fmla="*/ 117 w 388"/>
                <a:gd name="T93" fmla="*/ 17 h 334"/>
                <a:gd name="T94" fmla="*/ 125 w 388"/>
                <a:gd name="T95" fmla="*/ 15 h 334"/>
                <a:gd name="T96" fmla="*/ 131 w 388"/>
                <a:gd name="T97" fmla="*/ 23 h 334"/>
                <a:gd name="T98" fmla="*/ 139 w 388"/>
                <a:gd name="T99" fmla="*/ 2 h 334"/>
                <a:gd name="T100" fmla="*/ 144 w 388"/>
                <a:gd name="T101" fmla="*/ 0 h 334"/>
                <a:gd name="T102" fmla="*/ 160 w 388"/>
                <a:gd name="T103" fmla="*/ 13 h 334"/>
                <a:gd name="T104" fmla="*/ 173 w 388"/>
                <a:gd name="T105" fmla="*/ 15 h 334"/>
                <a:gd name="T106" fmla="*/ 183 w 388"/>
                <a:gd name="T107" fmla="*/ 23 h 334"/>
                <a:gd name="T108" fmla="*/ 204 w 388"/>
                <a:gd name="T109" fmla="*/ 27 h 334"/>
                <a:gd name="T110" fmla="*/ 213 w 388"/>
                <a:gd name="T111" fmla="*/ 38 h 334"/>
                <a:gd name="T112" fmla="*/ 229 w 388"/>
                <a:gd name="T113" fmla="*/ 59 h 334"/>
                <a:gd name="T114" fmla="*/ 235 w 388"/>
                <a:gd name="T115" fmla="*/ 69 h 334"/>
                <a:gd name="T116" fmla="*/ 242 w 388"/>
                <a:gd name="T117" fmla="*/ 73 h 3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88"/>
                <a:gd name="T178" fmla="*/ 0 h 334"/>
                <a:gd name="T179" fmla="*/ 388 w 388"/>
                <a:gd name="T180" fmla="*/ 334 h 33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88" h="334">
                  <a:moveTo>
                    <a:pt x="242" y="73"/>
                  </a:moveTo>
                  <a:lnTo>
                    <a:pt x="231" y="90"/>
                  </a:lnTo>
                  <a:lnTo>
                    <a:pt x="229" y="100"/>
                  </a:lnTo>
                  <a:lnTo>
                    <a:pt x="223" y="123"/>
                  </a:lnTo>
                  <a:lnTo>
                    <a:pt x="227" y="127"/>
                  </a:lnTo>
                  <a:lnTo>
                    <a:pt x="233" y="128"/>
                  </a:lnTo>
                  <a:lnTo>
                    <a:pt x="242" y="128"/>
                  </a:lnTo>
                  <a:lnTo>
                    <a:pt x="246" y="127"/>
                  </a:lnTo>
                  <a:lnTo>
                    <a:pt x="258" y="127"/>
                  </a:lnTo>
                  <a:lnTo>
                    <a:pt x="250" y="138"/>
                  </a:lnTo>
                  <a:lnTo>
                    <a:pt x="259" y="153"/>
                  </a:lnTo>
                  <a:lnTo>
                    <a:pt x="261" y="157"/>
                  </a:lnTo>
                  <a:lnTo>
                    <a:pt x="263" y="163"/>
                  </a:lnTo>
                  <a:lnTo>
                    <a:pt x="267" y="167"/>
                  </a:lnTo>
                  <a:lnTo>
                    <a:pt x="273" y="171"/>
                  </a:lnTo>
                  <a:lnTo>
                    <a:pt x="277" y="175"/>
                  </a:lnTo>
                  <a:lnTo>
                    <a:pt x="307" y="190"/>
                  </a:lnTo>
                  <a:lnTo>
                    <a:pt x="336" y="203"/>
                  </a:lnTo>
                  <a:lnTo>
                    <a:pt x="352" y="211"/>
                  </a:lnTo>
                  <a:lnTo>
                    <a:pt x="388" y="207"/>
                  </a:lnTo>
                  <a:lnTo>
                    <a:pt x="321" y="309"/>
                  </a:lnTo>
                  <a:lnTo>
                    <a:pt x="290" y="311"/>
                  </a:lnTo>
                  <a:lnTo>
                    <a:pt x="279" y="319"/>
                  </a:lnTo>
                  <a:lnTo>
                    <a:pt x="256" y="319"/>
                  </a:lnTo>
                  <a:lnTo>
                    <a:pt x="250" y="325"/>
                  </a:lnTo>
                  <a:lnTo>
                    <a:pt x="244" y="326"/>
                  </a:lnTo>
                  <a:lnTo>
                    <a:pt x="233" y="328"/>
                  </a:lnTo>
                  <a:lnTo>
                    <a:pt x="221" y="326"/>
                  </a:lnTo>
                  <a:lnTo>
                    <a:pt x="215" y="323"/>
                  </a:lnTo>
                  <a:lnTo>
                    <a:pt x="213" y="319"/>
                  </a:lnTo>
                  <a:lnTo>
                    <a:pt x="213" y="317"/>
                  </a:lnTo>
                  <a:lnTo>
                    <a:pt x="211" y="321"/>
                  </a:lnTo>
                  <a:lnTo>
                    <a:pt x="206" y="325"/>
                  </a:lnTo>
                  <a:lnTo>
                    <a:pt x="198" y="325"/>
                  </a:lnTo>
                  <a:lnTo>
                    <a:pt x="192" y="326"/>
                  </a:lnTo>
                  <a:lnTo>
                    <a:pt x="188" y="334"/>
                  </a:lnTo>
                  <a:lnTo>
                    <a:pt x="165" y="334"/>
                  </a:lnTo>
                  <a:lnTo>
                    <a:pt x="160" y="332"/>
                  </a:lnTo>
                  <a:lnTo>
                    <a:pt x="154" y="328"/>
                  </a:lnTo>
                  <a:lnTo>
                    <a:pt x="139" y="328"/>
                  </a:lnTo>
                  <a:lnTo>
                    <a:pt x="137" y="330"/>
                  </a:lnTo>
                  <a:lnTo>
                    <a:pt x="129" y="332"/>
                  </a:lnTo>
                  <a:lnTo>
                    <a:pt x="117" y="328"/>
                  </a:lnTo>
                  <a:lnTo>
                    <a:pt x="110" y="330"/>
                  </a:lnTo>
                  <a:lnTo>
                    <a:pt x="106" y="332"/>
                  </a:lnTo>
                  <a:lnTo>
                    <a:pt x="98" y="330"/>
                  </a:lnTo>
                  <a:lnTo>
                    <a:pt x="87" y="330"/>
                  </a:lnTo>
                  <a:lnTo>
                    <a:pt x="85" y="323"/>
                  </a:lnTo>
                  <a:lnTo>
                    <a:pt x="85" y="319"/>
                  </a:lnTo>
                  <a:lnTo>
                    <a:pt x="83" y="311"/>
                  </a:lnTo>
                  <a:lnTo>
                    <a:pt x="79" y="307"/>
                  </a:lnTo>
                  <a:lnTo>
                    <a:pt x="68" y="307"/>
                  </a:lnTo>
                  <a:lnTo>
                    <a:pt x="62" y="303"/>
                  </a:lnTo>
                  <a:lnTo>
                    <a:pt x="58" y="298"/>
                  </a:lnTo>
                  <a:lnTo>
                    <a:pt x="54" y="288"/>
                  </a:lnTo>
                  <a:lnTo>
                    <a:pt x="50" y="280"/>
                  </a:lnTo>
                  <a:lnTo>
                    <a:pt x="46" y="265"/>
                  </a:lnTo>
                  <a:lnTo>
                    <a:pt x="37" y="255"/>
                  </a:lnTo>
                  <a:lnTo>
                    <a:pt x="25" y="238"/>
                  </a:lnTo>
                  <a:lnTo>
                    <a:pt x="18" y="234"/>
                  </a:lnTo>
                  <a:lnTo>
                    <a:pt x="2" y="234"/>
                  </a:lnTo>
                  <a:lnTo>
                    <a:pt x="0" y="230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8" y="215"/>
                  </a:lnTo>
                  <a:lnTo>
                    <a:pt x="14" y="213"/>
                  </a:lnTo>
                  <a:lnTo>
                    <a:pt x="20" y="213"/>
                  </a:lnTo>
                  <a:lnTo>
                    <a:pt x="23" y="211"/>
                  </a:lnTo>
                  <a:lnTo>
                    <a:pt x="23" y="209"/>
                  </a:lnTo>
                  <a:lnTo>
                    <a:pt x="25" y="207"/>
                  </a:lnTo>
                  <a:lnTo>
                    <a:pt x="27" y="200"/>
                  </a:lnTo>
                  <a:lnTo>
                    <a:pt x="29" y="194"/>
                  </a:lnTo>
                  <a:lnTo>
                    <a:pt x="29" y="167"/>
                  </a:lnTo>
                  <a:lnTo>
                    <a:pt x="33" y="159"/>
                  </a:lnTo>
                  <a:lnTo>
                    <a:pt x="41" y="136"/>
                  </a:lnTo>
                  <a:lnTo>
                    <a:pt x="41" y="128"/>
                  </a:lnTo>
                  <a:lnTo>
                    <a:pt x="43" y="123"/>
                  </a:lnTo>
                  <a:lnTo>
                    <a:pt x="43" y="119"/>
                  </a:lnTo>
                  <a:lnTo>
                    <a:pt x="48" y="115"/>
                  </a:lnTo>
                  <a:lnTo>
                    <a:pt x="58" y="111"/>
                  </a:lnTo>
                  <a:lnTo>
                    <a:pt x="62" y="104"/>
                  </a:lnTo>
                  <a:lnTo>
                    <a:pt x="66" y="98"/>
                  </a:lnTo>
                  <a:lnTo>
                    <a:pt x="68" y="94"/>
                  </a:lnTo>
                  <a:lnTo>
                    <a:pt x="69" y="88"/>
                  </a:lnTo>
                  <a:lnTo>
                    <a:pt x="73" y="80"/>
                  </a:lnTo>
                  <a:lnTo>
                    <a:pt x="77" y="75"/>
                  </a:lnTo>
                  <a:lnTo>
                    <a:pt x="77" y="65"/>
                  </a:lnTo>
                  <a:lnTo>
                    <a:pt x="81" y="55"/>
                  </a:lnTo>
                  <a:lnTo>
                    <a:pt x="87" y="48"/>
                  </a:lnTo>
                  <a:lnTo>
                    <a:pt x="91" y="42"/>
                  </a:lnTo>
                  <a:lnTo>
                    <a:pt x="96" y="34"/>
                  </a:lnTo>
                  <a:lnTo>
                    <a:pt x="102" y="25"/>
                  </a:lnTo>
                  <a:lnTo>
                    <a:pt x="104" y="21"/>
                  </a:lnTo>
                  <a:lnTo>
                    <a:pt x="117" y="17"/>
                  </a:lnTo>
                  <a:lnTo>
                    <a:pt x="121" y="15"/>
                  </a:lnTo>
                  <a:lnTo>
                    <a:pt x="125" y="15"/>
                  </a:lnTo>
                  <a:lnTo>
                    <a:pt x="131" y="17"/>
                  </a:lnTo>
                  <a:lnTo>
                    <a:pt x="131" y="23"/>
                  </a:lnTo>
                  <a:lnTo>
                    <a:pt x="135" y="27"/>
                  </a:lnTo>
                  <a:lnTo>
                    <a:pt x="139" y="2"/>
                  </a:lnTo>
                  <a:lnTo>
                    <a:pt x="140" y="2"/>
                  </a:lnTo>
                  <a:lnTo>
                    <a:pt x="144" y="0"/>
                  </a:lnTo>
                  <a:lnTo>
                    <a:pt x="148" y="2"/>
                  </a:lnTo>
                  <a:lnTo>
                    <a:pt x="160" y="13"/>
                  </a:lnTo>
                  <a:lnTo>
                    <a:pt x="164" y="15"/>
                  </a:lnTo>
                  <a:lnTo>
                    <a:pt x="173" y="15"/>
                  </a:lnTo>
                  <a:lnTo>
                    <a:pt x="177" y="17"/>
                  </a:lnTo>
                  <a:lnTo>
                    <a:pt x="183" y="23"/>
                  </a:lnTo>
                  <a:lnTo>
                    <a:pt x="194" y="25"/>
                  </a:lnTo>
                  <a:lnTo>
                    <a:pt x="204" y="27"/>
                  </a:lnTo>
                  <a:lnTo>
                    <a:pt x="210" y="30"/>
                  </a:lnTo>
                  <a:lnTo>
                    <a:pt x="213" y="38"/>
                  </a:lnTo>
                  <a:lnTo>
                    <a:pt x="227" y="52"/>
                  </a:lnTo>
                  <a:lnTo>
                    <a:pt x="229" y="59"/>
                  </a:lnTo>
                  <a:lnTo>
                    <a:pt x="231" y="65"/>
                  </a:lnTo>
                  <a:lnTo>
                    <a:pt x="235" y="69"/>
                  </a:lnTo>
                  <a:lnTo>
                    <a:pt x="240" y="71"/>
                  </a:lnTo>
                  <a:lnTo>
                    <a:pt x="242" y="73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09" name="Freeform 214"/>
            <p:cNvSpPr>
              <a:spLocks/>
            </p:cNvSpPr>
            <p:nvPr/>
          </p:nvSpPr>
          <p:spPr bwMode="gray">
            <a:xfrm>
              <a:off x="3309" y="1772"/>
              <a:ext cx="8" cy="10"/>
            </a:xfrm>
            <a:custGeom>
              <a:avLst/>
              <a:gdLst>
                <a:gd name="T0" fmla="*/ 8 w 15"/>
                <a:gd name="T1" fmla="*/ 0 h 19"/>
                <a:gd name="T2" fmla="*/ 8 w 15"/>
                <a:gd name="T3" fmla="*/ 4 h 19"/>
                <a:gd name="T4" fmla="*/ 0 w 15"/>
                <a:gd name="T5" fmla="*/ 4 h 19"/>
                <a:gd name="T6" fmla="*/ 4 w 15"/>
                <a:gd name="T7" fmla="*/ 8 h 19"/>
                <a:gd name="T8" fmla="*/ 8 w 15"/>
                <a:gd name="T9" fmla="*/ 19 h 19"/>
                <a:gd name="T10" fmla="*/ 12 w 15"/>
                <a:gd name="T11" fmla="*/ 15 h 19"/>
                <a:gd name="T12" fmla="*/ 15 w 15"/>
                <a:gd name="T13" fmla="*/ 15 h 19"/>
                <a:gd name="T14" fmla="*/ 15 w 15"/>
                <a:gd name="T15" fmla="*/ 0 h 19"/>
                <a:gd name="T16" fmla="*/ 8 w 15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9"/>
                <a:gd name="T29" fmla="*/ 15 w 15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9">
                  <a:moveTo>
                    <a:pt x="8" y="0"/>
                  </a:moveTo>
                  <a:lnTo>
                    <a:pt x="8" y="4"/>
                  </a:lnTo>
                  <a:lnTo>
                    <a:pt x="0" y="4"/>
                  </a:lnTo>
                  <a:lnTo>
                    <a:pt x="4" y="8"/>
                  </a:lnTo>
                  <a:lnTo>
                    <a:pt x="8" y="19"/>
                  </a:lnTo>
                  <a:lnTo>
                    <a:pt x="12" y="15"/>
                  </a:lnTo>
                  <a:lnTo>
                    <a:pt x="15" y="15"/>
                  </a:lnTo>
                  <a:lnTo>
                    <a:pt x="15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0" name="Freeform 215"/>
            <p:cNvSpPr>
              <a:spLocks/>
            </p:cNvSpPr>
            <p:nvPr/>
          </p:nvSpPr>
          <p:spPr bwMode="gray">
            <a:xfrm>
              <a:off x="3305" y="1786"/>
              <a:ext cx="16" cy="11"/>
            </a:xfrm>
            <a:custGeom>
              <a:avLst/>
              <a:gdLst>
                <a:gd name="T0" fmla="*/ 12 w 31"/>
                <a:gd name="T1" fmla="*/ 0 h 21"/>
                <a:gd name="T2" fmla="*/ 0 w 31"/>
                <a:gd name="T3" fmla="*/ 11 h 21"/>
                <a:gd name="T4" fmla="*/ 8 w 31"/>
                <a:gd name="T5" fmla="*/ 21 h 21"/>
                <a:gd name="T6" fmla="*/ 27 w 31"/>
                <a:gd name="T7" fmla="*/ 19 h 21"/>
                <a:gd name="T8" fmla="*/ 27 w 31"/>
                <a:gd name="T9" fmla="*/ 11 h 21"/>
                <a:gd name="T10" fmla="*/ 31 w 31"/>
                <a:gd name="T11" fmla="*/ 11 h 21"/>
                <a:gd name="T12" fmla="*/ 31 w 31"/>
                <a:gd name="T13" fmla="*/ 4 h 21"/>
                <a:gd name="T14" fmla="*/ 22 w 31"/>
                <a:gd name="T15" fmla="*/ 0 h 21"/>
                <a:gd name="T16" fmla="*/ 12 w 31"/>
                <a:gd name="T17" fmla="*/ 0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21"/>
                <a:gd name="T29" fmla="*/ 31 w 31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21">
                  <a:moveTo>
                    <a:pt x="12" y="0"/>
                  </a:moveTo>
                  <a:lnTo>
                    <a:pt x="0" y="11"/>
                  </a:lnTo>
                  <a:lnTo>
                    <a:pt x="8" y="21"/>
                  </a:lnTo>
                  <a:lnTo>
                    <a:pt x="27" y="19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1" y="4"/>
                  </a:lnTo>
                  <a:lnTo>
                    <a:pt x="2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1" name="Freeform 216"/>
            <p:cNvSpPr>
              <a:spLocks/>
            </p:cNvSpPr>
            <p:nvPr/>
          </p:nvSpPr>
          <p:spPr bwMode="gray">
            <a:xfrm>
              <a:off x="3328" y="1765"/>
              <a:ext cx="58" cy="45"/>
            </a:xfrm>
            <a:custGeom>
              <a:avLst/>
              <a:gdLst>
                <a:gd name="T0" fmla="*/ 104 w 116"/>
                <a:gd name="T1" fmla="*/ 30 h 90"/>
                <a:gd name="T2" fmla="*/ 110 w 116"/>
                <a:gd name="T3" fmla="*/ 23 h 90"/>
                <a:gd name="T4" fmla="*/ 114 w 116"/>
                <a:gd name="T5" fmla="*/ 19 h 90"/>
                <a:gd name="T6" fmla="*/ 116 w 116"/>
                <a:gd name="T7" fmla="*/ 15 h 90"/>
                <a:gd name="T8" fmla="*/ 114 w 116"/>
                <a:gd name="T9" fmla="*/ 9 h 90"/>
                <a:gd name="T10" fmla="*/ 112 w 116"/>
                <a:gd name="T11" fmla="*/ 5 h 90"/>
                <a:gd name="T12" fmla="*/ 110 w 116"/>
                <a:gd name="T13" fmla="*/ 3 h 90"/>
                <a:gd name="T14" fmla="*/ 110 w 116"/>
                <a:gd name="T15" fmla="*/ 7 h 90"/>
                <a:gd name="T16" fmla="*/ 108 w 116"/>
                <a:gd name="T17" fmla="*/ 11 h 90"/>
                <a:gd name="T18" fmla="*/ 93 w 116"/>
                <a:gd name="T19" fmla="*/ 9 h 90"/>
                <a:gd name="T20" fmla="*/ 72 w 116"/>
                <a:gd name="T21" fmla="*/ 3 h 90"/>
                <a:gd name="T22" fmla="*/ 54 w 116"/>
                <a:gd name="T23" fmla="*/ 0 h 90"/>
                <a:gd name="T24" fmla="*/ 50 w 116"/>
                <a:gd name="T25" fmla="*/ 2 h 90"/>
                <a:gd name="T26" fmla="*/ 47 w 116"/>
                <a:gd name="T27" fmla="*/ 5 h 90"/>
                <a:gd name="T28" fmla="*/ 47 w 116"/>
                <a:gd name="T29" fmla="*/ 7 h 90"/>
                <a:gd name="T30" fmla="*/ 39 w 116"/>
                <a:gd name="T31" fmla="*/ 9 h 90"/>
                <a:gd name="T32" fmla="*/ 33 w 116"/>
                <a:gd name="T33" fmla="*/ 7 h 90"/>
                <a:gd name="T34" fmla="*/ 27 w 116"/>
                <a:gd name="T35" fmla="*/ 7 h 90"/>
                <a:gd name="T36" fmla="*/ 20 w 116"/>
                <a:gd name="T37" fmla="*/ 11 h 90"/>
                <a:gd name="T38" fmla="*/ 8 w 116"/>
                <a:gd name="T39" fmla="*/ 15 h 90"/>
                <a:gd name="T40" fmla="*/ 0 w 116"/>
                <a:gd name="T41" fmla="*/ 19 h 90"/>
                <a:gd name="T42" fmla="*/ 0 w 116"/>
                <a:gd name="T43" fmla="*/ 50 h 90"/>
                <a:gd name="T44" fmla="*/ 12 w 116"/>
                <a:gd name="T45" fmla="*/ 53 h 90"/>
                <a:gd name="T46" fmla="*/ 14 w 116"/>
                <a:gd name="T47" fmla="*/ 59 h 90"/>
                <a:gd name="T48" fmla="*/ 14 w 116"/>
                <a:gd name="T49" fmla="*/ 71 h 90"/>
                <a:gd name="T50" fmla="*/ 16 w 116"/>
                <a:gd name="T51" fmla="*/ 71 h 90"/>
                <a:gd name="T52" fmla="*/ 20 w 116"/>
                <a:gd name="T53" fmla="*/ 69 h 90"/>
                <a:gd name="T54" fmla="*/ 27 w 116"/>
                <a:gd name="T55" fmla="*/ 69 h 90"/>
                <a:gd name="T56" fmla="*/ 31 w 116"/>
                <a:gd name="T57" fmla="*/ 65 h 90"/>
                <a:gd name="T58" fmla="*/ 41 w 116"/>
                <a:gd name="T59" fmla="*/ 65 h 90"/>
                <a:gd name="T60" fmla="*/ 48 w 116"/>
                <a:gd name="T61" fmla="*/ 67 h 90"/>
                <a:gd name="T62" fmla="*/ 54 w 116"/>
                <a:gd name="T63" fmla="*/ 71 h 90"/>
                <a:gd name="T64" fmla="*/ 56 w 116"/>
                <a:gd name="T65" fmla="*/ 75 h 90"/>
                <a:gd name="T66" fmla="*/ 56 w 116"/>
                <a:gd name="T67" fmla="*/ 76 h 90"/>
                <a:gd name="T68" fmla="*/ 64 w 116"/>
                <a:gd name="T69" fmla="*/ 76 h 90"/>
                <a:gd name="T70" fmla="*/ 70 w 116"/>
                <a:gd name="T71" fmla="*/ 90 h 90"/>
                <a:gd name="T72" fmla="*/ 83 w 116"/>
                <a:gd name="T73" fmla="*/ 86 h 90"/>
                <a:gd name="T74" fmla="*/ 83 w 116"/>
                <a:gd name="T75" fmla="*/ 82 h 90"/>
                <a:gd name="T76" fmla="*/ 85 w 116"/>
                <a:gd name="T77" fmla="*/ 75 h 90"/>
                <a:gd name="T78" fmla="*/ 89 w 116"/>
                <a:gd name="T79" fmla="*/ 71 h 90"/>
                <a:gd name="T80" fmla="*/ 93 w 116"/>
                <a:gd name="T81" fmla="*/ 69 h 90"/>
                <a:gd name="T82" fmla="*/ 95 w 116"/>
                <a:gd name="T83" fmla="*/ 65 h 90"/>
                <a:gd name="T84" fmla="*/ 98 w 116"/>
                <a:gd name="T85" fmla="*/ 61 h 90"/>
                <a:gd name="T86" fmla="*/ 95 w 116"/>
                <a:gd name="T87" fmla="*/ 55 h 90"/>
                <a:gd name="T88" fmla="*/ 91 w 116"/>
                <a:gd name="T89" fmla="*/ 48 h 90"/>
                <a:gd name="T90" fmla="*/ 89 w 116"/>
                <a:gd name="T91" fmla="*/ 42 h 90"/>
                <a:gd name="T92" fmla="*/ 89 w 116"/>
                <a:gd name="T93" fmla="*/ 40 h 90"/>
                <a:gd name="T94" fmla="*/ 91 w 116"/>
                <a:gd name="T95" fmla="*/ 34 h 90"/>
                <a:gd name="T96" fmla="*/ 96 w 116"/>
                <a:gd name="T97" fmla="*/ 30 h 90"/>
                <a:gd name="T98" fmla="*/ 104 w 116"/>
                <a:gd name="T99" fmla="*/ 30 h 9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16"/>
                <a:gd name="T151" fmla="*/ 0 h 90"/>
                <a:gd name="T152" fmla="*/ 116 w 116"/>
                <a:gd name="T153" fmla="*/ 90 h 9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16" h="90">
                  <a:moveTo>
                    <a:pt x="104" y="30"/>
                  </a:moveTo>
                  <a:lnTo>
                    <a:pt x="110" y="23"/>
                  </a:lnTo>
                  <a:lnTo>
                    <a:pt x="114" y="19"/>
                  </a:lnTo>
                  <a:lnTo>
                    <a:pt x="116" y="15"/>
                  </a:lnTo>
                  <a:lnTo>
                    <a:pt x="114" y="9"/>
                  </a:lnTo>
                  <a:lnTo>
                    <a:pt x="112" y="5"/>
                  </a:lnTo>
                  <a:lnTo>
                    <a:pt x="110" y="3"/>
                  </a:lnTo>
                  <a:lnTo>
                    <a:pt x="110" y="7"/>
                  </a:lnTo>
                  <a:lnTo>
                    <a:pt x="108" y="11"/>
                  </a:lnTo>
                  <a:lnTo>
                    <a:pt x="93" y="9"/>
                  </a:lnTo>
                  <a:lnTo>
                    <a:pt x="72" y="3"/>
                  </a:lnTo>
                  <a:lnTo>
                    <a:pt x="54" y="0"/>
                  </a:lnTo>
                  <a:lnTo>
                    <a:pt x="50" y="2"/>
                  </a:lnTo>
                  <a:lnTo>
                    <a:pt x="47" y="5"/>
                  </a:lnTo>
                  <a:lnTo>
                    <a:pt x="47" y="7"/>
                  </a:lnTo>
                  <a:lnTo>
                    <a:pt x="39" y="9"/>
                  </a:lnTo>
                  <a:lnTo>
                    <a:pt x="33" y="7"/>
                  </a:lnTo>
                  <a:lnTo>
                    <a:pt x="27" y="7"/>
                  </a:lnTo>
                  <a:lnTo>
                    <a:pt x="20" y="11"/>
                  </a:lnTo>
                  <a:lnTo>
                    <a:pt x="8" y="15"/>
                  </a:lnTo>
                  <a:lnTo>
                    <a:pt x="0" y="19"/>
                  </a:lnTo>
                  <a:lnTo>
                    <a:pt x="0" y="50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71"/>
                  </a:lnTo>
                  <a:lnTo>
                    <a:pt x="16" y="71"/>
                  </a:lnTo>
                  <a:lnTo>
                    <a:pt x="20" y="69"/>
                  </a:lnTo>
                  <a:lnTo>
                    <a:pt x="27" y="69"/>
                  </a:lnTo>
                  <a:lnTo>
                    <a:pt x="31" y="65"/>
                  </a:lnTo>
                  <a:lnTo>
                    <a:pt x="41" y="65"/>
                  </a:lnTo>
                  <a:lnTo>
                    <a:pt x="48" y="67"/>
                  </a:lnTo>
                  <a:lnTo>
                    <a:pt x="54" y="71"/>
                  </a:lnTo>
                  <a:lnTo>
                    <a:pt x="56" y="75"/>
                  </a:lnTo>
                  <a:lnTo>
                    <a:pt x="56" y="76"/>
                  </a:lnTo>
                  <a:lnTo>
                    <a:pt x="64" y="76"/>
                  </a:lnTo>
                  <a:lnTo>
                    <a:pt x="70" y="90"/>
                  </a:lnTo>
                  <a:lnTo>
                    <a:pt x="83" y="86"/>
                  </a:lnTo>
                  <a:lnTo>
                    <a:pt x="83" y="82"/>
                  </a:lnTo>
                  <a:lnTo>
                    <a:pt x="85" y="75"/>
                  </a:lnTo>
                  <a:lnTo>
                    <a:pt x="89" y="71"/>
                  </a:lnTo>
                  <a:lnTo>
                    <a:pt x="93" y="69"/>
                  </a:lnTo>
                  <a:lnTo>
                    <a:pt x="95" y="65"/>
                  </a:lnTo>
                  <a:lnTo>
                    <a:pt x="98" y="61"/>
                  </a:lnTo>
                  <a:lnTo>
                    <a:pt x="95" y="55"/>
                  </a:lnTo>
                  <a:lnTo>
                    <a:pt x="91" y="48"/>
                  </a:lnTo>
                  <a:lnTo>
                    <a:pt x="89" y="42"/>
                  </a:lnTo>
                  <a:lnTo>
                    <a:pt x="89" y="40"/>
                  </a:lnTo>
                  <a:lnTo>
                    <a:pt x="91" y="34"/>
                  </a:lnTo>
                  <a:lnTo>
                    <a:pt x="96" y="30"/>
                  </a:lnTo>
                  <a:lnTo>
                    <a:pt x="104" y="3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2" name="Freeform 217"/>
            <p:cNvSpPr>
              <a:spLocks/>
            </p:cNvSpPr>
            <p:nvPr/>
          </p:nvSpPr>
          <p:spPr bwMode="gray">
            <a:xfrm>
              <a:off x="3488" y="2491"/>
              <a:ext cx="84" cy="95"/>
            </a:xfrm>
            <a:custGeom>
              <a:avLst/>
              <a:gdLst>
                <a:gd name="T0" fmla="*/ 48 w 169"/>
                <a:gd name="T1" fmla="*/ 14 h 191"/>
                <a:gd name="T2" fmla="*/ 31 w 169"/>
                <a:gd name="T3" fmla="*/ 14 h 191"/>
                <a:gd name="T4" fmla="*/ 19 w 169"/>
                <a:gd name="T5" fmla="*/ 23 h 191"/>
                <a:gd name="T6" fmla="*/ 17 w 169"/>
                <a:gd name="T7" fmla="*/ 33 h 191"/>
                <a:gd name="T8" fmla="*/ 12 w 169"/>
                <a:gd name="T9" fmla="*/ 35 h 191"/>
                <a:gd name="T10" fmla="*/ 10 w 169"/>
                <a:gd name="T11" fmla="*/ 52 h 191"/>
                <a:gd name="T12" fmla="*/ 6 w 169"/>
                <a:gd name="T13" fmla="*/ 81 h 191"/>
                <a:gd name="T14" fmla="*/ 2 w 169"/>
                <a:gd name="T15" fmla="*/ 97 h 191"/>
                <a:gd name="T16" fmla="*/ 2 w 169"/>
                <a:gd name="T17" fmla="*/ 108 h 191"/>
                <a:gd name="T18" fmla="*/ 15 w 169"/>
                <a:gd name="T19" fmla="*/ 133 h 191"/>
                <a:gd name="T20" fmla="*/ 23 w 169"/>
                <a:gd name="T21" fmla="*/ 131 h 191"/>
                <a:gd name="T22" fmla="*/ 29 w 169"/>
                <a:gd name="T23" fmla="*/ 139 h 191"/>
                <a:gd name="T24" fmla="*/ 37 w 169"/>
                <a:gd name="T25" fmla="*/ 118 h 191"/>
                <a:gd name="T26" fmla="*/ 42 w 169"/>
                <a:gd name="T27" fmla="*/ 116 h 191"/>
                <a:gd name="T28" fmla="*/ 58 w 169"/>
                <a:gd name="T29" fmla="*/ 129 h 191"/>
                <a:gd name="T30" fmla="*/ 71 w 169"/>
                <a:gd name="T31" fmla="*/ 131 h 191"/>
                <a:gd name="T32" fmla="*/ 81 w 169"/>
                <a:gd name="T33" fmla="*/ 139 h 191"/>
                <a:gd name="T34" fmla="*/ 102 w 169"/>
                <a:gd name="T35" fmla="*/ 143 h 191"/>
                <a:gd name="T36" fmla="*/ 111 w 169"/>
                <a:gd name="T37" fmla="*/ 154 h 191"/>
                <a:gd name="T38" fmla="*/ 127 w 169"/>
                <a:gd name="T39" fmla="*/ 175 h 191"/>
                <a:gd name="T40" fmla="*/ 133 w 169"/>
                <a:gd name="T41" fmla="*/ 185 h 191"/>
                <a:gd name="T42" fmla="*/ 140 w 169"/>
                <a:gd name="T43" fmla="*/ 189 h 191"/>
                <a:gd name="T44" fmla="*/ 152 w 169"/>
                <a:gd name="T45" fmla="*/ 191 h 191"/>
                <a:gd name="T46" fmla="*/ 167 w 169"/>
                <a:gd name="T47" fmla="*/ 175 h 191"/>
                <a:gd name="T48" fmla="*/ 148 w 169"/>
                <a:gd name="T49" fmla="*/ 160 h 191"/>
                <a:gd name="T50" fmla="*/ 140 w 169"/>
                <a:gd name="T51" fmla="*/ 145 h 191"/>
                <a:gd name="T52" fmla="*/ 138 w 169"/>
                <a:gd name="T53" fmla="*/ 133 h 191"/>
                <a:gd name="T54" fmla="*/ 125 w 169"/>
                <a:gd name="T55" fmla="*/ 129 h 191"/>
                <a:gd name="T56" fmla="*/ 115 w 169"/>
                <a:gd name="T57" fmla="*/ 118 h 191"/>
                <a:gd name="T58" fmla="*/ 111 w 169"/>
                <a:gd name="T59" fmla="*/ 102 h 191"/>
                <a:gd name="T60" fmla="*/ 94 w 169"/>
                <a:gd name="T61" fmla="*/ 97 h 191"/>
                <a:gd name="T62" fmla="*/ 85 w 169"/>
                <a:gd name="T63" fmla="*/ 79 h 191"/>
                <a:gd name="T64" fmla="*/ 79 w 169"/>
                <a:gd name="T65" fmla="*/ 83 h 191"/>
                <a:gd name="T66" fmla="*/ 77 w 169"/>
                <a:gd name="T67" fmla="*/ 79 h 191"/>
                <a:gd name="T68" fmla="*/ 71 w 169"/>
                <a:gd name="T69" fmla="*/ 77 h 191"/>
                <a:gd name="T70" fmla="*/ 63 w 169"/>
                <a:gd name="T71" fmla="*/ 52 h 191"/>
                <a:gd name="T72" fmla="*/ 58 w 169"/>
                <a:gd name="T73" fmla="*/ 0 h 19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69"/>
                <a:gd name="T112" fmla="*/ 0 h 191"/>
                <a:gd name="T113" fmla="*/ 169 w 169"/>
                <a:gd name="T114" fmla="*/ 191 h 19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69" h="191">
                  <a:moveTo>
                    <a:pt x="58" y="0"/>
                  </a:moveTo>
                  <a:lnTo>
                    <a:pt x="48" y="14"/>
                  </a:lnTo>
                  <a:lnTo>
                    <a:pt x="35" y="12"/>
                  </a:lnTo>
                  <a:lnTo>
                    <a:pt x="31" y="14"/>
                  </a:lnTo>
                  <a:lnTo>
                    <a:pt x="25" y="18"/>
                  </a:lnTo>
                  <a:lnTo>
                    <a:pt x="19" y="23"/>
                  </a:lnTo>
                  <a:lnTo>
                    <a:pt x="17" y="27"/>
                  </a:lnTo>
                  <a:lnTo>
                    <a:pt x="17" y="33"/>
                  </a:lnTo>
                  <a:lnTo>
                    <a:pt x="14" y="33"/>
                  </a:lnTo>
                  <a:lnTo>
                    <a:pt x="12" y="35"/>
                  </a:lnTo>
                  <a:lnTo>
                    <a:pt x="12" y="47"/>
                  </a:lnTo>
                  <a:lnTo>
                    <a:pt x="10" y="52"/>
                  </a:lnTo>
                  <a:lnTo>
                    <a:pt x="10" y="66"/>
                  </a:lnTo>
                  <a:lnTo>
                    <a:pt x="6" y="81"/>
                  </a:lnTo>
                  <a:lnTo>
                    <a:pt x="2" y="89"/>
                  </a:lnTo>
                  <a:lnTo>
                    <a:pt x="2" y="97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37"/>
                  </a:lnTo>
                  <a:lnTo>
                    <a:pt x="15" y="133"/>
                  </a:lnTo>
                  <a:lnTo>
                    <a:pt x="19" y="131"/>
                  </a:lnTo>
                  <a:lnTo>
                    <a:pt x="23" y="131"/>
                  </a:lnTo>
                  <a:lnTo>
                    <a:pt x="29" y="133"/>
                  </a:lnTo>
                  <a:lnTo>
                    <a:pt x="29" y="139"/>
                  </a:lnTo>
                  <a:lnTo>
                    <a:pt x="33" y="143"/>
                  </a:lnTo>
                  <a:lnTo>
                    <a:pt x="37" y="118"/>
                  </a:lnTo>
                  <a:lnTo>
                    <a:pt x="38" y="118"/>
                  </a:lnTo>
                  <a:lnTo>
                    <a:pt x="42" y="116"/>
                  </a:lnTo>
                  <a:lnTo>
                    <a:pt x="46" y="118"/>
                  </a:lnTo>
                  <a:lnTo>
                    <a:pt x="58" y="129"/>
                  </a:lnTo>
                  <a:lnTo>
                    <a:pt x="62" y="131"/>
                  </a:lnTo>
                  <a:lnTo>
                    <a:pt x="71" y="131"/>
                  </a:lnTo>
                  <a:lnTo>
                    <a:pt x="75" y="133"/>
                  </a:lnTo>
                  <a:lnTo>
                    <a:pt x="81" y="139"/>
                  </a:lnTo>
                  <a:lnTo>
                    <a:pt x="92" y="141"/>
                  </a:lnTo>
                  <a:lnTo>
                    <a:pt x="102" y="143"/>
                  </a:lnTo>
                  <a:lnTo>
                    <a:pt x="108" y="146"/>
                  </a:lnTo>
                  <a:lnTo>
                    <a:pt x="111" y="154"/>
                  </a:lnTo>
                  <a:lnTo>
                    <a:pt x="125" y="168"/>
                  </a:lnTo>
                  <a:lnTo>
                    <a:pt x="127" y="175"/>
                  </a:lnTo>
                  <a:lnTo>
                    <a:pt x="129" y="181"/>
                  </a:lnTo>
                  <a:lnTo>
                    <a:pt x="133" y="185"/>
                  </a:lnTo>
                  <a:lnTo>
                    <a:pt x="138" y="189"/>
                  </a:lnTo>
                  <a:lnTo>
                    <a:pt x="140" y="189"/>
                  </a:lnTo>
                  <a:lnTo>
                    <a:pt x="144" y="185"/>
                  </a:lnTo>
                  <a:lnTo>
                    <a:pt x="152" y="191"/>
                  </a:lnTo>
                  <a:lnTo>
                    <a:pt x="169" y="183"/>
                  </a:lnTo>
                  <a:lnTo>
                    <a:pt x="167" y="175"/>
                  </a:lnTo>
                  <a:lnTo>
                    <a:pt x="169" y="171"/>
                  </a:lnTo>
                  <a:lnTo>
                    <a:pt x="148" y="160"/>
                  </a:lnTo>
                  <a:lnTo>
                    <a:pt x="142" y="152"/>
                  </a:lnTo>
                  <a:lnTo>
                    <a:pt x="140" y="145"/>
                  </a:lnTo>
                  <a:lnTo>
                    <a:pt x="140" y="139"/>
                  </a:lnTo>
                  <a:lnTo>
                    <a:pt x="138" y="133"/>
                  </a:lnTo>
                  <a:lnTo>
                    <a:pt x="131" y="129"/>
                  </a:lnTo>
                  <a:lnTo>
                    <a:pt x="125" y="129"/>
                  </a:lnTo>
                  <a:lnTo>
                    <a:pt x="119" y="125"/>
                  </a:lnTo>
                  <a:lnTo>
                    <a:pt x="115" y="118"/>
                  </a:lnTo>
                  <a:lnTo>
                    <a:pt x="113" y="108"/>
                  </a:lnTo>
                  <a:lnTo>
                    <a:pt x="111" y="102"/>
                  </a:lnTo>
                  <a:lnTo>
                    <a:pt x="100" y="102"/>
                  </a:lnTo>
                  <a:lnTo>
                    <a:pt x="94" y="97"/>
                  </a:lnTo>
                  <a:lnTo>
                    <a:pt x="88" y="87"/>
                  </a:lnTo>
                  <a:lnTo>
                    <a:pt x="85" y="79"/>
                  </a:lnTo>
                  <a:lnTo>
                    <a:pt x="83" y="81"/>
                  </a:lnTo>
                  <a:lnTo>
                    <a:pt x="79" y="83"/>
                  </a:lnTo>
                  <a:lnTo>
                    <a:pt x="77" y="83"/>
                  </a:lnTo>
                  <a:lnTo>
                    <a:pt x="77" y="79"/>
                  </a:lnTo>
                  <a:lnTo>
                    <a:pt x="73" y="77"/>
                  </a:lnTo>
                  <a:lnTo>
                    <a:pt x="71" y="77"/>
                  </a:lnTo>
                  <a:lnTo>
                    <a:pt x="69" y="75"/>
                  </a:lnTo>
                  <a:lnTo>
                    <a:pt x="63" y="52"/>
                  </a:lnTo>
                  <a:lnTo>
                    <a:pt x="63" y="25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3" name="Freeform 218"/>
            <p:cNvSpPr>
              <a:spLocks/>
            </p:cNvSpPr>
            <p:nvPr/>
          </p:nvSpPr>
          <p:spPr bwMode="gray">
            <a:xfrm>
              <a:off x="3148" y="2741"/>
              <a:ext cx="27" cy="16"/>
            </a:xfrm>
            <a:custGeom>
              <a:avLst/>
              <a:gdLst>
                <a:gd name="T0" fmla="*/ 5 w 53"/>
                <a:gd name="T1" fmla="*/ 0 h 33"/>
                <a:gd name="T2" fmla="*/ 3 w 53"/>
                <a:gd name="T3" fmla="*/ 10 h 33"/>
                <a:gd name="T4" fmla="*/ 3 w 53"/>
                <a:gd name="T5" fmla="*/ 21 h 33"/>
                <a:gd name="T6" fmla="*/ 0 w 53"/>
                <a:gd name="T7" fmla="*/ 33 h 33"/>
                <a:gd name="T8" fmla="*/ 50 w 53"/>
                <a:gd name="T9" fmla="*/ 33 h 33"/>
                <a:gd name="T10" fmla="*/ 53 w 53"/>
                <a:gd name="T11" fmla="*/ 0 h 33"/>
                <a:gd name="T12" fmla="*/ 5 w 53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3"/>
                <a:gd name="T23" fmla="*/ 53 w 53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3">
                  <a:moveTo>
                    <a:pt x="5" y="0"/>
                  </a:moveTo>
                  <a:lnTo>
                    <a:pt x="3" y="10"/>
                  </a:lnTo>
                  <a:lnTo>
                    <a:pt x="3" y="21"/>
                  </a:lnTo>
                  <a:lnTo>
                    <a:pt x="0" y="33"/>
                  </a:lnTo>
                  <a:lnTo>
                    <a:pt x="50" y="33"/>
                  </a:lnTo>
                  <a:lnTo>
                    <a:pt x="53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4" name="Freeform 219"/>
            <p:cNvSpPr>
              <a:spLocks/>
            </p:cNvSpPr>
            <p:nvPr/>
          </p:nvSpPr>
          <p:spPr bwMode="gray">
            <a:xfrm>
              <a:off x="1905" y="2552"/>
              <a:ext cx="36" cy="23"/>
            </a:xfrm>
            <a:custGeom>
              <a:avLst/>
              <a:gdLst>
                <a:gd name="T0" fmla="*/ 4 w 71"/>
                <a:gd name="T1" fmla="*/ 23 h 46"/>
                <a:gd name="T2" fmla="*/ 15 w 71"/>
                <a:gd name="T3" fmla="*/ 38 h 46"/>
                <a:gd name="T4" fmla="*/ 44 w 71"/>
                <a:gd name="T5" fmla="*/ 38 h 46"/>
                <a:gd name="T6" fmla="*/ 50 w 71"/>
                <a:gd name="T7" fmla="*/ 40 h 46"/>
                <a:gd name="T8" fmla="*/ 56 w 71"/>
                <a:gd name="T9" fmla="*/ 44 h 46"/>
                <a:gd name="T10" fmla="*/ 63 w 71"/>
                <a:gd name="T11" fmla="*/ 46 h 46"/>
                <a:gd name="T12" fmla="*/ 65 w 71"/>
                <a:gd name="T13" fmla="*/ 44 h 46"/>
                <a:gd name="T14" fmla="*/ 65 w 71"/>
                <a:gd name="T15" fmla="*/ 42 h 46"/>
                <a:gd name="T16" fmla="*/ 71 w 71"/>
                <a:gd name="T17" fmla="*/ 40 h 46"/>
                <a:gd name="T18" fmla="*/ 71 w 71"/>
                <a:gd name="T19" fmla="*/ 19 h 46"/>
                <a:gd name="T20" fmla="*/ 67 w 71"/>
                <a:gd name="T21" fmla="*/ 17 h 46"/>
                <a:gd name="T22" fmla="*/ 60 w 71"/>
                <a:gd name="T23" fmla="*/ 15 h 46"/>
                <a:gd name="T24" fmla="*/ 54 w 71"/>
                <a:gd name="T25" fmla="*/ 13 h 46"/>
                <a:gd name="T26" fmla="*/ 50 w 71"/>
                <a:gd name="T27" fmla="*/ 11 h 46"/>
                <a:gd name="T28" fmla="*/ 46 w 71"/>
                <a:gd name="T29" fmla="*/ 7 h 46"/>
                <a:gd name="T30" fmla="*/ 39 w 71"/>
                <a:gd name="T31" fmla="*/ 3 h 46"/>
                <a:gd name="T32" fmla="*/ 29 w 71"/>
                <a:gd name="T33" fmla="*/ 1 h 46"/>
                <a:gd name="T34" fmla="*/ 25 w 71"/>
                <a:gd name="T35" fmla="*/ 0 h 46"/>
                <a:gd name="T36" fmla="*/ 21 w 71"/>
                <a:gd name="T37" fmla="*/ 1 h 46"/>
                <a:gd name="T38" fmla="*/ 15 w 71"/>
                <a:gd name="T39" fmla="*/ 7 h 46"/>
                <a:gd name="T40" fmla="*/ 12 w 71"/>
                <a:gd name="T41" fmla="*/ 13 h 46"/>
                <a:gd name="T42" fmla="*/ 10 w 71"/>
                <a:gd name="T43" fmla="*/ 17 h 46"/>
                <a:gd name="T44" fmla="*/ 4 w 71"/>
                <a:gd name="T45" fmla="*/ 19 h 46"/>
                <a:gd name="T46" fmla="*/ 0 w 71"/>
                <a:gd name="T47" fmla="*/ 21 h 46"/>
                <a:gd name="T48" fmla="*/ 2 w 71"/>
                <a:gd name="T49" fmla="*/ 21 h 46"/>
                <a:gd name="T50" fmla="*/ 4 w 71"/>
                <a:gd name="T51" fmla="*/ 23 h 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1"/>
                <a:gd name="T79" fmla="*/ 0 h 46"/>
                <a:gd name="T80" fmla="*/ 71 w 71"/>
                <a:gd name="T81" fmla="*/ 46 h 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1" h="46">
                  <a:moveTo>
                    <a:pt x="4" y="23"/>
                  </a:moveTo>
                  <a:lnTo>
                    <a:pt x="15" y="38"/>
                  </a:lnTo>
                  <a:lnTo>
                    <a:pt x="44" y="38"/>
                  </a:lnTo>
                  <a:lnTo>
                    <a:pt x="50" y="40"/>
                  </a:lnTo>
                  <a:lnTo>
                    <a:pt x="56" y="44"/>
                  </a:lnTo>
                  <a:lnTo>
                    <a:pt x="63" y="46"/>
                  </a:lnTo>
                  <a:lnTo>
                    <a:pt x="65" y="44"/>
                  </a:lnTo>
                  <a:lnTo>
                    <a:pt x="65" y="42"/>
                  </a:lnTo>
                  <a:lnTo>
                    <a:pt x="71" y="40"/>
                  </a:lnTo>
                  <a:lnTo>
                    <a:pt x="71" y="19"/>
                  </a:lnTo>
                  <a:lnTo>
                    <a:pt x="67" y="17"/>
                  </a:lnTo>
                  <a:lnTo>
                    <a:pt x="60" y="15"/>
                  </a:lnTo>
                  <a:lnTo>
                    <a:pt x="54" y="13"/>
                  </a:lnTo>
                  <a:lnTo>
                    <a:pt x="50" y="11"/>
                  </a:lnTo>
                  <a:lnTo>
                    <a:pt x="46" y="7"/>
                  </a:lnTo>
                  <a:lnTo>
                    <a:pt x="39" y="3"/>
                  </a:lnTo>
                  <a:lnTo>
                    <a:pt x="29" y="1"/>
                  </a:lnTo>
                  <a:lnTo>
                    <a:pt x="25" y="0"/>
                  </a:lnTo>
                  <a:lnTo>
                    <a:pt x="21" y="1"/>
                  </a:lnTo>
                  <a:lnTo>
                    <a:pt x="15" y="7"/>
                  </a:lnTo>
                  <a:lnTo>
                    <a:pt x="12" y="13"/>
                  </a:lnTo>
                  <a:lnTo>
                    <a:pt x="10" y="17"/>
                  </a:lnTo>
                  <a:lnTo>
                    <a:pt x="4" y="19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4" y="23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5" name="Freeform 220"/>
            <p:cNvSpPr>
              <a:spLocks/>
            </p:cNvSpPr>
            <p:nvPr/>
          </p:nvSpPr>
          <p:spPr bwMode="gray">
            <a:xfrm>
              <a:off x="3438" y="2304"/>
              <a:ext cx="3" cy="4"/>
            </a:xfrm>
            <a:custGeom>
              <a:avLst/>
              <a:gdLst>
                <a:gd name="T0" fmla="*/ 4 w 6"/>
                <a:gd name="T1" fmla="*/ 0 h 7"/>
                <a:gd name="T2" fmla="*/ 6 w 6"/>
                <a:gd name="T3" fmla="*/ 4 h 7"/>
                <a:gd name="T4" fmla="*/ 2 w 6"/>
                <a:gd name="T5" fmla="*/ 7 h 7"/>
                <a:gd name="T6" fmla="*/ 0 w 6"/>
                <a:gd name="T7" fmla="*/ 7 h 7"/>
                <a:gd name="T8" fmla="*/ 0 w 6"/>
                <a:gd name="T9" fmla="*/ 0 h 7"/>
                <a:gd name="T10" fmla="*/ 4 w 6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4" y="0"/>
                  </a:moveTo>
                  <a:lnTo>
                    <a:pt x="6" y="4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6" name="Freeform 221"/>
            <p:cNvSpPr>
              <a:spLocks/>
            </p:cNvSpPr>
            <p:nvPr/>
          </p:nvSpPr>
          <p:spPr bwMode="gray">
            <a:xfrm>
              <a:off x="3339" y="2277"/>
              <a:ext cx="138" cy="159"/>
            </a:xfrm>
            <a:custGeom>
              <a:avLst/>
              <a:gdLst>
                <a:gd name="T0" fmla="*/ 0 w 276"/>
                <a:gd name="T1" fmla="*/ 13 h 319"/>
                <a:gd name="T2" fmla="*/ 5 w 276"/>
                <a:gd name="T3" fmla="*/ 27 h 319"/>
                <a:gd name="T4" fmla="*/ 2 w 276"/>
                <a:gd name="T5" fmla="*/ 54 h 319"/>
                <a:gd name="T6" fmla="*/ 3 w 276"/>
                <a:gd name="T7" fmla="*/ 75 h 319"/>
                <a:gd name="T8" fmla="*/ 9 w 276"/>
                <a:gd name="T9" fmla="*/ 84 h 319"/>
                <a:gd name="T10" fmla="*/ 11 w 276"/>
                <a:gd name="T11" fmla="*/ 311 h 319"/>
                <a:gd name="T12" fmla="*/ 197 w 276"/>
                <a:gd name="T13" fmla="*/ 307 h 319"/>
                <a:gd name="T14" fmla="*/ 222 w 276"/>
                <a:gd name="T15" fmla="*/ 313 h 319"/>
                <a:gd name="T16" fmla="*/ 234 w 276"/>
                <a:gd name="T17" fmla="*/ 315 h 319"/>
                <a:gd name="T18" fmla="*/ 245 w 276"/>
                <a:gd name="T19" fmla="*/ 298 h 319"/>
                <a:gd name="T20" fmla="*/ 261 w 276"/>
                <a:gd name="T21" fmla="*/ 280 h 319"/>
                <a:gd name="T22" fmla="*/ 272 w 276"/>
                <a:gd name="T23" fmla="*/ 263 h 319"/>
                <a:gd name="T24" fmla="*/ 266 w 276"/>
                <a:gd name="T25" fmla="*/ 238 h 319"/>
                <a:gd name="T26" fmla="*/ 274 w 276"/>
                <a:gd name="T27" fmla="*/ 236 h 319"/>
                <a:gd name="T28" fmla="*/ 268 w 276"/>
                <a:gd name="T29" fmla="*/ 221 h 319"/>
                <a:gd name="T30" fmla="*/ 255 w 276"/>
                <a:gd name="T31" fmla="*/ 200 h 319"/>
                <a:gd name="T32" fmla="*/ 241 w 276"/>
                <a:gd name="T33" fmla="*/ 167 h 319"/>
                <a:gd name="T34" fmla="*/ 230 w 276"/>
                <a:gd name="T35" fmla="*/ 140 h 319"/>
                <a:gd name="T36" fmla="*/ 220 w 276"/>
                <a:gd name="T37" fmla="*/ 123 h 319"/>
                <a:gd name="T38" fmla="*/ 215 w 276"/>
                <a:gd name="T39" fmla="*/ 100 h 319"/>
                <a:gd name="T40" fmla="*/ 205 w 276"/>
                <a:gd name="T41" fmla="*/ 84 h 319"/>
                <a:gd name="T42" fmla="*/ 199 w 276"/>
                <a:gd name="T43" fmla="*/ 71 h 319"/>
                <a:gd name="T44" fmla="*/ 211 w 276"/>
                <a:gd name="T45" fmla="*/ 77 h 319"/>
                <a:gd name="T46" fmla="*/ 216 w 276"/>
                <a:gd name="T47" fmla="*/ 96 h 319"/>
                <a:gd name="T48" fmla="*/ 238 w 276"/>
                <a:gd name="T49" fmla="*/ 113 h 319"/>
                <a:gd name="T50" fmla="*/ 247 w 276"/>
                <a:gd name="T51" fmla="*/ 111 h 319"/>
                <a:gd name="T52" fmla="*/ 245 w 276"/>
                <a:gd name="T53" fmla="*/ 104 h 319"/>
                <a:gd name="T54" fmla="*/ 249 w 276"/>
                <a:gd name="T55" fmla="*/ 90 h 319"/>
                <a:gd name="T56" fmla="*/ 253 w 276"/>
                <a:gd name="T57" fmla="*/ 71 h 319"/>
                <a:gd name="T58" fmla="*/ 249 w 276"/>
                <a:gd name="T59" fmla="*/ 27 h 319"/>
                <a:gd name="T60" fmla="*/ 243 w 276"/>
                <a:gd name="T61" fmla="*/ 4 h 319"/>
                <a:gd name="T62" fmla="*/ 216 w 276"/>
                <a:gd name="T63" fmla="*/ 4 h 319"/>
                <a:gd name="T64" fmla="*/ 190 w 276"/>
                <a:gd name="T65" fmla="*/ 11 h 319"/>
                <a:gd name="T66" fmla="*/ 184 w 276"/>
                <a:gd name="T67" fmla="*/ 4 h 319"/>
                <a:gd name="T68" fmla="*/ 170 w 276"/>
                <a:gd name="T69" fmla="*/ 0 h 319"/>
                <a:gd name="T70" fmla="*/ 172 w 276"/>
                <a:gd name="T71" fmla="*/ 8 h 319"/>
                <a:gd name="T72" fmla="*/ 169 w 276"/>
                <a:gd name="T73" fmla="*/ 10 h 319"/>
                <a:gd name="T74" fmla="*/ 167 w 276"/>
                <a:gd name="T75" fmla="*/ 4 h 319"/>
                <a:gd name="T76" fmla="*/ 147 w 276"/>
                <a:gd name="T77" fmla="*/ 11 h 319"/>
                <a:gd name="T78" fmla="*/ 117 w 276"/>
                <a:gd name="T79" fmla="*/ 11 h 319"/>
                <a:gd name="T80" fmla="*/ 101 w 276"/>
                <a:gd name="T81" fmla="*/ 15 h 319"/>
                <a:gd name="T82" fmla="*/ 92 w 276"/>
                <a:gd name="T83" fmla="*/ 8 h 319"/>
                <a:gd name="T84" fmla="*/ 84 w 276"/>
                <a:gd name="T85" fmla="*/ 11 h 319"/>
                <a:gd name="T86" fmla="*/ 86 w 276"/>
                <a:gd name="T87" fmla="*/ 19 h 319"/>
                <a:gd name="T88" fmla="*/ 57 w 276"/>
                <a:gd name="T89" fmla="*/ 25 h 319"/>
                <a:gd name="T90" fmla="*/ 36 w 276"/>
                <a:gd name="T91" fmla="*/ 11 h 319"/>
                <a:gd name="T92" fmla="*/ 19 w 276"/>
                <a:gd name="T93" fmla="*/ 15 h 319"/>
                <a:gd name="T94" fmla="*/ 13 w 276"/>
                <a:gd name="T95" fmla="*/ 11 h 319"/>
                <a:gd name="T96" fmla="*/ 5 w 276"/>
                <a:gd name="T97" fmla="*/ 8 h 31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76"/>
                <a:gd name="T148" fmla="*/ 0 h 319"/>
                <a:gd name="T149" fmla="*/ 276 w 276"/>
                <a:gd name="T150" fmla="*/ 319 h 31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76" h="319">
                  <a:moveTo>
                    <a:pt x="0" y="4"/>
                  </a:moveTo>
                  <a:lnTo>
                    <a:pt x="0" y="13"/>
                  </a:lnTo>
                  <a:lnTo>
                    <a:pt x="2" y="19"/>
                  </a:lnTo>
                  <a:lnTo>
                    <a:pt x="5" y="27"/>
                  </a:lnTo>
                  <a:lnTo>
                    <a:pt x="7" y="36"/>
                  </a:lnTo>
                  <a:lnTo>
                    <a:pt x="2" y="54"/>
                  </a:lnTo>
                  <a:lnTo>
                    <a:pt x="2" y="69"/>
                  </a:lnTo>
                  <a:lnTo>
                    <a:pt x="3" y="75"/>
                  </a:lnTo>
                  <a:lnTo>
                    <a:pt x="7" y="83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11" y="311"/>
                  </a:lnTo>
                  <a:lnTo>
                    <a:pt x="190" y="311"/>
                  </a:lnTo>
                  <a:lnTo>
                    <a:pt x="197" y="307"/>
                  </a:lnTo>
                  <a:lnTo>
                    <a:pt x="199" y="313"/>
                  </a:lnTo>
                  <a:lnTo>
                    <a:pt x="222" y="313"/>
                  </a:lnTo>
                  <a:lnTo>
                    <a:pt x="224" y="319"/>
                  </a:lnTo>
                  <a:lnTo>
                    <a:pt x="234" y="315"/>
                  </a:lnTo>
                  <a:lnTo>
                    <a:pt x="238" y="300"/>
                  </a:lnTo>
                  <a:lnTo>
                    <a:pt x="245" y="298"/>
                  </a:lnTo>
                  <a:lnTo>
                    <a:pt x="251" y="280"/>
                  </a:lnTo>
                  <a:lnTo>
                    <a:pt x="261" y="280"/>
                  </a:lnTo>
                  <a:lnTo>
                    <a:pt x="276" y="275"/>
                  </a:lnTo>
                  <a:lnTo>
                    <a:pt x="272" y="263"/>
                  </a:lnTo>
                  <a:lnTo>
                    <a:pt x="268" y="250"/>
                  </a:lnTo>
                  <a:lnTo>
                    <a:pt x="266" y="238"/>
                  </a:lnTo>
                  <a:lnTo>
                    <a:pt x="270" y="236"/>
                  </a:lnTo>
                  <a:lnTo>
                    <a:pt x="274" y="236"/>
                  </a:lnTo>
                  <a:lnTo>
                    <a:pt x="274" y="231"/>
                  </a:lnTo>
                  <a:lnTo>
                    <a:pt x="268" y="221"/>
                  </a:lnTo>
                  <a:lnTo>
                    <a:pt x="261" y="209"/>
                  </a:lnTo>
                  <a:lnTo>
                    <a:pt x="255" y="200"/>
                  </a:lnTo>
                  <a:lnTo>
                    <a:pt x="245" y="182"/>
                  </a:lnTo>
                  <a:lnTo>
                    <a:pt x="241" y="167"/>
                  </a:lnTo>
                  <a:lnTo>
                    <a:pt x="236" y="146"/>
                  </a:lnTo>
                  <a:lnTo>
                    <a:pt x="230" y="140"/>
                  </a:lnTo>
                  <a:lnTo>
                    <a:pt x="224" y="131"/>
                  </a:lnTo>
                  <a:lnTo>
                    <a:pt x="220" y="123"/>
                  </a:lnTo>
                  <a:lnTo>
                    <a:pt x="220" y="108"/>
                  </a:lnTo>
                  <a:lnTo>
                    <a:pt x="215" y="100"/>
                  </a:lnTo>
                  <a:lnTo>
                    <a:pt x="209" y="94"/>
                  </a:lnTo>
                  <a:lnTo>
                    <a:pt x="205" y="84"/>
                  </a:lnTo>
                  <a:lnTo>
                    <a:pt x="203" y="79"/>
                  </a:lnTo>
                  <a:lnTo>
                    <a:pt x="199" y="71"/>
                  </a:lnTo>
                  <a:lnTo>
                    <a:pt x="205" y="69"/>
                  </a:lnTo>
                  <a:lnTo>
                    <a:pt x="211" y="77"/>
                  </a:lnTo>
                  <a:lnTo>
                    <a:pt x="213" y="86"/>
                  </a:lnTo>
                  <a:lnTo>
                    <a:pt x="216" y="96"/>
                  </a:lnTo>
                  <a:lnTo>
                    <a:pt x="236" y="115"/>
                  </a:lnTo>
                  <a:lnTo>
                    <a:pt x="238" y="113"/>
                  </a:lnTo>
                  <a:lnTo>
                    <a:pt x="241" y="113"/>
                  </a:lnTo>
                  <a:lnTo>
                    <a:pt x="247" y="111"/>
                  </a:lnTo>
                  <a:lnTo>
                    <a:pt x="245" y="108"/>
                  </a:lnTo>
                  <a:lnTo>
                    <a:pt x="245" y="104"/>
                  </a:lnTo>
                  <a:lnTo>
                    <a:pt x="247" y="100"/>
                  </a:lnTo>
                  <a:lnTo>
                    <a:pt x="249" y="90"/>
                  </a:lnTo>
                  <a:lnTo>
                    <a:pt x="251" y="77"/>
                  </a:lnTo>
                  <a:lnTo>
                    <a:pt x="253" y="71"/>
                  </a:lnTo>
                  <a:lnTo>
                    <a:pt x="249" y="29"/>
                  </a:lnTo>
                  <a:lnTo>
                    <a:pt x="249" y="27"/>
                  </a:lnTo>
                  <a:lnTo>
                    <a:pt x="247" y="21"/>
                  </a:lnTo>
                  <a:lnTo>
                    <a:pt x="243" y="4"/>
                  </a:lnTo>
                  <a:lnTo>
                    <a:pt x="230" y="6"/>
                  </a:lnTo>
                  <a:lnTo>
                    <a:pt x="216" y="4"/>
                  </a:lnTo>
                  <a:lnTo>
                    <a:pt x="205" y="4"/>
                  </a:lnTo>
                  <a:lnTo>
                    <a:pt x="190" y="11"/>
                  </a:lnTo>
                  <a:lnTo>
                    <a:pt x="186" y="10"/>
                  </a:lnTo>
                  <a:lnTo>
                    <a:pt x="184" y="4"/>
                  </a:lnTo>
                  <a:lnTo>
                    <a:pt x="182" y="0"/>
                  </a:lnTo>
                  <a:lnTo>
                    <a:pt x="170" y="0"/>
                  </a:lnTo>
                  <a:lnTo>
                    <a:pt x="172" y="2"/>
                  </a:lnTo>
                  <a:lnTo>
                    <a:pt x="172" y="8"/>
                  </a:lnTo>
                  <a:lnTo>
                    <a:pt x="174" y="11"/>
                  </a:lnTo>
                  <a:lnTo>
                    <a:pt x="169" y="10"/>
                  </a:lnTo>
                  <a:lnTo>
                    <a:pt x="167" y="6"/>
                  </a:lnTo>
                  <a:lnTo>
                    <a:pt x="167" y="4"/>
                  </a:lnTo>
                  <a:lnTo>
                    <a:pt x="157" y="6"/>
                  </a:lnTo>
                  <a:lnTo>
                    <a:pt x="147" y="11"/>
                  </a:lnTo>
                  <a:lnTo>
                    <a:pt x="140" y="15"/>
                  </a:lnTo>
                  <a:lnTo>
                    <a:pt x="117" y="11"/>
                  </a:lnTo>
                  <a:lnTo>
                    <a:pt x="101" y="11"/>
                  </a:lnTo>
                  <a:lnTo>
                    <a:pt x="101" y="15"/>
                  </a:lnTo>
                  <a:lnTo>
                    <a:pt x="96" y="11"/>
                  </a:lnTo>
                  <a:lnTo>
                    <a:pt x="92" y="8"/>
                  </a:lnTo>
                  <a:lnTo>
                    <a:pt x="86" y="8"/>
                  </a:lnTo>
                  <a:lnTo>
                    <a:pt x="84" y="11"/>
                  </a:lnTo>
                  <a:lnTo>
                    <a:pt x="86" y="15"/>
                  </a:lnTo>
                  <a:lnTo>
                    <a:pt x="86" y="19"/>
                  </a:lnTo>
                  <a:lnTo>
                    <a:pt x="67" y="31"/>
                  </a:lnTo>
                  <a:lnTo>
                    <a:pt x="57" y="25"/>
                  </a:lnTo>
                  <a:lnTo>
                    <a:pt x="46" y="17"/>
                  </a:lnTo>
                  <a:lnTo>
                    <a:pt x="36" y="11"/>
                  </a:lnTo>
                  <a:lnTo>
                    <a:pt x="26" y="11"/>
                  </a:lnTo>
                  <a:lnTo>
                    <a:pt x="19" y="15"/>
                  </a:lnTo>
                  <a:lnTo>
                    <a:pt x="13" y="15"/>
                  </a:lnTo>
                  <a:lnTo>
                    <a:pt x="13" y="11"/>
                  </a:lnTo>
                  <a:lnTo>
                    <a:pt x="9" y="11"/>
                  </a:lnTo>
                  <a:lnTo>
                    <a:pt x="5" y="8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7" name="Freeform 222"/>
            <p:cNvSpPr>
              <a:spLocks/>
            </p:cNvSpPr>
            <p:nvPr/>
          </p:nvSpPr>
          <p:spPr bwMode="gray">
            <a:xfrm>
              <a:off x="2031" y="2826"/>
              <a:ext cx="4" cy="3"/>
            </a:xfrm>
            <a:custGeom>
              <a:avLst/>
              <a:gdLst>
                <a:gd name="T0" fmla="*/ 7 w 7"/>
                <a:gd name="T1" fmla="*/ 0 h 8"/>
                <a:gd name="T2" fmla="*/ 7 w 7"/>
                <a:gd name="T3" fmla="*/ 8 h 8"/>
                <a:gd name="T4" fmla="*/ 0 w 7"/>
                <a:gd name="T5" fmla="*/ 8 h 8"/>
                <a:gd name="T6" fmla="*/ 1 w 7"/>
                <a:gd name="T7" fmla="*/ 4 h 8"/>
                <a:gd name="T8" fmla="*/ 7 w 7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8"/>
                <a:gd name="T17" fmla="*/ 7 w 7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8">
                  <a:moveTo>
                    <a:pt x="7" y="0"/>
                  </a:moveTo>
                  <a:lnTo>
                    <a:pt x="7" y="8"/>
                  </a:lnTo>
                  <a:lnTo>
                    <a:pt x="0" y="8"/>
                  </a:lnTo>
                  <a:lnTo>
                    <a:pt x="1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8" name="Freeform 223"/>
            <p:cNvSpPr>
              <a:spLocks/>
            </p:cNvSpPr>
            <p:nvPr/>
          </p:nvSpPr>
          <p:spPr bwMode="gray">
            <a:xfrm>
              <a:off x="2133" y="2472"/>
              <a:ext cx="46" cy="32"/>
            </a:xfrm>
            <a:custGeom>
              <a:avLst/>
              <a:gdLst>
                <a:gd name="T0" fmla="*/ 2 w 90"/>
                <a:gd name="T1" fmla="*/ 2 h 63"/>
                <a:gd name="T2" fmla="*/ 4 w 90"/>
                <a:gd name="T3" fmla="*/ 21 h 63"/>
                <a:gd name="T4" fmla="*/ 2 w 90"/>
                <a:gd name="T5" fmla="*/ 29 h 63"/>
                <a:gd name="T6" fmla="*/ 0 w 90"/>
                <a:gd name="T7" fmla="*/ 33 h 63"/>
                <a:gd name="T8" fmla="*/ 4 w 90"/>
                <a:gd name="T9" fmla="*/ 37 h 63"/>
                <a:gd name="T10" fmla="*/ 6 w 90"/>
                <a:gd name="T11" fmla="*/ 40 h 63"/>
                <a:gd name="T12" fmla="*/ 6 w 90"/>
                <a:gd name="T13" fmla="*/ 46 h 63"/>
                <a:gd name="T14" fmla="*/ 8 w 90"/>
                <a:gd name="T15" fmla="*/ 50 h 63"/>
                <a:gd name="T16" fmla="*/ 8 w 90"/>
                <a:gd name="T17" fmla="*/ 52 h 63"/>
                <a:gd name="T18" fmla="*/ 10 w 90"/>
                <a:gd name="T19" fmla="*/ 52 h 63"/>
                <a:gd name="T20" fmla="*/ 11 w 90"/>
                <a:gd name="T21" fmla="*/ 58 h 63"/>
                <a:gd name="T22" fmla="*/ 11 w 90"/>
                <a:gd name="T23" fmla="*/ 60 h 63"/>
                <a:gd name="T24" fmla="*/ 17 w 90"/>
                <a:gd name="T25" fmla="*/ 63 h 63"/>
                <a:gd name="T26" fmla="*/ 19 w 90"/>
                <a:gd name="T27" fmla="*/ 60 h 63"/>
                <a:gd name="T28" fmla="*/ 21 w 90"/>
                <a:gd name="T29" fmla="*/ 58 h 63"/>
                <a:gd name="T30" fmla="*/ 25 w 90"/>
                <a:gd name="T31" fmla="*/ 56 h 63"/>
                <a:gd name="T32" fmla="*/ 23 w 90"/>
                <a:gd name="T33" fmla="*/ 50 h 63"/>
                <a:gd name="T34" fmla="*/ 21 w 90"/>
                <a:gd name="T35" fmla="*/ 46 h 63"/>
                <a:gd name="T36" fmla="*/ 21 w 90"/>
                <a:gd name="T37" fmla="*/ 40 h 63"/>
                <a:gd name="T38" fmla="*/ 25 w 90"/>
                <a:gd name="T39" fmla="*/ 42 h 63"/>
                <a:gd name="T40" fmla="*/ 31 w 90"/>
                <a:gd name="T41" fmla="*/ 46 h 63"/>
                <a:gd name="T42" fmla="*/ 36 w 90"/>
                <a:gd name="T43" fmla="*/ 48 h 63"/>
                <a:gd name="T44" fmla="*/ 38 w 90"/>
                <a:gd name="T45" fmla="*/ 50 h 63"/>
                <a:gd name="T46" fmla="*/ 42 w 90"/>
                <a:gd name="T47" fmla="*/ 52 h 63"/>
                <a:gd name="T48" fmla="*/ 48 w 90"/>
                <a:gd name="T49" fmla="*/ 52 h 63"/>
                <a:gd name="T50" fmla="*/ 50 w 90"/>
                <a:gd name="T51" fmla="*/ 48 h 63"/>
                <a:gd name="T52" fmla="*/ 54 w 90"/>
                <a:gd name="T53" fmla="*/ 44 h 63"/>
                <a:gd name="T54" fmla="*/ 56 w 90"/>
                <a:gd name="T55" fmla="*/ 40 h 63"/>
                <a:gd name="T56" fmla="*/ 79 w 90"/>
                <a:gd name="T57" fmla="*/ 40 h 63"/>
                <a:gd name="T58" fmla="*/ 79 w 90"/>
                <a:gd name="T59" fmla="*/ 42 h 63"/>
                <a:gd name="T60" fmla="*/ 90 w 90"/>
                <a:gd name="T61" fmla="*/ 44 h 63"/>
                <a:gd name="T62" fmla="*/ 86 w 90"/>
                <a:gd name="T63" fmla="*/ 35 h 63"/>
                <a:gd name="T64" fmla="*/ 84 w 90"/>
                <a:gd name="T65" fmla="*/ 27 h 63"/>
                <a:gd name="T66" fmla="*/ 79 w 90"/>
                <a:gd name="T67" fmla="*/ 21 h 63"/>
                <a:gd name="T68" fmla="*/ 75 w 90"/>
                <a:gd name="T69" fmla="*/ 21 h 63"/>
                <a:gd name="T70" fmla="*/ 67 w 90"/>
                <a:gd name="T71" fmla="*/ 23 h 63"/>
                <a:gd name="T72" fmla="*/ 59 w 90"/>
                <a:gd name="T73" fmla="*/ 21 h 63"/>
                <a:gd name="T74" fmla="*/ 50 w 90"/>
                <a:gd name="T75" fmla="*/ 15 h 63"/>
                <a:gd name="T76" fmla="*/ 42 w 90"/>
                <a:gd name="T77" fmla="*/ 8 h 63"/>
                <a:gd name="T78" fmla="*/ 33 w 90"/>
                <a:gd name="T79" fmla="*/ 2 h 63"/>
                <a:gd name="T80" fmla="*/ 21 w 90"/>
                <a:gd name="T81" fmla="*/ 0 h 63"/>
                <a:gd name="T82" fmla="*/ 11 w 90"/>
                <a:gd name="T83" fmla="*/ 0 h 63"/>
                <a:gd name="T84" fmla="*/ 2 w 90"/>
                <a:gd name="T85" fmla="*/ 2 h 6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0"/>
                <a:gd name="T130" fmla="*/ 0 h 63"/>
                <a:gd name="T131" fmla="*/ 90 w 90"/>
                <a:gd name="T132" fmla="*/ 63 h 6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0" h="63">
                  <a:moveTo>
                    <a:pt x="2" y="2"/>
                  </a:moveTo>
                  <a:lnTo>
                    <a:pt x="4" y="21"/>
                  </a:lnTo>
                  <a:lnTo>
                    <a:pt x="2" y="29"/>
                  </a:lnTo>
                  <a:lnTo>
                    <a:pt x="0" y="33"/>
                  </a:lnTo>
                  <a:lnTo>
                    <a:pt x="4" y="37"/>
                  </a:lnTo>
                  <a:lnTo>
                    <a:pt x="6" y="40"/>
                  </a:lnTo>
                  <a:lnTo>
                    <a:pt x="6" y="46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1" y="58"/>
                  </a:lnTo>
                  <a:lnTo>
                    <a:pt x="11" y="60"/>
                  </a:lnTo>
                  <a:lnTo>
                    <a:pt x="17" y="63"/>
                  </a:lnTo>
                  <a:lnTo>
                    <a:pt x="19" y="60"/>
                  </a:lnTo>
                  <a:lnTo>
                    <a:pt x="21" y="58"/>
                  </a:lnTo>
                  <a:lnTo>
                    <a:pt x="25" y="56"/>
                  </a:lnTo>
                  <a:lnTo>
                    <a:pt x="23" y="50"/>
                  </a:lnTo>
                  <a:lnTo>
                    <a:pt x="21" y="46"/>
                  </a:lnTo>
                  <a:lnTo>
                    <a:pt x="21" y="40"/>
                  </a:lnTo>
                  <a:lnTo>
                    <a:pt x="25" y="42"/>
                  </a:lnTo>
                  <a:lnTo>
                    <a:pt x="31" y="46"/>
                  </a:lnTo>
                  <a:lnTo>
                    <a:pt x="36" y="48"/>
                  </a:lnTo>
                  <a:lnTo>
                    <a:pt x="38" y="50"/>
                  </a:lnTo>
                  <a:lnTo>
                    <a:pt x="42" y="52"/>
                  </a:lnTo>
                  <a:lnTo>
                    <a:pt x="48" y="52"/>
                  </a:lnTo>
                  <a:lnTo>
                    <a:pt x="50" y="48"/>
                  </a:lnTo>
                  <a:lnTo>
                    <a:pt x="54" y="44"/>
                  </a:lnTo>
                  <a:lnTo>
                    <a:pt x="56" y="40"/>
                  </a:lnTo>
                  <a:lnTo>
                    <a:pt x="79" y="40"/>
                  </a:lnTo>
                  <a:lnTo>
                    <a:pt x="79" y="42"/>
                  </a:lnTo>
                  <a:lnTo>
                    <a:pt x="90" y="44"/>
                  </a:lnTo>
                  <a:lnTo>
                    <a:pt x="86" y="35"/>
                  </a:lnTo>
                  <a:lnTo>
                    <a:pt x="84" y="27"/>
                  </a:lnTo>
                  <a:lnTo>
                    <a:pt x="79" y="21"/>
                  </a:lnTo>
                  <a:lnTo>
                    <a:pt x="75" y="21"/>
                  </a:lnTo>
                  <a:lnTo>
                    <a:pt x="67" y="23"/>
                  </a:lnTo>
                  <a:lnTo>
                    <a:pt x="59" y="21"/>
                  </a:lnTo>
                  <a:lnTo>
                    <a:pt x="50" y="15"/>
                  </a:lnTo>
                  <a:lnTo>
                    <a:pt x="42" y="8"/>
                  </a:lnTo>
                  <a:lnTo>
                    <a:pt x="33" y="2"/>
                  </a:lnTo>
                  <a:lnTo>
                    <a:pt x="21" y="0"/>
                  </a:lnTo>
                  <a:lnTo>
                    <a:pt x="11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19" name="Freeform 224"/>
            <p:cNvSpPr>
              <a:spLocks/>
            </p:cNvSpPr>
            <p:nvPr/>
          </p:nvSpPr>
          <p:spPr bwMode="gray">
            <a:xfrm>
              <a:off x="3548" y="2583"/>
              <a:ext cx="27" cy="30"/>
            </a:xfrm>
            <a:custGeom>
              <a:avLst/>
              <a:gdLst>
                <a:gd name="T0" fmla="*/ 48 w 54"/>
                <a:gd name="T1" fmla="*/ 4 h 61"/>
                <a:gd name="T2" fmla="*/ 44 w 54"/>
                <a:gd name="T3" fmla="*/ 8 h 61"/>
                <a:gd name="T4" fmla="*/ 36 w 54"/>
                <a:gd name="T5" fmla="*/ 19 h 61"/>
                <a:gd name="T6" fmla="*/ 44 w 54"/>
                <a:gd name="T7" fmla="*/ 19 h 61"/>
                <a:gd name="T8" fmla="*/ 46 w 54"/>
                <a:gd name="T9" fmla="*/ 21 h 61"/>
                <a:gd name="T10" fmla="*/ 50 w 54"/>
                <a:gd name="T11" fmla="*/ 27 h 61"/>
                <a:gd name="T12" fmla="*/ 54 w 54"/>
                <a:gd name="T13" fmla="*/ 35 h 61"/>
                <a:gd name="T14" fmla="*/ 35 w 54"/>
                <a:gd name="T15" fmla="*/ 60 h 61"/>
                <a:gd name="T16" fmla="*/ 23 w 54"/>
                <a:gd name="T17" fmla="*/ 60 h 61"/>
                <a:gd name="T18" fmla="*/ 19 w 54"/>
                <a:gd name="T19" fmla="*/ 61 h 61"/>
                <a:gd name="T20" fmla="*/ 10 w 54"/>
                <a:gd name="T21" fmla="*/ 61 h 61"/>
                <a:gd name="T22" fmla="*/ 4 w 54"/>
                <a:gd name="T23" fmla="*/ 60 h 61"/>
                <a:gd name="T24" fmla="*/ 0 w 54"/>
                <a:gd name="T25" fmla="*/ 56 h 61"/>
                <a:gd name="T26" fmla="*/ 6 w 54"/>
                <a:gd name="T27" fmla="*/ 33 h 61"/>
                <a:gd name="T28" fmla="*/ 8 w 54"/>
                <a:gd name="T29" fmla="*/ 23 h 61"/>
                <a:gd name="T30" fmla="*/ 15 w 54"/>
                <a:gd name="T31" fmla="*/ 12 h 61"/>
                <a:gd name="T32" fmla="*/ 19 w 54"/>
                <a:gd name="T33" fmla="*/ 8 h 61"/>
                <a:gd name="T34" fmla="*/ 23 w 54"/>
                <a:gd name="T35" fmla="*/ 2 h 61"/>
                <a:gd name="T36" fmla="*/ 31 w 54"/>
                <a:gd name="T37" fmla="*/ 8 h 61"/>
                <a:gd name="T38" fmla="*/ 48 w 54"/>
                <a:gd name="T39" fmla="*/ 0 h 61"/>
                <a:gd name="T40" fmla="*/ 48 w 54"/>
                <a:gd name="T41" fmla="*/ 4 h 6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4"/>
                <a:gd name="T64" fmla="*/ 0 h 61"/>
                <a:gd name="T65" fmla="*/ 54 w 54"/>
                <a:gd name="T66" fmla="*/ 61 h 6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4" h="61">
                  <a:moveTo>
                    <a:pt x="48" y="4"/>
                  </a:moveTo>
                  <a:lnTo>
                    <a:pt x="44" y="8"/>
                  </a:lnTo>
                  <a:lnTo>
                    <a:pt x="36" y="19"/>
                  </a:lnTo>
                  <a:lnTo>
                    <a:pt x="44" y="19"/>
                  </a:lnTo>
                  <a:lnTo>
                    <a:pt x="46" y="21"/>
                  </a:lnTo>
                  <a:lnTo>
                    <a:pt x="50" y="27"/>
                  </a:lnTo>
                  <a:lnTo>
                    <a:pt x="54" y="35"/>
                  </a:lnTo>
                  <a:lnTo>
                    <a:pt x="35" y="60"/>
                  </a:lnTo>
                  <a:lnTo>
                    <a:pt x="23" y="60"/>
                  </a:lnTo>
                  <a:lnTo>
                    <a:pt x="19" y="61"/>
                  </a:lnTo>
                  <a:lnTo>
                    <a:pt x="10" y="61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6" y="33"/>
                  </a:lnTo>
                  <a:lnTo>
                    <a:pt x="8" y="23"/>
                  </a:lnTo>
                  <a:lnTo>
                    <a:pt x="15" y="12"/>
                  </a:lnTo>
                  <a:lnTo>
                    <a:pt x="19" y="8"/>
                  </a:lnTo>
                  <a:lnTo>
                    <a:pt x="23" y="2"/>
                  </a:lnTo>
                  <a:lnTo>
                    <a:pt x="31" y="8"/>
                  </a:lnTo>
                  <a:lnTo>
                    <a:pt x="48" y="0"/>
                  </a:lnTo>
                  <a:lnTo>
                    <a:pt x="48" y="4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0" name="Freeform 225"/>
            <p:cNvSpPr>
              <a:spLocks noEditPoints="1"/>
            </p:cNvSpPr>
            <p:nvPr/>
          </p:nvSpPr>
          <p:spPr bwMode="gray">
            <a:xfrm>
              <a:off x="3131" y="1801"/>
              <a:ext cx="56" cy="75"/>
            </a:xfrm>
            <a:custGeom>
              <a:avLst/>
              <a:gdLst>
                <a:gd name="T0" fmla="*/ 42 w 113"/>
                <a:gd name="T1" fmla="*/ 123 h 150"/>
                <a:gd name="T2" fmla="*/ 50 w 113"/>
                <a:gd name="T3" fmla="*/ 109 h 150"/>
                <a:gd name="T4" fmla="*/ 52 w 113"/>
                <a:gd name="T5" fmla="*/ 117 h 150"/>
                <a:gd name="T6" fmla="*/ 58 w 113"/>
                <a:gd name="T7" fmla="*/ 123 h 150"/>
                <a:gd name="T8" fmla="*/ 67 w 113"/>
                <a:gd name="T9" fmla="*/ 128 h 150"/>
                <a:gd name="T10" fmla="*/ 73 w 113"/>
                <a:gd name="T11" fmla="*/ 142 h 150"/>
                <a:gd name="T12" fmla="*/ 67 w 113"/>
                <a:gd name="T13" fmla="*/ 115 h 150"/>
                <a:gd name="T14" fmla="*/ 60 w 113"/>
                <a:gd name="T15" fmla="*/ 105 h 150"/>
                <a:gd name="T16" fmla="*/ 54 w 113"/>
                <a:gd name="T17" fmla="*/ 103 h 150"/>
                <a:gd name="T18" fmla="*/ 63 w 113"/>
                <a:gd name="T19" fmla="*/ 71 h 150"/>
                <a:gd name="T20" fmla="*/ 73 w 113"/>
                <a:gd name="T21" fmla="*/ 73 h 150"/>
                <a:gd name="T22" fmla="*/ 62 w 113"/>
                <a:gd name="T23" fmla="*/ 61 h 150"/>
                <a:gd name="T24" fmla="*/ 62 w 113"/>
                <a:gd name="T25" fmla="*/ 44 h 150"/>
                <a:gd name="T26" fmla="*/ 54 w 113"/>
                <a:gd name="T27" fmla="*/ 34 h 150"/>
                <a:gd name="T28" fmla="*/ 54 w 113"/>
                <a:gd name="T29" fmla="*/ 30 h 150"/>
                <a:gd name="T30" fmla="*/ 65 w 113"/>
                <a:gd name="T31" fmla="*/ 23 h 150"/>
                <a:gd name="T32" fmla="*/ 67 w 113"/>
                <a:gd name="T33" fmla="*/ 5 h 150"/>
                <a:gd name="T34" fmla="*/ 60 w 113"/>
                <a:gd name="T35" fmla="*/ 3 h 150"/>
                <a:gd name="T36" fmla="*/ 46 w 113"/>
                <a:gd name="T37" fmla="*/ 11 h 150"/>
                <a:gd name="T38" fmla="*/ 40 w 113"/>
                <a:gd name="T39" fmla="*/ 23 h 150"/>
                <a:gd name="T40" fmla="*/ 33 w 113"/>
                <a:gd name="T41" fmla="*/ 28 h 150"/>
                <a:gd name="T42" fmla="*/ 19 w 113"/>
                <a:gd name="T43" fmla="*/ 27 h 150"/>
                <a:gd name="T44" fmla="*/ 8 w 113"/>
                <a:gd name="T45" fmla="*/ 36 h 150"/>
                <a:gd name="T46" fmla="*/ 8 w 113"/>
                <a:gd name="T47" fmla="*/ 50 h 150"/>
                <a:gd name="T48" fmla="*/ 15 w 113"/>
                <a:gd name="T49" fmla="*/ 38 h 150"/>
                <a:gd name="T50" fmla="*/ 19 w 113"/>
                <a:gd name="T51" fmla="*/ 42 h 150"/>
                <a:gd name="T52" fmla="*/ 23 w 113"/>
                <a:gd name="T53" fmla="*/ 50 h 150"/>
                <a:gd name="T54" fmla="*/ 25 w 113"/>
                <a:gd name="T55" fmla="*/ 38 h 150"/>
                <a:gd name="T56" fmla="*/ 27 w 113"/>
                <a:gd name="T57" fmla="*/ 34 h 150"/>
                <a:gd name="T58" fmla="*/ 38 w 113"/>
                <a:gd name="T59" fmla="*/ 34 h 150"/>
                <a:gd name="T60" fmla="*/ 38 w 113"/>
                <a:gd name="T61" fmla="*/ 46 h 150"/>
                <a:gd name="T62" fmla="*/ 35 w 113"/>
                <a:gd name="T63" fmla="*/ 50 h 150"/>
                <a:gd name="T64" fmla="*/ 31 w 113"/>
                <a:gd name="T65" fmla="*/ 46 h 150"/>
                <a:gd name="T66" fmla="*/ 25 w 113"/>
                <a:gd name="T67" fmla="*/ 57 h 150"/>
                <a:gd name="T68" fmla="*/ 0 w 113"/>
                <a:gd name="T69" fmla="*/ 61 h 150"/>
                <a:gd name="T70" fmla="*/ 0 w 113"/>
                <a:gd name="T71" fmla="*/ 73 h 150"/>
                <a:gd name="T72" fmla="*/ 8 w 113"/>
                <a:gd name="T73" fmla="*/ 78 h 150"/>
                <a:gd name="T74" fmla="*/ 12 w 113"/>
                <a:gd name="T75" fmla="*/ 90 h 150"/>
                <a:gd name="T76" fmla="*/ 8 w 113"/>
                <a:gd name="T77" fmla="*/ 103 h 150"/>
                <a:gd name="T78" fmla="*/ 19 w 113"/>
                <a:gd name="T79" fmla="*/ 115 h 150"/>
                <a:gd name="T80" fmla="*/ 21 w 113"/>
                <a:gd name="T81" fmla="*/ 121 h 150"/>
                <a:gd name="T82" fmla="*/ 100 w 113"/>
                <a:gd name="T83" fmla="*/ 130 h 150"/>
                <a:gd name="T84" fmla="*/ 88 w 113"/>
                <a:gd name="T85" fmla="*/ 132 h 150"/>
                <a:gd name="T86" fmla="*/ 83 w 113"/>
                <a:gd name="T87" fmla="*/ 142 h 150"/>
                <a:gd name="T88" fmla="*/ 92 w 113"/>
                <a:gd name="T89" fmla="*/ 150 h 150"/>
                <a:gd name="T90" fmla="*/ 113 w 113"/>
                <a:gd name="T91" fmla="*/ 132 h 150"/>
                <a:gd name="T92" fmla="*/ 100 w 113"/>
                <a:gd name="T93" fmla="*/ 73 h 150"/>
                <a:gd name="T94" fmla="*/ 96 w 113"/>
                <a:gd name="T95" fmla="*/ 88 h 150"/>
                <a:gd name="T96" fmla="*/ 85 w 113"/>
                <a:gd name="T97" fmla="*/ 86 h 150"/>
                <a:gd name="T98" fmla="*/ 73 w 113"/>
                <a:gd name="T99" fmla="*/ 100 h 150"/>
                <a:gd name="T100" fmla="*/ 81 w 113"/>
                <a:gd name="T101" fmla="*/ 111 h 150"/>
                <a:gd name="T102" fmla="*/ 85 w 113"/>
                <a:gd name="T103" fmla="*/ 119 h 150"/>
                <a:gd name="T104" fmla="*/ 85 w 113"/>
                <a:gd name="T105" fmla="*/ 119 h 150"/>
                <a:gd name="T106" fmla="*/ 96 w 113"/>
                <a:gd name="T107" fmla="*/ 119 h 150"/>
                <a:gd name="T108" fmla="*/ 100 w 113"/>
                <a:gd name="T109" fmla="*/ 121 h 150"/>
                <a:gd name="T110" fmla="*/ 111 w 113"/>
                <a:gd name="T111" fmla="*/ 115 h 150"/>
                <a:gd name="T112" fmla="*/ 100 w 113"/>
                <a:gd name="T113" fmla="*/ 73 h 1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13"/>
                <a:gd name="T172" fmla="*/ 0 h 150"/>
                <a:gd name="T173" fmla="*/ 113 w 113"/>
                <a:gd name="T174" fmla="*/ 150 h 1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13" h="150">
                  <a:moveTo>
                    <a:pt x="19" y="123"/>
                  </a:moveTo>
                  <a:lnTo>
                    <a:pt x="42" y="123"/>
                  </a:lnTo>
                  <a:lnTo>
                    <a:pt x="44" y="117"/>
                  </a:lnTo>
                  <a:lnTo>
                    <a:pt x="50" y="109"/>
                  </a:lnTo>
                  <a:lnTo>
                    <a:pt x="50" y="115"/>
                  </a:lnTo>
                  <a:lnTo>
                    <a:pt x="52" y="117"/>
                  </a:lnTo>
                  <a:lnTo>
                    <a:pt x="54" y="121"/>
                  </a:lnTo>
                  <a:lnTo>
                    <a:pt x="58" y="123"/>
                  </a:lnTo>
                  <a:lnTo>
                    <a:pt x="65" y="123"/>
                  </a:lnTo>
                  <a:lnTo>
                    <a:pt x="67" y="128"/>
                  </a:lnTo>
                  <a:lnTo>
                    <a:pt x="69" y="136"/>
                  </a:lnTo>
                  <a:lnTo>
                    <a:pt x="73" y="142"/>
                  </a:lnTo>
                  <a:lnTo>
                    <a:pt x="69" y="128"/>
                  </a:lnTo>
                  <a:lnTo>
                    <a:pt x="67" y="115"/>
                  </a:lnTo>
                  <a:lnTo>
                    <a:pt x="65" y="103"/>
                  </a:lnTo>
                  <a:lnTo>
                    <a:pt x="60" y="105"/>
                  </a:lnTo>
                  <a:lnTo>
                    <a:pt x="58" y="105"/>
                  </a:lnTo>
                  <a:lnTo>
                    <a:pt x="54" y="103"/>
                  </a:lnTo>
                  <a:lnTo>
                    <a:pt x="62" y="69"/>
                  </a:lnTo>
                  <a:lnTo>
                    <a:pt x="63" y="71"/>
                  </a:lnTo>
                  <a:lnTo>
                    <a:pt x="67" y="73"/>
                  </a:lnTo>
                  <a:lnTo>
                    <a:pt x="73" y="73"/>
                  </a:lnTo>
                  <a:lnTo>
                    <a:pt x="73" y="61"/>
                  </a:lnTo>
                  <a:lnTo>
                    <a:pt x="62" y="61"/>
                  </a:lnTo>
                  <a:lnTo>
                    <a:pt x="60" y="53"/>
                  </a:lnTo>
                  <a:lnTo>
                    <a:pt x="62" y="44"/>
                  </a:lnTo>
                  <a:lnTo>
                    <a:pt x="62" y="34"/>
                  </a:lnTo>
                  <a:lnTo>
                    <a:pt x="54" y="34"/>
                  </a:lnTo>
                  <a:lnTo>
                    <a:pt x="46" y="30"/>
                  </a:lnTo>
                  <a:lnTo>
                    <a:pt x="54" y="30"/>
                  </a:lnTo>
                  <a:lnTo>
                    <a:pt x="60" y="28"/>
                  </a:lnTo>
                  <a:lnTo>
                    <a:pt x="65" y="23"/>
                  </a:lnTo>
                  <a:lnTo>
                    <a:pt x="67" y="15"/>
                  </a:lnTo>
                  <a:lnTo>
                    <a:pt x="67" y="5"/>
                  </a:lnTo>
                  <a:lnTo>
                    <a:pt x="65" y="0"/>
                  </a:lnTo>
                  <a:lnTo>
                    <a:pt x="60" y="3"/>
                  </a:lnTo>
                  <a:lnTo>
                    <a:pt x="52" y="7"/>
                  </a:lnTo>
                  <a:lnTo>
                    <a:pt x="46" y="11"/>
                  </a:lnTo>
                  <a:lnTo>
                    <a:pt x="42" y="17"/>
                  </a:lnTo>
                  <a:lnTo>
                    <a:pt x="40" y="23"/>
                  </a:lnTo>
                  <a:lnTo>
                    <a:pt x="38" y="27"/>
                  </a:lnTo>
                  <a:lnTo>
                    <a:pt x="33" y="28"/>
                  </a:lnTo>
                  <a:lnTo>
                    <a:pt x="25" y="27"/>
                  </a:lnTo>
                  <a:lnTo>
                    <a:pt x="19" y="27"/>
                  </a:lnTo>
                  <a:lnTo>
                    <a:pt x="14" y="30"/>
                  </a:lnTo>
                  <a:lnTo>
                    <a:pt x="8" y="36"/>
                  </a:lnTo>
                  <a:lnTo>
                    <a:pt x="4" y="42"/>
                  </a:lnTo>
                  <a:lnTo>
                    <a:pt x="8" y="50"/>
                  </a:lnTo>
                  <a:lnTo>
                    <a:pt x="12" y="50"/>
                  </a:lnTo>
                  <a:lnTo>
                    <a:pt x="15" y="38"/>
                  </a:lnTo>
                  <a:lnTo>
                    <a:pt x="23" y="38"/>
                  </a:lnTo>
                  <a:lnTo>
                    <a:pt x="19" y="42"/>
                  </a:lnTo>
                  <a:lnTo>
                    <a:pt x="19" y="50"/>
                  </a:lnTo>
                  <a:lnTo>
                    <a:pt x="23" y="50"/>
                  </a:lnTo>
                  <a:lnTo>
                    <a:pt x="25" y="46"/>
                  </a:lnTo>
                  <a:lnTo>
                    <a:pt x="25" y="38"/>
                  </a:lnTo>
                  <a:lnTo>
                    <a:pt x="23" y="34"/>
                  </a:lnTo>
                  <a:lnTo>
                    <a:pt x="27" y="34"/>
                  </a:lnTo>
                  <a:lnTo>
                    <a:pt x="33" y="36"/>
                  </a:lnTo>
                  <a:lnTo>
                    <a:pt x="38" y="34"/>
                  </a:lnTo>
                  <a:lnTo>
                    <a:pt x="37" y="38"/>
                  </a:lnTo>
                  <a:lnTo>
                    <a:pt x="38" y="46"/>
                  </a:lnTo>
                  <a:lnTo>
                    <a:pt x="38" y="50"/>
                  </a:lnTo>
                  <a:lnTo>
                    <a:pt x="35" y="50"/>
                  </a:lnTo>
                  <a:lnTo>
                    <a:pt x="35" y="48"/>
                  </a:lnTo>
                  <a:lnTo>
                    <a:pt x="31" y="46"/>
                  </a:lnTo>
                  <a:lnTo>
                    <a:pt x="27" y="50"/>
                  </a:lnTo>
                  <a:lnTo>
                    <a:pt x="25" y="57"/>
                  </a:lnTo>
                  <a:lnTo>
                    <a:pt x="23" y="61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0" y="73"/>
                  </a:lnTo>
                  <a:lnTo>
                    <a:pt x="0" y="77"/>
                  </a:lnTo>
                  <a:lnTo>
                    <a:pt x="8" y="78"/>
                  </a:lnTo>
                  <a:lnTo>
                    <a:pt x="12" y="82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103"/>
                  </a:lnTo>
                  <a:lnTo>
                    <a:pt x="8" y="111"/>
                  </a:lnTo>
                  <a:lnTo>
                    <a:pt x="19" y="115"/>
                  </a:lnTo>
                  <a:lnTo>
                    <a:pt x="19" y="119"/>
                  </a:lnTo>
                  <a:lnTo>
                    <a:pt x="21" y="121"/>
                  </a:lnTo>
                  <a:lnTo>
                    <a:pt x="19" y="123"/>
                  </a:lnTo>
                  <a:close/>
                  <a:moveTo>
                    <a:pt x="100" y="130"/>
                  </a:moveTo>
                  <a:lnTo>
                    <a:pt x="94" y="132"/>
                  </a:lnTo>
                  <a:lnTo>
                    <a:pt x="88" y="132"/>
                  </a:lnTo>
                  <a:lnTo>
                    <a:pt x="81" y="134"/>
                  </a:lnTo>
                  <a:lnTo>
                    <a:pt x="83" y="142"/>
                  </a:lnTo>
                  <a:lnTo>
                    <a:pt x="83" y="148"/>
                  </a:lnTo>
                  <a:lnTo>
                    <a:pt x="92" y="150"/>
                  </a:lnTo>
                  <a:lnTo>
                    <a:pt x="104" y="144"/>
                  </a:lnTo>
                  <a:lnTo>
                    <a:pt x="113" y="132"/>
                  </a:lnTo>
                  <a:lnTo>
                    <a:pt x="100" y="130"/>
                  </a:lnTo>
                  <a:close/>
                  <a:moveTo>
                    <a:pt x="100" y="73"/>
                  </a:moveTo>
                  <a:lnTo>
                    <a:pt x="92" y="86"/>
                  </a:lnTo>
                  <a:lnTo>
                    <a:pt x="96" y="88"/>
                  </a:lnTo>
                  <a:lnTo>
                    <a:pt x="96" y="94"/>
                  </a:lnTo>
                  <a:lnTo>
                    <a:pt x="85" y="86"/>
                  </a:lnTo>
                  <a:lnTo>
                    <a:pt x="81" y="88"/>
                  </a:lnTo>
                  <a:lnTo>
                    <a:pt x="73" y="100"/>
                  </a:lnTo>
                  <a:lnTo>
                    <a:pt x="75" y="105"/>
                  </a:lnTo>
                  <a:lnTo>
                    <a:pt x="81" y="111"/>
                  </a:lnTo>
                  <a:lnTo>
                    <a:pt x="83" y="117"/>
                  </a:lnTo>
                  <a:lnTo>
                    <a:pt x="85" y="119"/>
                  </a:lnTo>
                  <a:lnTo>
                    <a:pt x="85" y="121"/>
                  </a:lnTo>
                  <a:lnTo>
                    <a:pt x="85" y="119"/>
                  </a:lnTo>
                  <a:lnTo>
                    <a:pt x="86" y="117"/>
                  </a:lnTo>
                  <a:lnTo>
                    <a:pt x="96" y="119"/>
                  </a:lnTo>
                  <a:lnTo>
                    <a:pt x="92" y="123"/>
                  </a:lnTo>
                  <a:lnTo>
                    <a:pt x="100" y="121"/>
                  </a:lnTo>
                  <a:lnTo>
                    <a:pt x="100" y="119"/>
                  </a:lnTo>
                  <a:lnTo>
                    <a:pt x="111" y="115"/>
                  </a:lnTo>
                  <a:lnTo>
                    <a:pt x="111" y="73"/>
                  </a:lnTo>
                  <a:lnTo>
                    <a:pt x="100" y="73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1" name="Freeform 226"/>
            <p:cNvSpPr>
              <a:spLocks/>
            </p:cNvSpPr>
            <p:nvPr/>
          </p:nvSpPr>
          <p:spPr bwMode="gray">
            <a:xfrm>
              <a:off x="3182" y="1936"/>
              <a:ext cx="75" cy="46"/>
            </a:xfrm>
            <a:custGeom>
              <a:avLst/>
              <a:gdLst>
                <a:gd name="T0" fmla="*/ 119 w 149"/>
                <a:gd name="T1" fmla="*/ 86 h 92"/>
                <a:gd name="T2" fmla="*/ 119 w 149"/>
                <a:gd name="T3" fmla="*/ 82 h 92"/>
                <a:gd name="T4" fmla="*/ 123 w 149"/>
                <a:gd name="T5" fmla="*/ 77 h 92"/>
                <a:gd name="T6" fmla="*/ 128 w 149"/>
                <a:gd name="T7" fmla="*/ 73 h 92"/>
                <a:gd name="T8" fmla="*/ 132 w 149"/>
                <a:gd name="T9" fmla="*/ 71 h 92"/>
                <a:gd name="T10" fmla="*/ 134 w 149"/>
                <a:gd name="T11" fmla="*/ 65 h 92"/>
                <a:gd name="T12" fmla="*/ 136 w 149"/>
                <a:gd name="T13" fmla="*/ 61 h 92"/>
                <a:gd name="T14" fmla="*/ 148 w 149"/>
                <a:gd name="T15" fmla="*/ 57 h 92"/>
                <a:gd name="T16" fmla="*/ 149 w 149"/>
                <a:gd name="T17" fmla="*/ 55 h 92"/>
                <a:gd name="T18" fmla="*/ 144 w 149"/>
                <a:gd name="T19" fmla="*/ 44 h 92"/>
                <a:gd name="T20" fmla="*/ 136 w 149"/>
                <a:gd name="T21" fmla="*/ 40 h 92"/>
                <a:gd name="T22" fmla="*/ 132 w 149"/>
                <a:gd name="T23" fmla="*/ 32 h 92"/>
                <a:gd name="T24" fmla="*/ 126 w 149"/>
                <a:gd name="T25" fmla="*/ 30 h 92"/>
                <a:gd name="T26" fmla="*/ 121 w 149"/>
                <a:gd name="T27" fmla="*/ 32 h 92"/>
                <a:gd name="T28" fmla="*/ 117 w 149"/>
                <a:gd name="T29" fmla="*/ 32 h 92"/>
                <a:gd name="T30" fmla="*/ 109 w 149"/>
                <a:gd name="T31" fmla="*/ 29 h 92"/>
                <a:gd name="T32" fmla="*/ 98 w 149"/>
                <a:gd name="T33" fmla="*/ 17 h 92"/>
                <a:gd name="T34" fmla="*/ 88 w 149"/>
                <a:gd name="T35" fmla="*/ 17 h 92"/>
                <a:gd name="T36" fmla="*/ 86 w 149"/>
                <a:gd name="T37" fmla="*/ 13 h 92"/>
                <a:gd name="T38" fmla="*/ 80 w 149"/>
                <a:gd name="T39" fmla="*/ 11 h 92"/>
                <a:gd name="T40" fmla="*/ 75 w 149"/>
                <a:gd name="T41" fmla="*/ 11 h 92"/>
                <a:gd name="T42" fmla="*/ 71 w 149"/>
                <a:gd name="T43" fmla="*/ 9 h 92"/>
                <a:gd name="T44" fmla="*/ 69 w 149"/>
                <a:gd name="T45" fmla="*/ 9 h 92"/>
                <a:gd name="T46" fmla="*/ 59 w 149"/>
                <a:gd name="T47" fmla="*/ 4 h 92"/>
                <a:gd name="T48" fmla="*/ 50 w 149"/>
                <a:gd name="T49" fmla="*/ 0 h 92"/>
                <a:gd name="T50" fmla="*/ 48 w 149"/>
                <a:gd name="T51" fmla="*/ 2 h 92"/>
                <a:gd name="T52" fmla="*/ 42 w 149"/>
                <a:gd name="T53" fmla="*/ 4 h 92"/>
                <a:gd name="T54" fmla="*/ 32 w 149"/>
                <a:gd name="T55" fmla="*/ 9 h 92"/>
                <a:gd name="T56" fmla="*/ 21 w 149"/>
                <a:gd name="T57" fmla="*/ 17 h 92"/>
                <a:gd name="T58" fmla="*/ 15 w 149"/>
                <a:gd name="T59" fmla="*/ 25 h 92"/>
                <a:gd name="T60" fmla="*/ 9 w 149"/>
                <a:gd name="T61" fmla="*/ 25 h 92"/>
                <a:gd name="T62" fmla="*/ 4 w 149"/>
                <a:gd name="T63" fmla="*/ 27 h 92"/>
                <a:gd name="T64" fmla="*/ 0 w 149"/>
                <a:gd name="T65" fmla="*/ 27 h 92"/>
                <a:gd name="T66" fmla="*/ 0 w 149"/>
                <a:gd name="T67" fmla="*/ 30 h 92"/>
                <a:gd name="T68" fmla="*/ 2 w 149"/>
                <a:gd name="T69" fmla="*/ 36 h 92"/>
                <a:gd name="T70" fmla="*/ 6 w 149"/>
                <a:gd name="T71" fmla="*/ 42 h 92"/>
                <a:gd name="T72" fmla="*/ 7 w 149"/>
                <a:gd name="T73" fmla="*/ 46 h 92"/>
                <a:gd name="T74" fmla="*/ 11 w 149"/>
                <a:gd name="T75" fmla="*/ 50 h 92"/>
                <a:gd name="T76" fmla="*/ 15 w 149"/>
                <a:gd name="T77" fmla="*/ 55 h 92"/>
                <a:gd name="T78" fmla="*/ 17 w 149"/>
                <a:gd name="T79" fmla="*/ 59 h 92"/>
                <a:gd name="T80" fmla="*/ 17 w 149"/>
                <a:gd name="T81" fmla="*/ 67 h 92"/>
                <a:gd name="T82" fmla="*/ 19 w 149"/>
                <a:gd name="T83" fmla="*/ 71 h 92"/>
                <a:gd name="T84" fmla="*/ 25 w 149"/>
                <a:gd name="T85" fmla="*/ 73 h 92"/>
                <a:gd name="T86" fmla="*/ 30 w 149"/>
                <a:gd name="T87" fmla="*/ 77 h 92"/>
                <a:gd name="T88" fmla="*/ 42 w 149"/>
                <a:gd name="T89" fmla="*/ 88 h 92"/>
                <a:gd name="T90" fmla="*/ 52 w 149"/>
                <a:gd name="T91" fmla="*/ 92 h 92"/>
                <a:gd name="T92" fmla="*/ 57 w 149"/>
                <a:gd name="T93" fmla="*/ 90 h 92"/>
                <a:gd name="T94" fmla="*/ 63 w 149"/>
                <a:gd name="T95" fmla="*/ 82 h 92"/>
                <a:gd name="T96" fmla="*/ 65 w 149"/>
                <a:gd name="T97" fmla="*/ 78 h 92"/>
                <a:gd name="T98" fmla="*/ 67 w 149"/>
                <a:gd name="T99" fmla="*/ 77 h 92"/>
                <a:gd name="T100" fmla="*/ 77 w 149"/>
                <a:gd name="T101" fmla="*/ 77 h 92"/>
                <a:gd name="T102" fmla="*/ 82 w 149"/>
                <a:gd name="T103" fmla="*/ 78 h 92"/>
                <a:gd name="T104" fmla="*/ 88 w 149"/>
                <a:gd name="T105" fmla="*/ 84 h 92"/>
                <a:gd name="T106" fmla="*/ 94 w 149"/>
                <a:gd name="T107" fmla="*/ 86 h 92"/>
                <a:gd name="T108" fmla="*/ 119 w 149"/>
                <a:gd name="T109" fmla="*/ 86 h 9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49"/>
                <a:gd name="T166" fmla="*/ 0 h 92"/>
                <a:gd name="T167" fmla="*/ 149 w 149"/>
                <a:gd name="T168" fmla="*/ 92 h 9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49" h="92">
                  <a:moveTo>
                    <a:pt x="119" y="86"/>
                  </a:moveTo>
                  <a:lnTo>
                    <a:pt x="119" y="82"/>
                  </a:lnTo>
                  <a:lnTo>
                    <a:pt x="123" y="77"/>
                  </a:lnTo>
                  <a:lnTo>
                    <a:pt x="128" y="73"/>
                  </a:lnTo>
                  <a:lnTo>
                    <a:pt x="132" y="71"/>
                  </a:lnTo>
                  <a:lnTo>
                    <a:pt x="134" y="65"/>
                  </a:lnTo>
                  <a:lnTo>
                    <a:pt x="136" y="61"/>
                  </a:lnTo>
                  <a:lnTo>
                    <a:pt x="148" y="57"/>
                  </a:lnTo>
                  <a:lnTo>
                    <a:pt x="149" y="55"/>
                  </a:lnTo>
                  <a:lnTo>
                    <a:pt x="144" y="44"/>
                  </a:lnTo>
                  <a:lnTo>
                    <a:pt x="136" y="40"/>
                  </a:lnTo>
                  <a:lnTo>
                    <a:pt x="132" y="32"/>
                  </a:lnTo>
                  <a:lnTo>
                    <a:pt x="126" y="30"/>
                  </a:lnTo>
                  <a:lnTo>
                    <a:pt x="121" y="32"/>
                  </a:lnTo>
                  <a:lnTo>
                    <a:pt x="117" y="32"/>
                  </a:lnTo>
                  <a:lnTo>
                    <a:pt x="109" y="29"/>
                  </a:lnTo>
                  <a:lnTo>
                    <a:pt x="98" y="17"/>
                  </a:lnTo>
                  <a:lnTo>
                    <a:pt x="88" y="17"/>
                  </a:lnTo>
                  <a:lnTo>
                    <a:pt x="86" y="13"/>
                  </a:lnTo>
                  <a:lnTo>
                    <a:pt x="80" y="11"/>
                  </a:lnTo>
                  <a:lnTo>
                    <a:pt x="75" y="11"/>
                  </a:lnTo>
                  <a:lnTo>
                    <a:pt x="71" y="9"/>
                  </a:lnTo>
                  <a:lnTo>
                    <a:pt x="69" y="9"/>
                  </a:lnTo>
                  <a:lnTo>
                    <a:pt x="59" y="4"/>
                  </a:lnTo>
                  <a:lnTo>
                    <a:pt x="50" y="0"/>
                  </a:lnTo>
                  <a:lnTo>
                    <a:pt x="48" y="2"/>
                  </a:lnTo>
                  <a:lnTo>
                    <a:pt x="42" y="4"/>
                  </a:lnTo>
                  <a:lnTo>
                    <a:pt x="32" y="9"/>
                  </a:lnTo>
                  <a:lnTo>
                    <a:pt x="21" y="17"/>
                  </a:lnTo>
                  <a:lnTo>
                    <a:pt x="15" y="25"/>
                  </a:lnTo>
                  <a:lnTo>
                    <a:pt x="9" y="25"/>
                  </a:lnTo>
                  <a:lnTo>
                    <a:pt x="4" y="27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2" y="36"/>
                  </a:lnTo>
                  <a:lnTo>
                    <a:pt x="6" y="42"/>
                  </a:lnTo>
                  <a:lnTo>
                    <a:pt x="7" y="46"/>
                  </a:lnTo>
                  <a:lnTo>
                    <a:pt x="11" y="50"/>
                  </a:lnTo>
                  <a:lnTo>
                    <a:pt x="15" y="55"/>
                  </a:lnTo>
                  <a:lnTo>
                    <a:pt x="17" y="59"/>
                  </a:lnTo>
                  <a:lnTo>
                    <a:pt x="17" y="67"/>
                  </a:lnTo>
                  <a:lnTo>
                    <a:pt x="19" y="71"/>
                  </a:lnTo>
                  <a:lnTo>
                    <a:pt x="25" y="73"/>
                  </a:lnTo>
                  <a:lnTo>
                    <a:pt x="30" y="77"/>
                  </a:lnTo>
                  <a:lnTo>
                    <a:pt x="42" y="88"/>
                  </a:lnTo>
                  <a:lnTo>
                    <a:pt x="52" y="92"/>
                  </a:lnTo>
                  <a:lnTo>
                    <a:pt x="57" y="90"/>
                  </a:lnTo>
                  <a:lnTo>
                    <a:pt x="63" y="82"/>
                  </a:lnTo>
                  <a:lnTo>
                    <a:pt x="65" y="78"/>
                  </a:lnTo>
                  <a:lnTo>
                    <a:pt x="67" y="77"/>
                  </a:lnTo>
                  <a:lnTo>
                    <a:pt x="77" y="77"/>
                  </a:lnTo>
                  <a:lnTo>
                    <a:pt x="82" y="78"/>
                  </a:lnTo>
                  <a:lnTo>
                    <a:pt x="88" y="84"/>
                  </a:lnTo>
                  <a:lnTo>
                    <a:pt x="94" y="86"/>
                  </a:lnTo>
                  <a:lnTo>
                    <a:pt x="119" y="8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2" name="Freeform 227"/>
            <p:cNvSpPr>
              <a:spLocks noEditPoints="1"/>
            </p:cNvSpPr>
            <p:nvPr/>
          </p:nvSpPr>
          <p:spPr bwMode="gray">
            <a:xfrm>
              <a:off x="3432" y="2215"/>
              <a:ext cx="29" cy="18"/>
            </a:xfrm>
            <a:custGeom>
              <a:avLst/>
              <a:gdLst>
                <a:gd name="T0" fmla="*/ 36 w 57"/>
                <a:gd name="T1" fmla="*/ 27 h 34"/>
                <a:gd name="T2" fmla="*/ 34 w 57"/>
                <a:gd name="T3" fmla="*/ 31 h 34"/>
                <a:gd name="T4" fmla="*/ 30 w 57"/>
                <a:gd name="T5" fmla="*/ 33 h 34"/>
                <a:gd name="T6" fmla="*/ 30 w 57"/>
                <a:gd name="T7" fmla="*/ 34 h 34"/>
                <a:gd name="T8" fmla="*/ 7 w 57"/>
                <a:gd name="T9" fmla="*/ 34 h 34"/>
                <a:gd name="T10" fmla="*/ 7 w 57"/>
                <a:gd name="T11" fmla="*/ 33 h 34"/>
                <a:gd name="T12" fmla="*/ 2 w 57"/>
                <a:gd name="T13" fmla="*/ 29 h 34"/>
                <a:gd name="T14" fmla="*/ 0 w 57"/>
                <a:gd name="T15" fmla="*/ 27 h 34"/>
                <a:gd name="T16" fmla="*/ 2 w 57"/>
                <a:gd name="T17" fmla="*/ 23 h 34"/>
                <a:gd name="T18" fmla="*/ 7 w 57"/>
                <a:gd name="T19" fmla="*/ 25 h 34"/>
                <a:gd name="T20" fmla="*/ 9 w 57"/>
                <a:gd name="T21" fmla="*/ 27 h 34"/>
                <a:gd name="T22" fmla="*/ 15 w 57"/>
                <a:gd name="T23" fmla="*/ 27 h 34"/>
                <a:gd name="T24" fmla="*/ 19 w 57"/>
                <a:gd name="T25" fmla="*/ 23 h 34"/>
                <a:gd name="T26" fmla="*/ 21 w 57"/>
                <a:gd name="T27" fmla="*/ 23 h 34"/>
                <a:gd name="T28" fmla="*/ 23 w 57"/>
                <a:gd name="T29" fmla="*/ 21 h 34"/>
                <a:gd name="T30" fmla="*/ 25 w 57"/>
                <a:gd name="T31" fmla="*/ 21 h 34"/>
                <a:gd name="T32" fmla="*/ 29 w 57"/>
                <a:gd name="T33" fmla="*/ 23 h 34"/>
                <a:gd name="T34" fmla="*/ 30 w 57"/>
                <a:gd name="T35" fmla="*/ 23 h 34"/>
                <a:gd name="T36" fmla="*/ 34 w 57"/>
                <a:gd name="T37" fmla="*/ 25 h 34"/>
                <a:gd name="T38" fmla="*/ 36 w 57"/>
                <a:gd name="T39" fmla="*/ 27 h 34"/>
                <a:gd name="T40" fmla="*/ 36 w 57"/>
                <a:gd name="T41" fmla="*/ 27 h 34"/>
                <a:gd name="T42" fmla="*/ 46 w 57"/>
                <a:gd name="T43" fmla="*/ 15 h 34"/>
                <a:gd name="T44" fmla="*/ 54 w 57"/>
                <a:gd name="T45" fmla="*/ 4 h 34"/>
                <a:gd name="T46" fmla="*/ 57 w 57"/>
                <a:gd name="T47" fmla="*/ 0 h 34"/>
                <a:gd name="T48" fmla="*/ 52 w 57"/>
                <a:gd name="T49" fmla="*/ 4 h 34"/>
                <a:gd name="T50" fmla="*/ 46 w 57"/>
                <a:gd name="T51" fmla="*/ 10 h 34"/>
                <a:gd name="T52" fmla="*/ 42 w 57"/>
                <a:gd name="T53" fmla="*/ 11 h 34"/>
                <a:gd name="T54" fmla="*/ 27 w 57"/>
                <a:gd name="T55" fmla="*/ 15 h 34"/>
                <a:gd name="T56" fmla="*/ 17 w 57"/>
                <a:gd name="T57" fmla="*/ 17 h 34"/>
                <a:gd name="T58" fmla="*/ 4 w 57"/>
                <a:gd name="T59" fmla="*/ 19 h 34"/>
                <a:gd name="T60" fmla="*/ 4 w 57"/>
                <a:gd name="T61" fmla="*/ 23 h 34"/>
                <a:gd name="T62" fmla="*/ 2 w 57"/>
                <a:gd name="T63" fmla="*/ 23 h 34"/>
                <a:gd name="T64" fmla="*/ 7 w 57"/>
                <a:gd name="T65" fmla="*/ 25 h 34"/>
                <a:gd name="T66" fmla="*/ 9 w 57"/>
                <a:gd name="T67" fmla="*/ 27 h 34"/>
                <a:gd name="T68" fmla="*/ 15 w 57"/>
                <a:gd name="T69" fmla="*/ 27 h 34"/>
                <a:gd name="T70" fmla="*/ 19 w 57"/>
                <a:gd name="T71" fmla="*/ 23 h 34"/>
                <a:gd name="T72" fmla="*/ 21 w 57"/>
                <a:gd name="T73" fmla="*/ 23 h 34"/>
                <a:gd name="T74" fmla="*/ 23 w 57"/>
                <a:gd name="T75" fmla="*/ 21 h 34"/>
                <a:gd name="T76" fmla="*/ 25 w 57"/>
                <a:gd name="T77" fmla="*/ 21 h 34"/>
                <a:gd name="T78" fmla="*/ 29 w 57"/>
                <a:gd name="T79" fmla="*/ 23 h 34"/>
                <a:gd name="T80" fmla="*/ 30 w 57"/>
                <a:gd name="T81" fmla="*/ 23 h 34"/>
                <a:gd name="T82" fmla="*/ 34 w 57"/>
                <a:gd name="T83" fmla="*/ 25 h 34"/>
                <a:gd name="T84" fmla="*/ 36 w 57"/>
                <a:gd name="T85" fmla="*/ 27 h 3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7"/>
                <a:gd name="T130" fmla="*/ 0 h 34"/>
                <a:gd name="T131" fmla="*/ 57 w 57"/>
                <a:gd name="T132" fmla="*/ 34 h 3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7" h="34">
                  <a:moveTo>
                    <a:pt x="36" y="27"/>
                  </a:moveTo>
                  <a:lnTo>
                    <a:pt x="34" y="31"/>
                  </a:lnTo>
                  <a:lnTo>
                    <a:pt x="30" y="33"/>
                  </a:lnTo>
                  <a:lnTo>
                    <a:pt x="30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2" y="29"/>
                  </a:lnTo>
                  <a:lnTo>
                    <a:pt x="0" y="27"/>
                  </a:lnTo>
                  <a:lnTo>
                    <a:pt x="2" y="23"/>
                  </a:lnTo>
                  <a:lnTo>
                    <a:pt x="7" y="25"/>
                  </a:lnTo>
                  <a:lnTo>
                    <a:pt x="9" y="27"/>
                  </a:lnTo>
                  <a:lnTo>
                    <a:pt x="15" y="27"/>
                  </a:lnTo>
                  <a:lnTo>
                    <a:pt x="19" y="23"/>
                  </a:lnTo>
                  <a:lnTo>
                    <a:pt x="21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9" y="23"/>
                  </a:lnTo>
                  <a:lnTo>
                    <a:pt x="30" y="23"/>
                  </a:lnTo>
                  <a:lnTo>
                    <a:pt x="34" y="25"/>
                  </a:lnTo>
                  <a:lnTo>
                    <a:pt x="36" y="27"/>
                  </a:lnTo>
                  <a:close/>
                  <a:moveTo>
                    <a:pt x="36" y="27"/>
                  </a:moveTo>
                  <a:lnTo>
                    <a:pt x="46" y="15"/>
                  </a:lnTo>
                  <a:lnTo>
                    <a:pt x="54" y="4"/>
                  </a:lnTo>
                  <a:lnTo>
                    <a:pt x="57" y="0"/>
                  </a:lnTo>
                  <a:lnTo>
                    <a:pt x="52" y="4"/>
                  </a:lnTo>
                  <a:lnTo>
                    <a:pt x="46" y="10"/>
                  </a:lnTo>
                  <a:lnTo>
                    <a:pt x="42" y="11"/>
                  </a:lnTo>
                  <a:lnTo>
                    <a:pt x="27" y="15"/>
                  </a:lnTo>
                  <a:lnTo>
                    <a:pt x="17" y="17"/>
                  </a:lnTo>
                  <a:lnTo>
                    <a:pt x="4" y="19"/>
                  </a:lnTo>
                  <a:lnTo>
                    <a:pt x="4" y="23"/>
                  </a:lnTo>
                  <a:lnTo>
                    <a:pt x="2" y="23"/>
                  </a:lnTo>
                  <a:lnTo>
                    <a:pt x="7" y="25"/>
                  </a:lnTo>
                  <a:lnTo>
                    <a:pt x="9" y="27"/>
                  </a:lnTo>
                  <a:lnTo>
                    <a:pt x="15" y="27"/>
                  </a:lnTo>
                  <a:lnTo>
                    <a:pt x="19" y="23"/>
                  </a:lnTo>
                  <a:lnTo>
                    <a:pt x="21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9" y="23"/>
                  </a:lnTo>
                  <a:lnTo>
                    <a:pt x="30" y="23"/>
                  </a:lnTo>
                  <a:lnTo>
                    <a:pt x="34" y="25"/>
                  </a:lnTo>
                  <a:lnTo>
                    <a:pt x="36" y="27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3" name="Freeform 228"/>
            <p:cNvSpPr>
              <a:spLocks/>
            </p:cNvSpPr>
            <p:nvPr/>
          </p:nvSpPr>
          <p:spPr bwMode="gray">
            <a:xfrm>
              <a:off x="1977" y="2417"/>
              <a:ext cx="125" cy="56"/>
            </a:xfrm>
            <a:custGeom>
              <a:avLst/>
              <a:gdLst>
                <a:gd name="T0" fmla="*/ 38 w 250"/>
                <a:gd name="T1" fmla="*/ 0 h 112"/>
                <a:gd name="T2" fmla="*/ 19 w 250"/>
                <a:gd name="T3" fmla="*/ 10 h 112"/>
                <a:gd name="T4" fmla="*/ 8 w 250"/>
                <a:gd name="T5" fmla="*/ 27 h 112"/>
                <a:gd name="T6" fmla="*/ 0 w 250"/>
                <a:gd name="T7" fmla="*/ 43 h 112"/>
                <a:gd name="T8" fmla="*/ 6 w 250"/>
                <a:gd name="T9" fmla="*/ 41 h 112"/>
                <a:gd name="T10" fmla="*/ 12 w 250"/>
                <a:gd name="T11" fmla="*/ 41 h 112"/>
                <a:gd name="T12" fmla="*/ 19 w 250"/>
                <a:gd name="T13" fmla="*/ 39 h 112"/>
                <a:gd name="T14" fmla="*/ 19 w 250"/>
                <a:gd name="T15" fmla="*/ 31 h 112"/>
                <a:gd name="T16" fmla="*/ 29 w 250"/>
                <a:gd name="T17" fmla="*/ 25 h 112"/>
                <a:gd name="T18" fmla="*/ 42 w 250"/>
                <a:gd name="T19" fmla="*/ 12 h 112"/>
                <a:gd name="T20" fmla="*/ 50 w 250"/>
                <a:gd name="T21" fmla="*/ 14 h 112"/>
                <a:gd name="T22" fmla="*/ 58 w 250"/>
                <a:gd name="T23" fmla="*/ 14 h 112"/>
                <a:gd name="T24" fmla="*/ 65 w 250"/>
                <a:gd name="T25" fmla="*/ 16 h 112"/>
                <a:gd name="T26" fmla="*/ 67 w 250"/>
                <a:gd name="T27" fmla="*/ 20 h 112"/>
                <a:gd name="T28" fmla="*/ 71 w 250"/>
                <a:gd name="T29" fmla="*/ 24 h 112"/>
                <a:gd name="T30" fmla="*/ 73 w 250"/>
                <a:gd name="T31" fmla="*/ 27 h 112"/>
                <a:gd name="T32" fmla="*/ 88 w 250"/>
                <a:gd name="T33" fmla="*/ 27 h 112"/>
                <a:gd name="T34" fmla="*/ 92 w 250"/>
                <a:gd name="T35" fmla="*/ 35 h 112"/>
                <a:gd name="T36" fmla="*/ 104 w 250"/>
                <a:gd name="T37" fmla="*/ 35 h 112"/>
                <a:gd name="T38" fmla="*/ 108 w 250"/>
                <a:gd name="T39" fmla="*/ 41 h 112"/>
                <a:gd name="T40" fmla="*/ 113 w 250"/>
                <a:gd name="T41" fmla="*/ 49 h 112"/>
                <a:gd name="T42" fmla="*/ 119 w 250"/>
                <a:gd name="T43" fmla="*/ 54 h 112"/>
                <a:gd name="T44" fmla="*/ 127 w 250"/>
                <a:gd name="T45" fmla="*/ 54 h 112"/>
                <a:gd name="T46" fmla="*/ 138 w 250"/>
                <a:gd name="T47" fmla="*/ 52 h 112"/>
                <a:gd name="T48" fmla="*/ 146 w 250"/>
                <a:gd name="T49" fmla="*/ 54 h 112"/>
                <a:gd name="T50" fmla="*/ 146 w 250"/>
                <a:gd name="T51" fmla="*/ 66 h 112"/>
                <a:gd name="T52" fmla="*/ 154 w 250"/>
                <a:gd name="T53" fmla="*/ 75 h 112"/>
                <a:gd name="T54" fmla="*/ 167 w 250"/>
                <a:gd name="T55" fmla="*/ 83 h 112"/>
                <a:gd name="T56" fmla="*/ 180 w 250"/>
                <a:gd name="T57" fmla="*/ 89 h 112"/>
                <a:gd name="T58" fmla="*/ 169 w 250"/>
                <a:gd name="T59" fmla="*/ 112 h 112"/>
                <a:gd name="T60" fmla="*/ 250 w 250"/>
                <a:gd name="T61" fmla="*/ 100 h 112"/>
                <a:gd name="T62" fmla="*/ 246 w 250"/>
                <a:gd name="T63" fmla="*/ 85 h 112"/>
                <a:gd name="T64" fmla="*/ 236 w 250"/>
                <a:gd name="T65" fmla="*/ 85 h 112"/>
                <a:gd name="T66" fmla="*/ 227 w 250"/>
                <a:gd name="T67" fmla="*/ 87 h 112"/>
                <a:gd name="T68" fmla="*/ 219 w 250"/>
                <a:gd name="T69" fmla="*/ 85 h 112"/>
                <a:gd name="T70" fmla="*/ 215 w 250"/>
                <a:gd name="T71" fmla="*/ 66 h 112"/>
                <a:gd name="T72" fmla="*/ 192 w 250"/>
                <a:gd name="T73" fmla="*/ 66 h 112"/>
                <a:gd name="T74" fmla="*/ 190 w 250"/>
                <a:gd name="T75" fmla="*/ 62 h 112"/>
                <a:gd name="T76" fmla="*/ 190 w 250"/>
                <a:gd name="T77" fmla="*/ 58 h 112"/>
                <a:gd name="T78" fmla="*/ 188 w 250"/>
                <a:gd name="T79" fmla="*/ 54 h 112"/>
                <a:gd name="T80" fmla="*/ 175 w 250"/>
                <a:gd name="T81" fmla="*/ 45 h 112"/>
                <a:gd name="T82" fmla="*/ 157 w 250"/>
                <a:gd name="T83" fmla="*/ 37 h 112"/>
                <a:gd name="T84" fmla="*/ 142 w 250"/>
                <a:gd name="T85" fmla="*/ 31 h 112"/>
                <a:gd name="T86" fmla="*/ 131 w 250"/>
                <a:gd name="T87" fmla="*/ 31 h 112"/>
                <a:gd name="T88" fmla="*/ 127 w 250"/>
                <a:gd name="T89" fmla="*/ 25 h 112"/>
                <a:gd name="T90" fmla="*/ 123 w 250"/>
                <a:gd name="T91" fmla="*/ 18 h 112"/>
                <a:gd name="T92" fmla="*/ 119 w 250"/>
                <a:gd name="T93" fmla="*/ 12 h 112"/>
                <a:gd name="T94" fmla="*/ 94 w 250"/>
                <a:gd name="T95" fmla="*/ 6 h 112"/>
                <a:gd name="T96" fmla="*/ 58 w 250"/>
                <a:gd name="T97" fmla="*/ 2 h 112"/>
                <a:gd name="T98" fmla="*/ 38 w 250"/>
                <a:gd name="T99" fmla="*/ 0 h 11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50"/>
                <a:gd name="T151" fmla="*/ 0 h 112"/>
                <a:gd name="T152" fmla="*/ 250 w 250"/>
                <a:gd name="T153" fmla="*/ 112 h 11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50" h="112">
                  <a:moveTo>
                    <a:pt x="38" y="0"/>
                  </a:moveTo>
                  <a:lnTo>
                    <a:pt x="19" y="10"/>
                  </a:lnTo>
                  <a:lnTo>
                    <a:pt x="8" y="27"/>
                  </a:lnTo>
                  <a:lnTo>
                    <a:pt x="0" y="43"/>
                  </a:lnTo>
                  <a:lnTo>
                    <a:pt x="6" y="41"/>
                  </a:lnTo>
                  <a:lnTo>
                    <a:pt x="12" y="41"/>
                  </a:lnTo>
                  <a:lnTo>
                    <a:pt x="19" y="39"/>
                  </a:lnTo>
                  <a:lnTo>
                    <a:pt x="19" y="31"/>
                  </a:lnTo>
                  <a:lnTo>
                    <a:pt x="29" y="25"/>
                  </a:lnTo>
                  <a:lnTo>
                    <a:pt x="42" y="12"/>
                  </a:lnTo>
                  <a:lnTo>
                    <a:pt x="50" y="14"/>
                  </a:lnTo>
                  <a:lnTo>
                    <a:pt x="58" y="14"/>
                  </a:lnTo>
                  <a:lnTo>
                    <a:pt x="65" y="16"/>
                  </a:lnTo>
                  <a:lnTo>
                    <a:pt x="67" y="20"/>
                  </a:lnTo>
                  <a:lnTo>
                    <a:pt x="71" y="24"/>
                  </a:lnTo>
                  <a:lnTo>
                    <a:pt x="73" y="27"/>
                  </a:lnTo>
                  <a:lnTo>
                    <a:pt x="88" y="27"/>
                  </a:lnTo>
                  <a:lnTo>
                    <a:pt x="92" y="35"/>
                  </a:lnTo>
                  <a:lnTo>
                    <a:pt x="104" y="35"/>
                  </a:lnTo>
                  <a:lnTo>
                    <a:pt x="108" y="41"/>
                  </a:lnTo>
                  <a:lnTo>
                    <a:pt x="113" y="49"/>
                  </a:lnTo>
                  <a:lnTo>
                    <a:pt x="119" y="54"/>
                  </a:lnTo>
                  <a:lnTo>
                    <a:pt x="127" y="54"/>
                  </a:lnTo>
                  <a:lnTo>
                    <a:pt x="138" y="52"/>
                  </a:lnTo>
                  <a:lnTo>
                    <a:pt x="146" y="54"/>
                  </a:lnTo>
                  <a:lnTo>
                    <a:pt x="146" y="66"/>
                  </a:lnTo>
                  <a:lnTo>
                    <a:pt x="154" y="75"/>
                  </a:lnTo>
                  <a:lnTo>
                    <a:pt x="167" y="83"/>
                  </a:lnTo>
                  <a:lnTo>
                    <a:pt x="180" y="89"/>
                  </a:lnTo>
                  <a:lnTo>
                    <a:pt x="169" y="112"/>
                  </a:lnTo>
                  <a:lnTo>
                    <a:pt x="250" y="100"/>
                  </a:lnTo>
                  <a:lnTo>
                    <a:pt x="246" y="85"/>
                  </a:lnTo>
                  <a:lnTo>
                    <a:pt x="236" y="85"/>
                  </a:lnTo>
                  <a:lnTo>
                    <a:pt x="227" y="87"/>
                  </a:lnTo>
                  <a:lnTo>
                    <a:pt x="219" y="85"/>
                  </a:lnTo>
                  <a:lnTo>
                    <a:pt x="215" y="66"/>
                  </a:lnTo>
                  <a:lnTo>
                    <a:pt x="192" y="66"/>
                  </a:lnTo>
                  <a:lnTo>
                    <a:pt x="190" y="62"/>
                  </a:lnTo>
                  <a:lnTo>
                    <a:pt x="190" y="58"/>
                  </a:lnTo>
                  <a:lnTo>
                    <a:pt x="188" y="54"/>
                  </a:lnTo>
                  <a:lnTo>
                    <a:pt x="175" y="45"/>
                  </a:lnTo>
                  <a:lnTo>
                    <a:pt x="157" y="37"/>
                  </a:lnTo>
                  <a:lnTo>
                    <a:pt x="142" y="31"/>
                  </a:lnTo>
                  <a:lnTo>
                    <a:pt x="131" y="31"/>
                  </a:lnTo>
                  <a:lnTo>
                    <a:pt x="127" y="25"/>
                  </a:lnTo>
                  <a:lnTo>
                    <a:pt x="123" y="18"/>
                  </a:lnTo>
                  <a:lnTo>
                    <a:pt x="119" y="12"/>
                  </a:lnTo>
                  <a:lnTo>
                    <a:pt x="94" y="6"/>
                  </a:lnTo>
                  <a:lnTo>
                    <a:pt x="58" y="2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4" name="Freeform 229"/>
            <p:cNvSpPr>
              <a:spLocks/>
            </p:cNvSpPr>
            <p:nvPr/>
          </p:nvSpPr>
          <p:spPr bwMode="gray">
            <a:xfrm>
              <a:off x="3198" y="2018"/>
              <a:ext cx="77" cy="84"/>
            </a:xfrm>
            <a:custGeom>
              <a:avLst/>
              <a:gdLst>
                <a:gd name="T0" fmla="*/ 127 w 154"/>
                <a:gd name="T1" fmla="*/ 167 h 167"/>
                <a:gd name="T2" fmla="*/ 125 w 154"/>
                <a:gd name="T3" fmla="*/ 156 h 167"/>
                <a:gd name="T4" fmla="*/ 119 w 154"/>
                <a:gd name="T5" fmla="*/ 150 h 167"/>
                <a:gd name="T6" fmla="*/ 106 w 154"/>
                <a:gd name="T7" fmla="*/ 146 h 167"/>
                <a:gd name="T8" fmla="*/ 104 w 154"/>
                <a:gd name="T9" fmla="*/ 136 h 167"/>
                <a:gd name="T10" fmla="*/ 73 w 154"/>
                <a:gd name="T11" fmla="*/ 102 h 167"/>
                <a:gd name="T12" fmla="*/ 73 w 154"/>
                <a:gd name="T13" fmla="*/ 98 h 167"/>
                <a:gd name="T14" fmla="*/ 70 w 154"/>
                <a:gd name="T15" fmla="*/ 85 h 167"/>
                <a:gd name="T16" fmla="*/ 60 w 154"/>
                <a:gd name="T17" fmla="*/ 73 h 167"/>
                <a:gd name="T18" fmla="*/ 62 w 154"/>
                <a:gd name="T19" fmla="*/ 60 h 167"/>
                <a:gd name="T20" fmla="*/ 70 w 154"/>
                <a:gd name="T21" fmla="*/ 61 h 167"/>
                <a:gd name="T22" fmla="*/ 81 w 154"/>
                <a:gd name="T23" fmla="*/ 65 h 167"/>
                <a:gd name="T24" fmla="*/ 89 w 154"/>
                <a:gd name="T25" fmla="*/ 71 h 167"/>
                <a:gd name="T26" fmla="*/ 104 w 154"/>
                <a:gd name="T27" fmla="*/ 67 h 167"/>
                <a:gd name="T28" fmla="*/ 118 w 154"/>
                <a:gd name="T29" fmla="*/ 71 h 167"/>
                <a:gd name="T30" fmla="*/ 125 w 154"/>
                <a:gd name="T31" fmla="*/ 73 h 167"/>
                <a:gd name="T32" fmla="*/ 135 w 154"/>
                <a:gd name="T33" fmla="*/ 81 h 167"/>
                <a:gd name="T34" fmla="*/ 152 w 154"/>
                <a:gd name="T35" fmla="*/ 77 h 167"/>
                <a:gd name="T36" fmla="*/ 150 w 154"/>
                <a:gd name="T37" fmla="*/ 65 h 167"/>
                <a:gd name="T38" fmla="*/ 150 w 154"/>
                <a:gd name="T39" fmla="*/ 56 h 167"/>
                <a:gd name="T40" fmla="*/ 139 w 154"/>
                <a:gd name="T41" fmla="*/ 54 h 167"/>
                <a:gd name="T42" fmla="*/ 119 w 154"/>
                <a:gd name="T43" fmla="*/ 44 h 167"/>
                <a:gd name="T44" fmla="*/ 102 w 154"/>
                <a:gd name="T45" fmla="*/ 31 h 167"/>
                <a:gd name="T46" fmla="*/ 95 w 154"/>
                <a:gd name="T47" fmla="*/ 15 h 167"/>
                <a:gd name="T48" fmla="*/ 81 w 154"/>
                <a:gd name="T49" fmla="*/ 2 h 167"/>
                <a:gd name="T50" fmla="*/ 75 w 154"/>
                <a:gd name="T51" fmla="*/ 0 h 167"/>
                <a:gd name="T52" fmla="*/ 70 w 154"/>
                <a:gd name="T53" fmla="*/ 6 h 167"/>
                <a:gd name="T54" fmla="*/ 66 w 154"/>
                <a:gd name="T55" fmla="*/ 11 h 167"/>
                <a:gd name="T56" fmla="*/ 56 w 154"/>
                <a:gd name="T57" fmla="*/ 10 h 167"/>
                <a:gd name="T58" fmla="*/ 54 w 154"/>
                <a:gd name="T59" fmla="*/ 17 h 167"/>
                <a:gd name="T60" fmla="*/ 48 w 154"/>
                <a:gd name="T61" fmla="*/ 36 h 167"/>
                <a:gd name="T62" fmla="*/ 35 w 154"/>
                <a:gd name="T63" fmla="*/ 36 h 167"/>
                <a:gd name="T64" fmla="*/ 31 w 154"/>
                <a:gd name="T65" fmla="*/ 35 h 167"/>
                <a:gd name="T66" fmla="*/ 22 w 154"/>
                <a:gd name="T67" fmla="*/ 56 h 167"/>
                <a:gd name="T68" fmla="*/ 0 w 154"/>
                <a:gd name="T69" fmla="*/ 60 h 167"/>
                <a:gd name="T70" fmla="*/ 0 w 154"/>
                <a:gd name="T71" fmla="*/ 75 h 167"/>
                <a:gd name="T72" fmla="*/ 8 w 154"/>
                <a:gd name="T73" fmla="*/ 83 h 167"/>
                <a:gd name="T74" fmla="*/ 12 w 154"/>
                <a:gd name="T75" fmla="*/ 77 h 167"/>
                <a:gd name="T76" fmla="*/ 18 w 154"/>
                <a:gd name="T77" fmla="*/ 73 h 167"/>
                <a:gd name="T78" fmla="*/ 23 w 154"/>
                <a:gd name="T79" fmla="*/ 65 h 167"/>
                <a:gd name="T80" fmla="*/ 29 w 154"/>
                <a:gd name="T81" fmla="*/ 61 h 167"/>
                <a:gd name="T82" fmla="*/ 35 w 154"/>
                <a:gd name="T83" fmla="*/ 65 h 167"/>
                <a:gd name="T84" fmla="*/ 31 w 154"/>
                <a:gd name="T85" fmla="*/ 88 h 167"/>
                <a:gd name="T86" fmla="*/ 43 w 154"/>
                <a:gd name="T87" fmla="*/ 108 h 167"/>
                <a:gd name="T88" fmla="*/ 66 w 154"/>
                <a:gd name="T89" fmla="*/ 127 h 167"/>
                <a:gd name="T90" fmla="*/ 75 w 154"/>
                <a:gd name="T91" fmla="*/ 125 h 167"/>
                <a:gd name="T92" fmla="*/ 85 w 154"/>
                <a:gd name="T93" fmla="*/ 133 h 167"/>
                <a:gd name="T94" fmla="*/ 96 w 154"/>
                <a:gd name="T95" fmla="*/ 146 h 167"/>
                <a:gd name="T96" fmla="*/ 119 w 154"/>
                <a:gd name="T97" fmla="*/ 156 h 167"/>
                <a:gd name="T98" fmla="*/ 123 w 154"/>
                <a:gd name="T99" fmla="*/ 165 h 16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4"/>
                <a:gd name="T151" fmla="*/ 0 h 167"/>
                <a:gd name="T152" fmla="*/ 154 w 154"/>
                <a:gd name="T153" fmla="*/ 167 h 16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54" h="167">
                  <a:moveTo>
                    <a:pt x="123" y="165"/>
                  </a:moveTo>
                  <a:lnTo>
                    <a:pt x="127" y="167"/>
                  </a:lnTo>
                  <a:lnTo>
                    <a:pt x="131" y="161"/>
                  </a:lnTo>
                  <a:lnTo>
                    <a:pt x="125" y="156"/>
                  </a:lnTo>
                  <a:lnTo>
                    <a:pt x="123" y="152"/>
                  </a:lnTo>
                  <a:lnTo>
                    <a:pt x="119" y="150"/>
                  </a:lnTo>
                  <a:lnTo>
                    <a:pt x="118" y="146"/>
                  </a:lnTo>
                  <a:lnTo>
                    <a:pt x="106" y="146"/>
                  </a:lnTo>
                  <a:lnTo>
                    <a:pt x="104" y="142"/>
                  </a:lnTo>
                  <a:lnTo>
                    <a:pt x="104" y="136"/>
                  </a:lnTo>
                  <a:lnTo>
                    <a:pt x="79" y="111"/>
                  </a:lnTo>
                  <a:lnTo>
                    <a:pt x="73" y="102"/>
                  </a:lnTo>
                  <a:lnTo>
                    <a:pt x="71" y="98"/>
                  </a:lnTo>
                  <a:lnTo>
                    <a:pt x="73" y="98"/>
                  </a:lnTo>
                  <a:lnTo>
                    <a:pt x="73" y="94"/>
                  </a:lnTo>
                  <a:lnTo>
                    <a:pt x="70" y="85"/>
                  </a:lnTo>
                  <a:lnTo>
                    <a:pt x="64" y="77"/>
                  </a:lnTo>
                  <a:lnTo>
                    <a:pt x="60" y="73"/>
                  </a:lnTo>
                  <a:lnTo>
                    <a:pt x="60" y="63"/>
                  </a:lnTo>
                  <a:lnTo>
                    <a:pt x="62" y="60"/>
                  </a:lnTo>
                  <a:lnTo>
                    <a:pt x="66" y="60"/>
                  </a:lnTo>
                  <a:lnTo>
                    <a:pt x="70" y="61"/>
                  </a:lnTo>
                  <a:lnTo>
                    <a:pt x="73" y="69"/>
                  </a:lnTo>
                  <a:lnTo>
                    <a:pt x="81" y="65"/>
                  </a:lnTo>
                  <a:lnTo>
                    <a:pt x="85" y="67"/>
                  </a:lnTo>
                  <a:lnTo>
                    <a:pt x="89" y="71"/>
                  </a:lnTo>
                  <a:lnTo>
                    <a:pt x="95" y="71"/>
                  </a:lnTo>
                  <a:lnTo>
                    <a:pt x="104" y="67"/>
                  </a:lnTo>
                  <a:lnTo>
                    <a:pt x="110" y="67"/>
                  </a:lnTo>
                  <a:lnTo>
                    <a:pt x="118" y="71"/>
                  </a:lnTo>
                  <a:lnTo>
                    <a:pt x="123" y="71"/>
                  </a:lnTo>
                  <a:lnTo>
                    <a:pt x="125" y="73"/>
                  </a:lnTo>
                  <a:lnTo>
                    <a:pt x="127" y="77"/>
                  </a:lnTo>
                  <a:lnTo>
                    <a:pt x="135" y="81"/>
                  </a:lnTo>
                  <a:lnTo>
                    <a:pt x="144" y="81"/>
                  </a:lnTo>
                  <a:lnTo>
                    <a:pt x="152" y="77"/>
                  </a:lnTo>
                  <a:lnTo>
                    <a:pt x="154" y="71"/>
                  </a:lnTo>
                  <a:lnTo>
                    <a:pt x="150" y="65"/>
                  </a:lnTo>
                  <a:lnTo>
                    <a:pt x="148" y="61"/>
                  </a:lnTo>
                  <a:lnTo>
                    <a:pt x="150" y="56"/>
                  </a:lnTo>
                  <a:lnTo>
                    <a:pt x="152" y="54"/>
                  </a:lnTo>
                  <a:lnTo>
                    <a:pt x="139" y="54"/>
                  </a:lnTo>
                  <a:lnTo>
                    <a:pt x="131" y="52"/>
                  </a:lnTo>
                  <a:lnTo>
                    <a:pt x="119" y="44"/>
                  </a:lnTo>
                  <a:lnTo>
                    <a:pt x="110" y="38"/>
                  </a:lnTo>
                  <a:lnTo>
                    <a:pt x="102" y="31"/>
                  </a:lnTo>
                  <a:lnTo>
                    <a:pt x="96" y="23"/>
                  </a:lnTo>
                  <a:lnTo>
                    <a:pt x="95" y="15"/>
                  </a:lnTo>
                  <a:lnTo>
                    <a:pt x="89" y="8"/>
                  </a:lnTo>
                  <a:lnTo>
                    <a:pt x="81" y="2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1" y="2"/>
                  </a:lnTo>
                  <a:lnTo>
                    <a:pt x="70" y="6"/>
                  </a:lnTo>
                  <a:lnTo>
                    <a:pt x="70" y="10"/>
                  </a:lnTo>
                  <a:lnTo>
                    <a:pt x="66" y="11"/>
                  </a:lnTo>
                  <a:lnTo>
                    <a:pt x="60" y="11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4" y="17"/>
                  </a:lnTo>
                  <a:lnTo>
                    <a:pt x="50" y="27"/>
                  </a:lnTo>
                  <a:lnTo>
                    <a:pt x="48" y="36"/>
                  </a:lnTo>
                  <a:lnTo>
                    <a:pt x="43" y="40"/>
                  </a:lnTo>
                  <a:lnTo>
                    <a:pt x="35" y="36"/>
                  </a:lnTo>
                  <a:lnTo>
                    <a:pt x="33" y="33"/>
                  </a:lnTo>
                  <a:lnTo>
                    <a:pt x="31" y="35"/>
                  </a:lnTo>
                  <a:lnTo>
                    <a:pt x="31" y="50"/>
                  </a:lnTo>
                  <a:lnTo>
                    <a:pt x="22" y="56"/>
                  </a:lnTo>
                  <a:lnTo>
                    <a:pt x="8" y="58"/>
                  </a:lnTo>
                  <a:lnTo>
                    <a:pt x="0" y="60"/>
                  </a:lnTo>
                  <a:lnTo>
                    <a:pt x="2" y="67"/>
                  </a:lnTo>
                  <a:lnTo>
                    <a:pt x="0" y="75"/>
                  </a:lnTo>
                  <a:lnTo>
                    <a:pt x="4" y="85"/>
                  </a:lnTo>
                  <a:lnTo>
                    <a:pt x="8" y="83"/>
                  </a:lnTo>
                  <a:lnTo>
                    <a:pt x="14" y="81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8" y="73"/>
                  </a:lnTo>
                  <a:lnTo>
                    <a:pt x="23" y="73"/>
                  </a:lnTo>
                  <a:lnTo>
                    <a:pt x="23" y="65"/>
                  </a:lnTo>
                  <a:lnTo>
                    <a:pt x="27" y="58"/>
                  </a:lnTo>
                  <a:lnTo>
                    <a:pt x="29" y="61"/>
                  </a:lnTo>
                  <a:lnTo>
                    <a:pt x="31" y="63"/>
                  </a:lnTo>
                  <a:lnTo>
                    <a:pt x="35" y="65"/>
                  </a:lnTo>
                  <a:lnTo>
                    <a:pt x="29" y="81"/>
                  </a:lnTo>
                  <a:lnTo>
                    <a:pt x="31" y="88"/>
                  </a:lnTo>
                  <a:lnTo>
                    <a:pt x="47" y="100"/>
                  </a:lnTo>
                  <a:lnTo>
                    <a:pt x="43" y="108"/>
                  </a:lnTo>
                  <a:lnTo>
                    <a:pt x="43" y="111"/>
                  </a:lnTo>
                  <a:lnTo>
                    <a:pt x="66" y="127"/>
                  </a:lnTo>
                  <a:lnTo>
                    <a:pt x="70" y="127"/>
                  </a:lnTo>
                  <a:lnTo>
                    <a:pt x="75" y="125"/>
                  </a:lnTo>
                  <a:lnTo>
                    <a:pt x="81" y="127"/>
                  </a:lnTo>
                  <a:lnTo>
                    <a:pt x="85" y="133"/>
                  </a:lnTo>
                  <a:lnTo>
                    <a:pt x="91" y="138"/>
                  </a:lnTo>
                  <a:lnTo>
                    <a:pt x="96" y="146"/>
                  </a:lnTo>
                  <a:lnTo>
                    <a:pt x="119" y="152"/>
                  </a:lnTo>
                  <a:lnTo>
                    <a:pt x="119" y="156"/>
                  </a:lnTo>
                  <a:lnTo>
                    <a:pt x="121" y="161"/>
                  </a:lnTo>
                  <a:lnTo>
                    <a:pt x="123" y="165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5" name="Freeform 230"/>
            <p:cNvSpPr>
              <a:spLocks/>
            </p:cNvSpPr>
            <p:nvPr/>
          </p:nvSpPr>
          <p:spPr bwMode="gray">
            <a:xfrm>
              <a:off x="1960" y="2601"/>
              <a:ext cx="41" cy="51"/>
            </a:xfrm>
            <a:custGeom>
              <a:avLst/>
              <a:gdLst>
                <a:gd name="T0" fmla="*/ 7 w 82"/>
                <a:gd name="T1" fmla="*/ 1 h 101"/>
                <a:gd name="T2" fmla="*/ 3 w 82"/>
                <a:gd name="T3" fmla="*/ 0 h 101"/>
                <a:gd name="T4" fmla="*/ 0 w 82"/>
                <a:gd name="T5" fmla="*/ 0 h 101"/>
                <a:gd name="T6" fmla="*/ 0 w 82"/>
                <a:gd name="T7" fmla="*/ 1 h 101"/>
                <a:gd name="T8" fmla="*/ 5 w 82"/>
                <a:gd name="T9" fmla="*/ 17 h 101"/>
                <a:gd name="T10" fmla="*/ 3 w 82"/>
                <a:gd name="T11" fmla="*/ 32 h 101"/>
                <a:gd name="T12" fmla="*/ 0 w 82"/>
                <a:gd name="T13" fmla="*/ 48 h 101"/>
                <a:gd name="T14" fmla="*/ 5 w 82"/>
                <a:gd name="T15" fmla="*/ 51 h 101"/>
                <a:gd name="T16" fmla="*/ 9 w 82"/>
                <a:gd name="T17" fmla="*/ 55 h 101"/>
                <a:gd name="T18" fmla="*/ 11 w 82"/>
                <a:gd name="T19" fmla="*/ 59 h 101"/>
                <a:gd name="T20" fmla="*/ 23 w 82"/>
                <a:gd name="T21" fmla="*/ 55 h 101"/>
                <a:gd name="T22" fmla="*/ 23 w 82"/>
                <a:gd name="T23" fmla="*/ 46 h 101"/>
                <a:gd name="T24" fmla="*/ 26 w 82"/>
                <a:gd name="T25" fmla="*/ 44 h 101"/>
                <a:gd name="T26" fmla="*/ 36 w 82"/>
                <a:gd name="T27" fmla="*/ 53 h 101"/>
                <a:gd name="T28" fmla="*/ 46 w 82"/>
                <a:gd name="T29" fmla="*/ 61 h 101"/>
                <a:gd name="T30" fmla="*/ 57 w 82"/>
                <a:gd name="T31" fmla="*/ 71 h 101"/>
                <a:gd name="T32" fmla="*/ 55 w 82"/>
                <a:gd name="T33" fmla="*/ 78 h 101"/>
                <a:gd name="T34" fmla="*/ 55 w 82"/>
                <a:gd name="T35" fmla="*/ 84 h 101"/>
                <a:gd name="T36" fmla="*/ 57 w 82"/>
                <a:gd name="T37" fmla="*/ 90 h 101"/>
                <a:gd name="T38" fmla="*/ 57 w 82"/>
                <a:gd name="T39" fmla="*/ 98 h 101"/>
                <a:gd name="T40" fmla="*/ 61 w 82"/>
                <a:gd name="T41" fmla="*/ 96 h 101"/>
                <a:gd name="T42" fmla="*/ 61 w 82"/>
                <a:gd name="T43" fmla="*/ 86 h 101"/>
                <a:gd name="T44" fmla="*/ 69 w 82"/>
                <a:gd name="T45" fmla="*/ 86 h 101"/>
                <a:gd name="T46" fmla="*/ 72 w 82"/>
                <a:gd name="T47" fmla="*/ 101 h 101"/>
                <a:gd name="T48" fmla="*/ 72 w 82"/>
                <a:gd name="T49" fmla="*/ 99 h 101"/>
                <a:gd name="T50" fmla="*/ 76 w 82"/>
                <a:gd name="T51" fmla="*/ 88 h 101"/>
                <a:gd name="T52" fmla="*/ 74 w 82"/>
                <a:gd name="T53" fmla="*/ 82 h 101"/>
                <a:gd name="T54" fmla="*/ 71 w 82"/>
                <a:gd name="T55" fmla="*/ 78 h 101"/>
                <a:gd name="T56" fmla="*/ 71 w 82"/>
                <a:gd name="T57" fmla="*/ 71 h 101"/>
                <a:gd name="T58" fmla="*/ 72 w 82"/>
                <a:gd name="T59" fmla="*/ 65 h 101"/>
                <a:gd name="T60" fmla="*/ 72 w 82"/>
                <a:gd name="T61" fmla="*/ 59 h 101"/>
                <a:gd name="T62" fmla="*/ 82 w 82"/>
                <a:gd name="T63" fmla="*/ 59 h 101"/>
                <a:gd name="T64" fmla="*/ 80 w 82"/>
                <a:gd name="T65" fmla="*/ 51 h 101"/>
                <a:gd name="T66" fmla="*/ 78 w 82"/>
                <a:gd name="T67" fmla="*/ 46 h 101"/>
                <a:gd name="T68" fmla="*/ 76 w 82"/>
                <a:gd name="T69" fmla="*/ 44 h 101"/>
                <a:gd name="T70" fmla="*/ 61 w 82"/>
                <a:gd name="T71" fmla="*/ 24 h 101"/>
                <a:gd name="T72" fmla="*/ 51 w 82"/>
                <a:gd name="T73" fmla="*/ 15 h 101"/>
                <a:gd name="T74" fmla="*/ 48 w 82"/>
                <a:gd name="T75" fmla="*/ 15 h 101"/>
                <a:gd name="T76" fmla="*/ 42 w 82"/>
                <a:gd name="T77" fmla="*/ 13 h 101"/>
                <a:gd name="T78" fmla="*/ 40 w 82"/>
                <a:gd name="T79" fmla="*/ 9 h 101"/>
                <a:gd name="T80" fmla="*/ 38 w 82"/>
                <a:gd name="T81" fmla="*/ 9 h 101"/>
                <a:gd name="T82" fmla="*/ 38 w 82"/>
                <a:gd name="T83" fmla="*/ 7 h 101"/>
                <a:gd name="T84" fmla="*/ 34 w 82"/>
                <a:gd name="T85" fmla="*/ 7 h 101"/>
                <a:gd name="T86" fmla="*/ 28 w 82"/>
                <a:gd name="T87" fmla="*/ 9 h 101"/>
                <a:gd name="T88" fmla="*/ 28 w 82"/>
                <a:gd name="T89" fmla="*/ 11 h 101"/>
                <a:gd name="T90" fmla="*/ 30 w 82"/>
                <a:gd name="T91" fmla="*/ 11 h 101"/>
                <a:gd name="T92" fmla="*/ 30 w 82"/>
                <a:gd name="T93" fmla="*/ 13 h 101"/>
                <a:gd name="T94" fmla="*/ 19 w 82"/>
                <a:gd name="T95" fmla="*/ 9 h 101"/>
                <a:gd name="T96" fmla="*/ 11 w 82"/>
                <a:gd name="T97" fmla="*/ 9 h 101"/>
                <a:gd name="T98" fmla="*/ 7 w 82"/>
                <a:gd name="T99" fmla="*/ 1 h 10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2"/>
                <a:gd name="T151" fmla="*/ 0 h 101"/>
                <a:gd name="T152" fmla="*/ 82 w 82"/>
                <a:gd name="T153" fmla="*/ 101 h 10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2" h="101">
                  <a:moveTo>
                    <a:pt x="7" y="1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5" y="17"/>
                  </a:lnTo>
                  <a:lnTo>
                    <a:pt x="3" y="32"/>
                  </a:lnTo>
                  <a:lnTo>
                    <a:pt x="0" y="48"/>
                  </a:lnTo>
                  <a:lnTo>
                    <a:pt x="5" y="51"/>
                  </a:lnTo>
                  <a:lnTo>
                    <a:pt x="9" y="55"/>
                  </a:lnTo>
                  <a:lnTo>
                    <a:pt x="11" y="59"/>
                  </a:lnTo>
                  <a:lnTo>
                    <a:pt x="23" y="55"/>
                  </a:lnTo>
                  <a:lnTo>
                    <a:pt x="23" y="46"/>
                  </a:lnTo>
                  <a:lnTo>
                    <a:pt x="26" y="44"/>
                  </a:lnTo>
                  <a:lnTo>
                    <a:pt x="36" y="53"/>
                  </a:lnTo>
                  <a:lnTo>
                    <a:pt x="46" y="61"/>
                  </a:lnTo>
                  <a:lnTo>
                    <a:pt x="57" y="71"/>
                  </a:lnTo>
                  <a:lnTo>
                    <a:pt x="55" y="78"/>
                  </a:lnTo>
                  <a:lnTo>
                    <a:pt x="55" y="84"/>
                  </a:lnTo>
                  <a:lnTo>
                    <a:pt x="57" y="90"/>
                  </a:lnTo>
                  <a:lnTo>
                    <a:pt x="57" y="98"/>
                  </a:lnTo>
                  <a:lnTo>
                    <a:pt x="61" y="96"/>
                  </a:lnTo>
                  <a:lnTo>
                    <a:pt x="61" y="86"/>
                  </a:lnTo>
                  <a:lnTo>
                    <a:pt x="69" y="86"/>
                  </a:lnTo>
                  <a:lnTo>
                    <a:pt x="72" y="101"/>
                  </a:lnTo>
                  <a:lnTo>
                    <a:pt x="72" y="99"/>
                  </a:lnTo>
                  <a:lnTo>
                    <a:pt x="76" y="88"/>
                  </a:lnTo>
                  <a:lnTo>
                    <a:pt x="74" y="82"/>
                  </a:lnTo>
                  <a:lnTo>
                    <a:pt x="71" y="78"/>
                  </a:lnTo>
                  <a:lnTo>
                    <a:pt x="71" y="71"/>
                  </a:lnTo>
                  <a:lnTo>
                    <a:pt x="72" y="65"/>
                  </a:lnTo>
                  <a:lnTo>
                    <a:pt x="72" y="59"/>
                  </a:lnTo>
                  <a:lnTo>
                    <a:pt x="82" y="59"/>
                  </a:lnTo>
                  <a:lnTo>
                    <a:pt x="80" y="51"/>
                  </a:lnTo>
                  <a:lnTo>
                    <a:pt x="78" y="46"/>
                  </a:lnTo>
                  <a:lnTo>
                    <a:pt x="76" y="44"/>
                  </a:lnTo>
                  <a:lnTo>
                    <a:pt x="61" y="24"/>
                  </a:lnTo>
                  <a:lnTo>
                    <a:pt x="51" y="15"/>
                  </a:lnTo>
                  <a:lnTo>
                    <a:pt x="48" y="15"/>
                  </a:lnTo>
                  <a:lnTo>
                    <a:pt x="42" y="13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7"/>
                  </a:lnTo>
                  <a:lnTo>
                    <a:pt x="34" y="7"/>
                  </a:lnTo>
                  <a:lnTo>
                    <a:pt x="28" y="9"/>
                  </a:lnTo>
                  <a:lnTo>
                    <a:pt x="28" y="11"/>
                  </a:lnTo>
                  <a:lnTo>
                    <a:pt x="30" y="11"/>
                  </a:lnTo>
                  <a:lnTo>
                    <a:pt x="30" y="13"/>
                  </a:lnTo>
                  <a:lnTo>
                    <a:pt x="19" y="9"/>
                  </a:lnTo>
                  <a:lnTo>
                    <a:pt x="11" y="9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6" name="Freeform 231"/>
            <p:cNvSpPr>
              <a:spLocks/>
            </p:cNvSpPr>
            <p:nvPr/>
          </p:nvSpPr>
          <p:spPr bwMode="gray">
            <a:xfrm>
              <a:off x="3167" y="2720"/>
              <a:ext cx="94" cy="130"/>
            </a:xfrm>
            <a:custGeom>
              <a:avLst/>
              <a:gdLst>
                <a:gd name="T0" fmla="*/ 23 w 188"/>
                <a:gd name="T1" fmla="*/ 253 h 259"/>
                <a:gd name="T2" fmla="*/ 38 w 188"/>
                <a:gd name="T3" fmla="*/ 246 h 259"/>
                <a:gd name="T4" fmla="*/ 52 w 188"/>
                <a:gd name="T5" fmla="*/ 250 h 259"/>
                <a:gd name="T6" fmla="*/ 67 w 188"/>
                <a:gd name="T7" fmla="*/ 246 h 259"/>
                <a:gd name="T8" fmla="*/ 75 w 188"/>
                <a:gd name="T9" fmla="*/ 238 h 259"/>
                <a:gd name="T10" fmla="*/ 84 w 188"/>
                <a:gd name="T11" fmla="*/ 238 h 259"/>
                <a:gd name="T12" fmla="*/ 96 w 188"/>
                <a:gd name="T13" fmla="*/ 234 h 259"/>
                <a:gd name="T14" fmla="*/ 117 w 188"/>
                <a:gd name="T15" fmla="*/ 250 h 259"/>
                <a:gd name="T16" fmla="*/ 129 w 188"/>
                <a:gd name="T17" fmla="*/ 244 h 259"/>
                <a:gd name="T18" fmla="*/ 136 w 188"/>
                <a:gd name="T19" fmla="*/ 238 h 259"/>
                <a:gd name="T20" fmla="*/ 142 w 188"/>
                <a:gd name="T21" fmla="*/ 217 h 259"/>
                <a:gd name="T22" fmla="*/ 148 w 188"/>
                <a:gd name="T23" fmla="*/ 205 h 259"/>
                <a:gd name="T24" fmla="*/ 142 w 188"/>
                <a:gd name="T25" fmla="*/ 179 h 259"/>
                <a:gd name="T26" fmla="*/ 157 w 188"/>
                <a:gd name="T27" fmla="*/ 152 h 259"/>
                <a:gd name="T28" fmla="*/ 163 w 188"/>
                <a:gd name="T29" fmla="*/ 127 h 259"/>
                <a:gd name="T30" fmla="*/ 175 w 188"/>
                <a:gd name="T31" fmla="*/ 102 h 259"/>
                <a:gd name="T32" fmla="*/ 173 w 188"/>
                <a:gd name="T33" fmla="*/ 77 h 259"/>
                <a:gd name="T34" fmla="*/ 175 w 188"/>
                <a:gd name="T35" fmla="*/ 57 h 259"/>
                <a:gd name="T36" fmla="*/ 179 w 188"/>
                <a:gd name="T37" fmla="*/ 32 h 259"/>
                <a:gd name="T38" fmla="*/ 188 w 188"/>
                <a:gd name="T39" fmla="*/ 7 h 259"/>
                <a:gd name="T40" fmla="*/ 179 w 188"/>
                <a:gd name="T41" fmla="*/ 4 h 259"/>
                <a:gd name="T42" fmla="*/ 163 w 188"/>
                <a:gd name="T43" fmla="*/ 4 h 259"/>
                <a:gd name="T44" fmla="*/ 152 w 188"/>
                <a:gd name="T45" fmla="*/ 9 h 259"/>
                <a:gd name="T46" fmla="*/ 140 w 188"/>
                <a:gd name="T47" fmla="*/ 21 h 259"/>
                <a:gd name="T48" fmla="*/ 132 w 188"/>
                <a:gd name="T49" fmla="*/ 29 h 259"/>
                <a:gd name="T50" fmla="*/ 136 w 188"/>
                <a:gd name="T51" fmla="*/ 44 h 259"/>
                <a:gd name="T52" fmla="*/ 123 w 188"/>
                <a:gd name="T53" fmla="*/ 44 h 259"/>
                <a:gd name="T54" fmla="*/ 94 w 188"/>
                <a:gd name="T55" fmla="*/ 36 h 259"/>
                <a:gd name="T56" fmla="*/ 61 w 188"/>
                <a:gd name="T57" fmla="*/ 36 h 259"/>
                <a:gd name="T58" fmla="*/ 71 w 188"/>
                <a:gd name="T59" fmla="*/ 63 h 259"/>
                <a:gd name="T60" fmla="*/ 90 w 188"/>
                <a:gd name="T61" fmla="*/ 65 h 259"/>
                <a:gd name="T62" fmla="*/ 81 w 188"/>
                <a:gd name="T63" fmla="*/ 86 h 259"/>
                <a:gd name="T64" fmla="*/ 69 w 188"/>
                <a:gd name="T65" fmla="*/ 94 h 259"/>
                <a:gd name="T66" fmla="*/ 73 w 188"/>
                <a:gd name="T67" fmla="*/ 107 h 259"/>
                <a:gd name="T68" fmla="*/ 69 w 188"/>
                <a:gd name="T69" fmla="*/ 111 h 259"/>
                <a:gd name="T70" fmla="*/ 81 w 188"/>
                <a:gd name="T71" fmla="*/ 127 h 259"/>
                <a:gd name="T72" fmla="*/ 79 w 188"/>
                <a:gd name="T73" fmla="*/ 146 h 259"/>
                <a:gd name="T74" fmla="*/ 81 w 188"/>
                <a:gd name="T75" fmla="*/ 159 h 259"/>
                <a:gd name="T76" fmla="*/ 86 w 188"/>
                <a:gd name="T77" fmla="*/ 179 h 259"/>
                <a:gd name="T78" fmla="*/ 79 w 188"/>
                <a:gd name="T79" fmla="*/ 190 h 259"/>
                <a:gd name="T80" fmla="*/ 67 w 188"/>
                <a:gd name="T81" fmla="*/ 177 h 259"/>
                <a:gd name="T82" fmla="*/ 50 w 188"/>
                <a:gd name="T83" fmla="*/ 180 h 259"/>
                <a:gd name="T84" fmla="*/ 42 w 188"/>
                <a:gd name="T85" fmla="*/ 173 h 259"/>
                <a:gd name="T86" fmla="*/ 40 w 188"/>
                <a:gd name="T87" fmla="*/ 182 h 259"/>
                <a:gd name="T88" fmla="*/ 27 w 188"/>
                <a:gd name="T89" fmla="*/ 192 h 259"/>
                <a:gd name="T90" fmla="*/ 23 w 188"/>
                <a:gd name="T91" fmla="*/ 200 h 259"/>
                <a:gd name="T92" fmla="*/ 29 w 188"/>
                <a:gd name="T93" fmla="*/ 227 h 259"/>
                <a:gd name="T94" fmla="*/ 13 w 188"/>
                <a:gd name="T95" fmla="*/ 221 h 259"/>
                <a:gd name="T96" fmla="*/ 2 w 188"/>
                <a:gd name="T97" fmla="*/ 236 h 259"/>
                <a:gd name="T98" fmla="*/ 8 w 188"/>
                <a:gd name="T99" fmla="*/ 248 h 259"/>
                <a:gd name="T100" fmla="*/ 13 w 188"/>
                <a:gd name="T101" fmla="*/ 259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88"/>
                <a:gd name="T154" fmla="*/ 0 h 259"/>
                <a:gd name="T155" fmla="*/ 188 w 188"/>
                <a:gd name="T156" fmla="*/ 259 h 2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88" h="259">
                  <a:moveTo>
                    <a:pt x="13" y="259"/>
                  </a:moveTo>
                  <a:lnTo>
                    <a:pt x="17" y="257"/>
                  </a:lnTo>
                  <a:lnTo>
                    <a:pt x="23" y="253"/>
                  </a:lnTo>
                  <a:lnTo>
                    <a:pt x="33" y="252"/>
                  </a:lnTo>
                  <a:lnTo>
                    <a:pt x="37" y="252"/>
                  </a:lnTo>
                  <a:lnTo>
                    <a:pt x="38" y="246"/>
                  </a:lnTo>
                  <a:lnTo>
                    <a:pt x="44" y="244"/>
                  </a:lnTo>
                  <a:lnTo>
                    <a:pt x="48" y="246"/>
                  </a:lnTo>
                  <a:lnTo>
                    <a:pt x="52" y="250"/>
                  </a:lnTo>
                  <a:lnTo>
                    <a:pt x="54" y="250"/>
                  </a:lnTo>
                  <a:lnTo>
                    <a:pt x="61" y="246"/>
                  </a:lnTo>
                  <a:lnTo>
                    <a:pt x="67" y="246"/>
                  </a:lnTo>
                  <a:lnTo>
                    <a:pt x="73" y="248"/>
                  </a:lnTo>
                  <a:lnTo>
                    <a:pt x="77" y="244"/>
                  </a:lnTo>
                  <a:lnTo>
                    <a:pt x="75" y="238"/>
                  </a:lnTo>
                  <a:lnTo>
                    <a:pt x="75" y="236"/>
                  </a:lnTo>
                  <a:lnTo>
                    <a:pt x="79" y="236"/>
                  </a:lnTo>
                  <a:lnTo>
                    <a:pt x="84" y="238"/>
                  </a:lnTo>
                  <a:lnTo>
                    <a:pt x="90" y="238"/>
                  </a:lnTo>
                  <a:lnTo>
                    <a:pt x="94" y="236"/>
                  </a:lnTo>
                  <a:lnTo>
                    <a:pt x="96" y="234"/>
                  </a:lnTo>
                  <a:lnTo>
                    <a:pt x="96" y="252"/>
                  </a:lnTo>
                  <a:lnTo>
                    <a:pt x="111" y="252"/>
                  </a:lnTo>
                  <a:lnTo>
                    <a:pt x="117" y="250"/>
                  </a:lnTo>
                  <a:lnTo>
                    <a:pt x="121" y="250"/>
                  </a:lnTo>
                  <a:lnTo>
                    <a:pt x="125" y="246"/>
                  </a:lnTo>
                  <a:lnTo>
                    <a:pt x="129" y="244"/>
                  </a:lnTo>
                  <a:lnTo>
                    <a:pt x="132" y="244"/>
                  </a:lnTo>
                  <a:lnTo>
                    <a:pt x="134" y="242"/>
                  </a:lnTo>
                  <a:lnTo>
                    <a:pt x="136" y="238"/>
                  </a:lnTo>
                  <a:lnTo>
                    <a:pt x="138" y="230"/>
                  </a:lnTo>
                  <a:lnTo>
                    <a:pt x="138" y="219"/>
                  </a:lnTo>
                  <a:lnTo>
                    <a:pt x="142" y="217"/>
                  </a:lnTo>
                  <a:lnTo>
                    <a:pt x="144" y="213"/>
                  </a:lnTo>
                  <a:lnTo>
                    <a:pt x="146" y="207"/>
                  </a:lnTo>
                  <a:lnTo>
                    <a:pt x="148" y="205"/>
                  </a:lnTo>
                  <a:lnTo>
                    <a:pt x="148" y="192"/>
                  </a:lnTo>
                  <a:lnTo>
                    <a:pt x="144" y="186"/>
                  </a:lnTo>
                  <a:lnTo>
                    <a:pt x="142" y="179"/>
                  </a:lnTo>
                  <a:lnTo>
                    <a:pt x="142" y="171"/>
                  </a:lnTo>
                  <a:lnTo>
                    <a:pt x="150" y="159"/>
                  </a:lnTo>
                  <a:lnTo>
                    <a:pt x="157" y="152"/>
                  </a:lnTo>
                  <a:lnTo>
                    <a:pt x="159" y="144"/>
                  </a:lnTo>
                  <a:lnTo>
                    <a:pt x="161" y="134"/>
                  </a:lnTo>
                  <a:lnTo>
                    <a:pt x="163" y="127"/>
                  </a:lnTo>
                  <a:lnTo>
                    <a:pt x="167" y="119"/>
                  </a:lnTo>
                  <a:lnTo>
                    <a:pt x="173" y="109"/>
                  </a:lnTo>
                  <a:lnTo>
                    <a:pt x="175" y="102"/>
                  </a:lnTo>
                  <a:lnTo>
                    <a:pt x="175" y="90"/>
                  </a:lnTo>
                  <a:lnTo>
                    <a:pt x="173" y="82"/>
                  </a:lnTo>
                  <a:lnTo>
                    <a:pt x="173" y="77"/>
                  </a:lnTo>
                  <a:lnTo>
                    <a:pt x="171" y="71"/>
                  </a:lnTo>
                  <a:lnTo>
                    <a:pt x="173" y="65"/>
                  </a:lnTo>
                  <a:lnTo>
                    <a:pt x="175" y="57"/>
                  </a:lnTo>
                  <a:lnTo>
                    <a:pt x="175" y="46"/>
                  </a:lnTo>
                  <a:lnTo>
                    <a:pt x="177" y="38"/>
                  </a:lnTo>
                  <a:lnTo>
                    <a:pt x="179" y="32"/>
                  </a:lnTo>
                  <a:lnTo>
                    <a:pt x="182" y="31"/>
                  </a:lnTo>
                  <a:lnTo>
                    <a:pt x="186" y="21"/>
                  </a:lnTo>
                  <a:lnTo>
                    <a:pt x="188" y="7"/>
                  </a:lnTo>
                  <a:lnTo>
                    <a:pt x="188" y="0"/>
                  </a:lnTo>
                  <a:lnTo>
                    <a:pt x="184" y="2"/>
                  </a:lnTo>
                  <a:lnTo>
                    <a:pt x="179" y="4"/>
                  </a:lnTo>
                  <a:lnTo>
                    <a:pt x="171" y="6"/>
                  </a:lnTo>
                  <a:lnTo>
                    <a:pt x="167" y="6"/>
                  </a:lnTo>
                  <a:lnTo>
                    <a:pt x="163" y="4"/>
                  </a:lnTo>
                  <a:lnTo>
                    <a:pt x="157" y="6"/>
                  </a:lnTo>
                  <a:lnTo>
                    <a:pt x="154" y="6"/>
                  </a:lnTo>
                  <a:lnTo>
                    <a:pt x="152" y="9"/>
                  </a:lnTo>
                  <a:lnTo>
                    <a:pt x="150" y="15"/>
                  </a:lnTo>
                  <a:lnTo>
                    <a:pt x="146" y="19"/>
                  </a:lnTo>
                  <a:lnTo>
                    <a:pt x="140" y="21"/>
                  </a:lnTo>
                  <a:lnTo>
                    <a:pt x="138" y="21"/>
                  </a:lnTo>
                  <a:lnTo>
                    <a:pt x="136" y="25"/>
                  </a:lnTo>
                  <a:lnTo>
                    <a:pt x="132" y="29"/>
                  </a:lnTo>
                  <a:lnTo>
                    <a:pt x="132" y="34"/>
                  </a:lnTo>
                  <a:lnTo>
                    <a:pt x="134" y="40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1" y="46"/>
                  </a:lnTo>
                  <a:lnTo>
                    <a:pt x="123" y="44"/>
                  </a:lnTo>
                  <a:lnTo>
                    <a:pt x="104" y="44"/>
                  </a:lnTo>
                  <a:lnTo>
                    <a:pt x="100" y="40"/>
                  </a:lnTo>
                  <a:lnTo>
                    <a:pt x="94" y="36"/>
                  </a:lnTo>
                  <a:lnTo>
                    <a:pt x="88" y="34"/>
                  </a:lnTo>
                  <a:lnTo>
                    <a:pt x="81" y="36"/>
                  </a:lnTo>
                  <a:lnTo>
                    <a:pt x="61" y="36"/>
                  </a:lnTo>
                  <a:lnTo>
                    <a:pt x="61" y="65"/>
                  </a:lnTo>
                  <a:lnTo>
                    <a:pt x="65" y="65"/>
                  </a:lnTo>
                  <a:lnTo>
                    <a:pt x="71" y="63"/>
                  </a:lnTo>
                  <a:lnTo>
                    <a:pt x="79" y="63"/>
                  </a:lnTo>
                  <a:lnTo>
                    <a:pt x="84" y="65"/>
                  </a:lnTo>
                  <a:lnTo>
                    <a:pt x="90" y="65"/>
                  </a:lnTo>
                  <a:lnTo>
                    <a:pt x="94" y="67"/>
                  </a:lnTo>
                  <a:lnTo>
                    <a:pt x="92" y="86"/>
                  </a:lnTo>
                  <a:lnTo>
                    <a:pt x="81" y="86"/>
                  </a:lnTo>
                  <a:lnTo>
                    <a:pt x="75" y="88"/>
                  </a:lnTo>
                  <a:lnTo>
                    <a:pt x="71" y="90"/>
                  </a:lnTo>
                  <a:lnTo>
                    <a:pt x="69" y="94"/>
                  </a:lnTo>
                  <a:lnTo>
                    <a:pt x="71" y="102"/>
                  </a:lnTo>
                  <a:lnTo>
                    <a:pt x="71" y="106"/>
                  </a:lnTo>
                  <a:lnTo>
                    <a:pt x="73" y="107"/>
                  </a:lnTo>
                  <a:lnTo>
                    <a:pt x="71" y="107"/>
                  </a:lnTo>
                  <a:lnTo>
                    <a:pt x="67" y="109"/>
                  </a:lnTo>
                  <a:lnTo>
                    <a:pt x="69" y="111"/>
                  </a:lnTo>
                  <a:lnTo>
                    <a:pt x="73" y="113"/>
                  </a:lnTo>
                  <a:lnTo>
                    <a:pt x="77" y="119"/>
                  </a:lnTo>
                  <a:lnTo>
                    <a:pt x="81" y="127"/>
                  </a:lnTo>
                  <a:lnTo>
                    <a:pt x="81" y="130"/>
                  </a:lnTo>
                  <a:lnTo>
                    <a:pt x="79" y="136"/>
                  </a:lnTo>
                  <a:lnTo>
                    <a:pt x="79" y="146"/>
                  </a:lnTo>
                  <a:lnTo>
                    <a:pt x="83" y="150"/>
                  </a:lnTo>
                  <a:lnTo>
                    <a:pt x="83" y="155"/>
                  </a:lnTo>
                  <a:lnTo>
                    <a:pt x="81" y="159"/>
                  </a:lnTo>
                  <a:lnTo>
                    <a:pt x="81" y="163"/>
                  </a:lnTo>
                  <a:lnTo>
                    <a:pt x="88" y="171"/>
                  </a:lnTo>
                  <a:lnTo>
                    <a:pt x="86" y="179"/>
                  </a:lnTo>
                  <a:lnTo>
                    <a:pt x="84" y="188"/>
                  </a:lnTo>
                  <a:lnTo>
                    <a:pt x="83" y="192"/>
                  </a:lnTo>
                  <a:lnTo>
                    <a:pt x="79" y="190"/>
                  </a:lnTo>
                  <a:lnTo>
                    <a:pt x="75" y="186"/>
                  </a:lnTo>
                  <a:lnTo>
                    <a:pt x="71" y="180"/>
                  </a:lnTo>
                  <a:lnTo>
                    <a:pt x="67" y="177"/>
                  </a:lnTo>
                  <a:lnTo>
                    <a:pt x="60" y="177"/>
                  </a:lnTo>
                  <a:lnTo>
                    <a:pt x="54" y="179"/>
                  </a:lnTo>
                  <a:lnTo>
                    <a:pt x="50" y="180"/>
                  </a:lnTo>
                  <a:lnTo>
                    <a:pt x="50" y="179"/>
                  </a:lnTo>
                  <a:lnTo>
                    <a:pt x="48" y="177"/>
                  </a:lnTo>
                  <a:lnTo>
                    <a:pt x="42" y="173"/>
                  </a:lnTo>
                  <a:lnTo>
                    <a:pt x="40" y="175"/>
                  </a:lnTo>
                  <a:lnTo>
                    <a:pt x="42" y="179"/>
                  </a:lnTo>
                  <a:lnTo>
                    <a:pt x="40" y="182"/>
                  </a:lnTo>
                  <a:lnTo>
                    <a:pt x="27" y="182"/>
                  </a:lnTo>
                  <a:lnTo>
                    <a:pt x="25" y="188"/>
                  </a:lnTo>
                  <a:lnTo>
                    <a:pt x="27" y="192"/>
                  </a:lnTo>
                  <a:lnTo>
                    <a:pt x="27" y="194"/>
                  </a:lnTo>
                  <a:lnTo>
                    <a:pt x="23" y="196"/>
                  </a:lnTo>
                  <a:lnTo>
                    <a:pt x="23" y="200"/>
                  </a:lnTo>
                  <a:lnTo>
                    <a:pt x="27" y="207"/>
                  </a:lnTo>
                  <a:lnTo>
                    <a:pt x="31" y="223"/>
                  </a:lnTo>
                  <a:lnTo>
                    <a:pt x="29" y="227"/>
                  </a:lnTo>
                  <a:lnTo>
                    <a:pt x="25" y="225"/>
                  </a:lnTo>
                  <a:lnTo>
                    <a:pt x="17" y="223"/>
                  </a:lnTo>
                  <a:lnTo>
                    <a:pt x="13" y="221"/>
                  </a:lnTo>
                  <a:lnTo>
                    <a:pt x="10" y="221"/>
                  </a:lnTo>
                  <a:lnTo>
                    <a:pt x="4" y="225"/>
                  </a:lnTo>
                  <a:lnTo>
                    <a:pt x="2" y="236"/>
                  </a:lnTo>
                  <a:lnTo>
                    <a:pt x="0" y="240"/>
                  </a:lnTo>
                  <a:lnTo>
                    <a:pt x="6" y="244"/>
                  </a:lnTo>
                  <a:lnTo>
                    <a:pt x="8" y="248"/>
                  </a:lnTo>
                  <a:lnTo>
                    <a:pt x="12" y="250"/>
                  </a:lnTo>
                  <a:lnTo>
                    <a:pt x="13" y="255"/>
                  </a:lnTo>
                  <a:lnTo>
                    <a:pt x="13" y="259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7" name="Freeform 232"/>
            <p:cNvSpPr>
              <a:spLocks/>
            </p:cNvSpPr>
            <p:nvPr/>
          </p:nvSpPr>
          <p:spPr bwMode="gray">
            <a:xfrm>
              <a:off x="2042" y="2596"/>
              <a:ext cx="160" cy="250"/>
            </a:xfrm>
            <a:custGeom>
              <a:avLst/>
              <a:gdLst>
                <a:gd name="T0" fmla="*/ 5 w 318"/>
                <a:gd name="T1" fmla="*/ 332 h 500"/>
                <a:gd name="T2" fmla="*/ 23 w 318"/>
                <a:gd name="T3" fmla="*/ 344 h 500"/>
                <a:gd name="T4" fmla="*/ 30 w 318"/>
                <a:gd name="T5" fmla="*/ 350 h 500"/>
                <a:gd name="T6" fmla="*/ 38 w 318"/>
                <a:gd name="T7" fmla="*/ 363 h 500"/>
                <a:gd name="T8" fmla="*/ 69 w 318"/>
                <a:gd name="T9" fmla="*/ 367 h 500"/>
                <a:gd name="T10" fmla="*/ 101 w 318"/>
                <a:gd name="T11" fmla="*/ 377 h 500"/>
                <a:gd name="T12" fmla="*/ 107 w 318"/>
                <a:gd name="T13" fmla="*/ 390 h 500"/>
                <a:gd name="T14" fmla="*/ 119 w 318"/>
                <a:gd name="T15" fmla="*/ 403 h 500"/>
                <a:gd name="T16" fmla="*/ 130 w 318"/>
                <a:gd name="T17" fmla="*/ 415 h 500"/>
                <a:gd name="T18" fmla="*/ 147 w 318"/>
                <a:gd name="T19" fmla="*/ 432 h 500"/>
                <a:gd name="T20" fmla="*/ 168 w 318"/>
                <a:gd name="T21" fmla="*/ 430 h 500"/>
                <a:gd name="T22" fmla="*/ 197 w 318"/>
                <a:gd name="T23" fmla="*/ 438 h 500"/>
                <a:gd name="T24" fmla="*/ 216 w 318"/>
                <a:gd name="T25" fmla="*/ 448 h 500"/>
                <a:gd name="T26" fmla="*/ 213 w 318"/>
                <a:gd name="T27" fmla="*/ 500 h 500"/>
                <a:gd name="T28" fmla="*/ 240 w 318"/>
                <a:gd name="T29" fmla="*/ 430 h 500"/>
                <a:gd name="T30" fmla="*/ 234 w 318"/>
                <a:gd name="T31" fmla="*/ 405 h 500"/>
                <a:gd name="T32" fmla="*/ 222 w 318"/>
                <a:gd name="T33" fmla="*/ 392 h 500"/>
                <a:gd name="T34" fmla="*/ 238 w 318"/>
                <a:gd name="T35" fmla="*/ 377 h 500"/>
                <a:gd name="T36" fmla="*/ 230 w 318"/>
                <a:gd name="T37" fmla="*/ 361 h 500"/>
                <a:gd name="T38" fmla="*/ 253 w 318"/>
                <a:gd name="T39" fmla="*/ 357 h 500"/>
                <a:gd name="T40" fmla="*/ 276 w 318"/>
                <a:gd name="T41" fmla="*/ 344 h 500"/>
                <a:gd name="T42" fmla="*/ 295 w 318"/>
                <a:gd name="T43" fmla="*/ 334 h 500"/>
                <a:gd name="T44" fmla="*/ 314 w 318"/>
                <a:gd name="T45" fmla="*/ 350 h 500"/>
                <a:gd name="T46" fmla="*/ 312 w 318"/>
                <a:gd name="T47" fmla="*/ 329 h 500"/>
                <a:gd name="T48" fmla="*/ 309 w 318"/>
                <a:gd name="T49" fmla="*/ 315 h 500"/>
                <a:gd name="T50" fmla="*/ 301 w 318"/>
                <a:gd name="T51" fmla="*/ 305 h 500"/>
                <a:gd name="T52" fmla="*/ 311 w 318"/>
                <a:gd name="T53" fmla="*/ 294 h 500"/>
                <a:gd name="T54" fmla="*/ 318 w 318"/>
                <a:gd name="T55" fmla="*/ 275 h 500"/>
                <a:gd name="T56" fmla="*/ 293 w 318"/>
                <a:gd name="T57" fmla="*/ 259 h 500"/>
                <a:gd name="T58" fmla="*/ 276 w 318"/>
                <a:gd name="T59" fmla="*/ 238 h 500"/>
                <a:gd name="T60" fmla="*/ 266 w 318"/>
                <a:gd name="T61" fmla="*/ 217 h 500"/>
                <a:gd name="T62" fmla="*/ 274 w 318"/>
                <a:gd name="T63" fmla="*/ 196 h 500"/>
                <a:gd name="T64" fmla="*/ 241 w 318"/>
                <a:gd name="T65" fmla="*/ 192 h 500"/>
                <a:gd name="T66" fmla="*/ 230 w 318"/>
                <a:gd name="T67" fmla="*/ 182 h 500"/>
                <a:gd name="T68" fmla="*/ 216 w 318"/>
                <a:gd name="T69" fmla="*/ 167 h 500"/>
                <a:gd name="T70" fmla="*/ 172 w 318"/>
                <a:gd name="T71" fmla="*/ 165 h 500"/>
                <a:gd name="T72" fmla="*/ 167 w 318"/>
                <a:gd name="T73" fmla="*/ 150 h 500"/>
                <a:gd name="T74" fmla="*/ 159 w 318"/>
                <a:gd name="T75" fmla="*/ 127 h 500"/>
                <a:gd name="T76" fmla="*/ 151 w 318"/>
                <a:gd name="T77" fmla="*/ 102 h 500"/>
                <a:gd name="T78" fmla="*/ 138 w 318"/>
                <a:gd name="T79" fmla="*/ 104 h 500"/>
                <a:gd name="T80" fmla="*/ 144 w 318"/>
                <a:gd name="T81" fmla="*/ 65 h 500"/>
                <a:gd name="T82" fmla="*/ 153 w 318"/>
                <a:gd name="T83" fmla="*/ 52 h 500"/>
                <a:gd name="T84" fmla="*/ 180 w 318"/>
                <a:gd name="T85" fmla="*/ 13 h 500"/>
                <a:gd name="T86" fmla="*/ 190 w 318"/>
                <a:gd name="T87" fmla="*/ 4 h 500"/>
                <a:gd name="T88" fmla="*/ 180 w 318"/>
                <a:gd name="T89" fmla="*/ 2 h 500"/>
                <a:gd name="T90" fmla="*/ 172 w 318"/>
                <a:gd name="T91" fmla="*/ 11 h 500"/>
                <a:gd name="T92" fmla="*/ 130 w 318"/>
                <a:gd name="T93" fmla="*/ 31 h 500"/>
                <a:gd name="T94" fmla="*/ 119 w 318"/>
                <a:gd name="T95" fmla="*/ 46 h 500"/>
                <a:gd name="T96" fmla="*/ 97 w 318"/>
                <a:gd name="T97" fmla="*/ 52 h 500"/>
                <a:gd name="T98" fmla="*/ 88 w 318"/>
                <a:gd name="T99" fmla="*/ 73 h 500"/>
                <a:gd name="T100" fmla="*/ 73 w 318"/>
                <a:gd name="T101" fmla="*/ 94 h 500"/>
                <a:gd name="T102" fmla="*/ 65 w 318"/>
                <a:gd name="T103" fmla="*/ 123 h 500"/>
                <a:gd name="T104" fmla="*/ 49 w 318"/>
                <a:gd name="T105" fmla="*/ 123 h 500"/>
                <a:gd name="T106" fmla="*/ 53 w 318"/>
                <a:gd name="T107" fmla="*/ 138 h 500"/>
                <a:gd name="T108" fmla="*/ 46 w 318"/>
                <a:gd name="T109" fmla="*/ 154 h 500"/>
                <a:gd name="T110" fmla="*/ 44 w 318"/>
                <a:gd name="T111" fmla="*/ 207 h 500"/>
                <a:gd name="T112" fmla="*/ 40 w 318"/>
                <a:gd name="T113" fmla="*/ 255 h 500"/>
                <a:gd name="T114" fmla="*/ 38 w 318"/>
                <a:gd name="T115" fmla="*/ 273 h 500"/>
                <a:gd name="T116" fmla="*/ 13 w 318"/>
                <a:gd name="T117" fmla="*/ 298 h 500"/>
                <a:gd name="T118" fmla="*/ 9 w 318"/>
                <a:gd name="T119" fmla="*/ 315 h 500"/>
                <a:gd name="T120" fmla="*/ 0 w 318"/>
                <a:gd name="T121" fmla="*/ 317 h 5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8"/>
                <a:gd name="T184" fmla="*/ 0 h 500"/>
                <a:gd name="T185" fmla="*/ 318 w 318"/>
                <a:gd name="T186" fmla="*/ 500 h 50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8" h="500">
                  <a:moveTo>
                    <a:pt x="3" y="325"/>
                  </a:moveTo>
                  <a:lnTo>
                    <a:pt x="3" y="329"/>
                  </a:lnTo>
                  <a:lnTo>
                    <a:pt x="5" y="332"/>
                  </a:lnTo>
                  <a:lnTo>
                    <a:pt x="11" y="338"/>
                  </a:lnTo>
                  <a:lnTo>
                    <a:pt x="17" y="340"/>
                  </a:lnTo>
                  <a:lnTo>
                    <a:pt x="23" y="344"/>
                  </a:lnTo>
                  <a:lnTo>
                    <a:pt x="26" y="344"/>
                  </a:lnTo>
                  <a:lnTo>
                    <a:pt x="26" y="346"/>
                  </a:lnTo>
                  <a:lnTo>
                    <a:pt x="30" y="350"/>
                  </a:lnTo>
                  <a:lnTo>
                    <a:pt x="32" y="355"/>
                  </a:lnTo>
                  <a:lnTo>
                    <a:pt x="34" y="359"/>
                  </a:lnTo>
                  <a:lnTo>
                    <a:pt x="38" y="363"/>
                  </a:lnTo>
                  <a:lnTo>
                    <a:pt x="61" y="369"/>
                  </a:lnTo>
                  <a:lnTo>
                    <a:pt x="65" y="365"/>
                  </a:lnTo>
                  <a:lnTo>
                    <a:pt x="69" y="367"/>
                  </a:lnTo>
                  <a:lnTo>
                    <a:pt x="76" y="373"/>
                  </a:lnTo>
                  <a:lnTo>
                    <a:pt x="84" y="377"/>
                  </a:lnTo>
                  <a:lnTo>
                    <a:pt x="101" y="377"/>
                  </a:lnTo>
                  <a:lnTo>
                    <a:pt x="101" y="380"/>
                  </a:lnTo>
                  <a:lnTo>
                    <a:pt x="103" y="388"/>
                  </a:lnTo>
                  <a:lnTo>
                    <a:pt x="107" y="390"/>
                  </a:lnTo>
                  <a:lnTo>
                    <a:pt x="113" y="394"/>
                  </a:lnTo>
                  <a:lnTo>
                    <a:pt x="117" y="400"/>
                  </a:lnTo>
                  <a:lnTo>
                    <a:pt x="119" y="403"/>
                  </a:lnTo>
                  <a:lnTo>
                    <a:pt x="121" y="409"/>
                  </a:lnTo>
                  <a:lnTo>
                    <a:pt x="126" y="413"/>
                  </a:lnTo>
                  <a:lnTo>
                    <a:pt x="130" y="415"/>
                  </a:lnTo>
                  <a:lnTo>
                    <a:pt x="144" y="417"/>
                  </a:lnTo>
                  <a:lnTo>
                    <a:pt x="144" y="425"/>
                  </a:lnTo>
                  <a:lnTo>
                    <a:pt x="147" y="432"/>
                  </a:lnTo>
                  <a:lnTo>
                    <a:pt x="165" y="438"/>
                  </a:lnTo>
                  <a:lnTo>
                    <a:pt x="167" y="438"/>
                  </a:lnTo>
                  <a:lnTo>
                    <a:pt x="168" y="430"/>
                  </a:lnTo>
                  <a:lnTo>
                    <a:pt x="180" y="430"/>
                  </a:lnTo>
                  <a:lnTo>
                    <a:pt x="186" y="434"/>
                  </a:lnTo>
                  <a:lnTo>
                    <a:pt x="197" y="438"/>
                  </a:lnTo>
                  <a:lnTo>
                    <a:pt x="213" y="442"/>
                  </a:lnTo>
                  <a:lnTo>
                    <a:pt x="216" y="446"/>
                  </a:lnTo>
                  <a:lnTo>
                    <a:pt x="216" y="448"/>
                  </a:lnTo>
                  <a:lnTo>
                    <a:pt x="193" y="496"/>
                  </a:lnTo>
                  <a:lnTo>
                    <a:pt x="205" y="496"/>
                  </a:lnTo>
                  <a:lnTo>
                    <a:pt x="213" y="500"/>
                  </a:lnTo>
                  <a:lnTo>
                    <a:pt x="218" y="484"/>
                  </a:lnTo>
                  <a:lnTo>
                    <a:pt x="232" y="450"/>
                  </a:lnTo>
                  <a:lnTo>
                    <a:pt x="240" y="430"/>
                  </a:lnTo>
                  <a:lnTo>
                    <a:pt x="240" y="417"/>
                  </a:lnTo>
                  <a:lnTo>
                    <a:pt x="238" y="409"/>
                  </a:lnTo>
                  <a:lnTo>
                    <a:pt x="234" y="405"/>
                  </a:lnTo>
                  <a:lnTo>
                    <a:pt x="226" y="403"/>
                  </a:lnTo>
                  <a:lnTo>
                    <a:pt x="224" y="402"/>
                  </a:lnTo>
                  <a:lnTo>
                    <a:pt x="222" y="392"/>
                  </a:lnTo>
                  <a:lnTo>
                    <a:pt x="241" y="390"/>
                  </a:lnTo>
                  <a:lnTo>
                    <a:pt x="241" y="382"/>
                  </a:lnTo>
                  <a:lnTo>
                    <a:pt x="238" y="377"/>
                  </a:lnTo>
                  <a:lnTo>
                    <a:pt x="228" y="377"/>
                  </a:lnTo>
                  <a:lnTo>
                    <a:pt x="228" y="361"/>
                  </a:lnTo>
                  <a:lnTo>
                    <a:pt x="230" y="361"/>
                  </a:lnTo>
                  <a:lnTo>
                    <a:pt x="236" y="359"/>
                  </a:lnTo>
                  <a:lnTo>
                    <a:pt x="241" y="359"/>
                  </a:lnTo>
                  <a:lnTo>
                    <a:pt x="253" y="357"/>
                  </a:lnTo>
                  <a:lnTo>
                    <a:pt x="268" y="355"/>
                  </a:lnTo>
                  <a:lnTo>
                    <a:pt x="276" y="355"/>
                  </a:lnTo>
                  <a:lnTo>
                    <a:pt x="276" y="344"/>
                  </a:lnTo>
                  <a:lnTo>
                    <a:pt x="284" y="350"/>
                  </a:lnTo>
                  <a:lnTo>
                    <a:pt x="293" y="346"/>
                  </a:lnTo>
                  <a:lnTo>
                    <a:pt x="295" y="334"/>
                  </a:lnTo>
                  <a:lnTo>
                    <a:pt x="305" y="336"/>
                  </a:lnTo>
                  <a:lnTo>
                    <a:pt x="307" y="348"/>
                  </a:lnTo>
                  <a:lnTo>
                    <a:pt x="314" y="350"/>
                  </a:lnTo>
                  <a:lnTo>
                    <a:pt x="316" y="334"/>
                  </a:lnTo>
                  <a:lnTo>
                    <a:pt x="316" y="332"/>
                  </a:lnTo>
                  <a:lnTo>
                    <a:pt x="312" y="329"/>
                  </a:lnTo>
                  <a:lnTo>
                    <a:pt x="311" y="323"/>
                  </a:lnTo>
                  <a:lnTo>
                    <a:pt x="311" y="317"/>
                  </a:lnTo>
                  <a:lnTo>
                    <a:pt x="309" y="315"/>
                  </a:lnTo>
                  <a:lnTo>
                    <a:pt x="305" y="317"/>
                  </a:lnTo>
                  <a:lnTo>
                    <a:pt x="301" y="315"/>
                  </a:lnTo>
                  <a:lnTo>
                    <a:pt x="301" y="305"/>
                  </a:lnTo>
                  <a:lnTo>
                    <a:pt x="303" y="304"/>
                  </a:lnTo>
                  <a:lnTo>
                    <a:pt x="309" y="300"/>
                  </a:lnTo>
                  <a:lnTo>
                    <a:pt x="311" y="294"/>
                  </a:lnTo>
                  <a:lnTo>
                    <a:pt x="314" y="286"/>
                  </a:lnTo>
                  <a:lnTo>
                    <a:pt x="316" y="279"/>
                  </a:lnTo>
                  <a:lnTo>
                    <a:pt x="318" y="275"/>
                  </a:lnTo>
                  <a:lnTo>
                    <a:pt x="312" y="273"/>
                  </a:lnTo>
                  <a:lnTo>
                    <a:pt x="301" y="265"/>
                  </a:lnTo>
                  <a:lnTo>
                    <a:pt x="293" y="259"/>
                  </a:lnTo>
                  <a:lnTo>
                    <a:pt x="289" y="254"/>
                  </a:lnTo>
                  <a:lnTo>
                    <a:pt x="280" y="244"/>
                  </a:lnTo>
                  <a:lnTo>
                    <a:pt x="276" y="238"/>
                  </a:lnTo>
                  <a:lnTo>
                    <a:pt x="270" y="232"/>
                  </a:lnTo>
                  <a:lnTo>
                    <a:pt x="266" y="225"/>
                  </a:lnTo>
                  <a:lnTo>
                    <a:pt x="266" y="217"/>
                  </a:lnTo>
                  <a:lnTo>
                    <a:pt x="270" y="211"/>
                  </a:lnTo>
                  <a:lnTo>
                    <a:pt x="272" y="211"/>
                  </a:lnTo>
                  <a:lnTo>
                    <a:pt x="274" y="196"/>
                  </a:lnTo>
                  <a:lnTo>
                    <a:pt x="270" y="194"/>
                  </a:lnTo>
                  <a:lnTo>
                    <a:pt x="264" y="192"/>
                  </a:lnTo>
                  <a:lnTo>
                    <a:pt x="241" y="192"/>
                  </a:lnTo>
                  <a:lnTo>
                    <a:pt x="238" y="194"/>
                  </a:lnTo>
                  <a:lnTo>
                    <a:pt x="236" y="190"/>
                  </a:lnTo>
                  <a:lnTo>
                    <a:pt x="230" y="182"/>
                  </a:lnTo>
                  <a:lnTo>
                    <a:pt x="226" y="173"/>
                  </a:lnTo>
                  <a:lnTo>
                    <a:pt x="222" y="169"/>
                  </a:lnTo>
                  <a:lnTo>
                    <a:pt x="216" y="167"/>
                  </a:lnTo>
                  <a:lnTo>
                    <a:pt x="211" y="169"/>
                  </a:lnTo>
                  <a:lnTo>
                    <a:pt x="190" y="169"/>
                  </a:lnTo>
                  <a:lnTo>
                    <a:pt x="172" y="165"/>
                  </a:lnTo>
                  <a:lnTo>
                    <a:pt x="172" y="163"/>
                  </a:lnTo>
                  <a:lnTo>
                    <a:pt x="170" y="157"/>
                  </a:lnTo>
                  <a:lnTo>
                    <a:pt x="167" y="150"/>
                  </a:lnTo>
                  <a:lnTo>
                    <a:pt x="159" y="138"/>
                  </a:lnTo>
                  <a:lnTo>
                    <a:pt x="157" y="133"/>
                  </a:lnTo>
                  <a:lnTo>
                    <a:pt x="159" y="127"/>
                  </a:lnTo>
                  <a:lnTo>
                    <a:pt x="161" y="125"/>
                  </a:lnTo>
                  <a:lnTo>
                    <a:pt x="163" y="125"/>
                  </a:lnTo>
                  <a:lnTo>
                    <a:pt x="151" y="102"/>
                  </a:lnTo>
                  <a:lnTo>
                    <a:pt x="142" y="104"/>
                  </a:lnTo>
                  <a:lnTo>
                    <a:pt x="140" y="106"/>
                  </a:lnTo>
                  <a:lnTo>
                    <a:pt x="138" y="104"/>
                  </a:lnTo>
                  <a:lnTo>
                    <a:pt x="142" y="84"/>
                  </a:lnTo>
                  <a:lnTo>
                    <a:pt x="142" y="73"/>
                  </a:lnTo>
                  <a:lnTo>
                    <a:pt x="144" y="65"/>
                  </a:lnTo>
                  <a:lnTo>
                    <a:pt x="144" y="59"/>
                  </a:lnTo>
                  <a:lnTo>
                    <a:pt x="142" y="56"/>
                  </a:lnTo>
                  <a:lnTo>
                    <a:pt x="153" y="52"/>
                  </a:lnTo>
                  <a:lnTo>
                    <a:pt x="163" y="27"/>
                  </a:lnTo>
                  <a:lnTo>
                    <a:pt x="178" y="13"/>
                  </a:lnTo>
                  <a:lnTo>
                    <a:pt x="180" y="13"/>
                  </a:lnTo>
                  <a:lnTo>
                    <a:pt x="186" y="10"/>
                  </a:lnTo>
                  <a:lnTo>
                    <a:pt x="190" y="6"/>
                  </a:lnTo>
                  <a:lnTo>
                    <a:pt x="190" y="4"/>
                  </a:lnTo>
                  <a:lnTo>
                    <a:pt x="188" y="2"/>
                  </a:lnTo>
                  <a:lnTo>
                    <a:pt x="188" y="0"/>
                  </a:lnTo>
                  <a:lnTo>
                    <a:pt x="180" y="2"/>
                  </a:lnTo>
                  <a:lnTo>
                    <a:pt x="176" y="2"/>
                  </a:lnTo>
                  <a:lnTo>
                    <a:pt x="172" y="4"/>
                  </a:lnTo>
                  <a:lnTo>
                    <a:pt x="172" y="11"/>
                  </a:lnTo>
                  <a:lnTo>
                    <a:pt x="142" y="34"/>
                  </a:lnTo>
                  <a:lnTo>
                    <a:pt x="138" y="33"/>
                  </a:lnTo>
                  <a:lnTo>
                    <a:pt x="130" y="31"/>
                  </a:lnTo>
                  <a:lnTo>
                    <a:pt x="122" y="31"/>
                  </a:lnTo>
                  <a:lnTo>
                    <a:pt x="119" y="34"/>
                  </a:lnTo>
                  <a:lnTo>
                    <a:pt x="119" y="46"/>
                  </a:lnTo>
                  <a:lnTo>
                    <a:pt x="115" y="42"/>
                  </a:lnTo>
                  <a:lnTo>
                    <a:pt x="99" y="42"/>
                  </a:lnTo>
                  <a:lnTo>
                    <a:pt x="97" y="52"/>
                  </a:lnTo>
                  <a:lnTo>
                    <a:pt x="97" y="61"/>
                  </a:lnTo>
                  <a:lnTo>
                    <a:pt x="96" y="73"/>
                  </a:lnTo>
                  <a:lnTo>
                    <a:pt x="88" y="73"/>
                  </a:lnTo>
                  <a:lnTo>
                    <a:pt x="88" y="88"/>
                  </a:lnTo>
                  <a:lnTo>
                    <a:pt x="76" y="88"/>
                  </a:lnTo>
                  <a:lnTo>
                    <a:pt x="73" y="94"/>
                  </a:lnTo>
                  <a:lnTo>
                    <a:pt x="67" y="102"/>
                  </a:lnTo>
                  <a:lnTo>
                    <a:pt x="65" y="108"/>
                  </a:lnTo>
                  <a:lnTo>
                    <a:pt x="65" y="123"/>
                  </a:lnTo>
                  <a:lnTo>
                    <a:pt x="59" y="119"/>
                  </a:lnTo>
                  <a:lnTo>
                    <a:pt x="51" y="111"/>
                  </a:lnTo>
                  <a:lnTo>
                    <a:pt x="49" y="123"/>
                  </a:lnTo>
                  <a:lnTo>
                    <a:pt x="53" y="127"/>
                  </a:lnTo>
                  <a:lnTo>
                    <a:pt x="55" y="133"/>
                  </a:lnTo>
                  <a:lnTo>
                    <a:pt x="53" y="138"/>
                  </a:lnTo>
                  <a:lnTo>
                    <a:pt x="49" y="144"/>
                  </a:lnTo>
                  <a:lnTo>
                    <a:pt x="49" y="146"/>
                  </a:lnTo>
                  <a:lnTo>
                    <a:pt x="46" y="154"/>
                  </a:lnTo>
                  <a:lnTo>
                    <a:pt x="46" y="181"/>
                  </a:lnTo>
                  <a:lnTo>
                    <a:pt x="49" y="188"/>
                  </a:lnTo>
                  <a:lnTo>
                    <a:pt x="44" y="207"/>
                  </a:lnTo>
                  <a:lnTo>
                    <a:pt x="40" y="229"/>
                  </a:lnTo>
                  <a:lnTo>
                    <a:pt x="34" y="254"/>
                  </a:lnTo>
                  <a:lnTo>
                    <a:pt x="40" y="255"/>
                  </a:lnTo>
                  <a:lnTo>
                    <a:pt x="44" y="257"/>
                  </a:lnTo>
                  <a:lnTo>
                    <a:pt x="49" y="261"/>
                  </a:lnTo>
                  <a:lnTo>
                    <a:pt x="38" y="273"/>
                  </a:lnTo>
                  <a:lnTo>
                    <a:pt x="26" y="282"/>
                  </a:lnTo>
                  <a:lnTo>
                    <a:pt x="11" y="292"/>
                  </a:lnTo>
                  <a:lnTo>
                    <a:pt x="13" y="298"/>
                  </a:lnTo>
                  <a:lnTo>
                    <a:pt x="7" y="305"/>
                  </a:lnTo>
                  <a:lnTo>
                    <a:pt x="15" y="313"/>
                  </a:lnTo>
                  <a:lnTo>
                    <a:pt x="9" y="315"/>
                  </a:lnTo>
                  <a:lnTo>
                    <a:pt x="3" y="315"/>
                  </a:lnTo>
                  <a:lnTo>
                    <a:pt x="0" y="313"/>
                  </a:lnTo>
                  <a:lnTo>
                    <a:pt x="0" y="317"/>
                  </a:lnTo>
                  <a:lnTo>
                    <a:pt x="3" y="325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8" name="Freeform 233"/>
            <p:cNvSpPr>
              <a:spLocks/>
            </p:cNvSpPr>
            <p:nvPr/>
          </p:nvSpPr>
          <p:spPr bwMode="gray">
            <a:xfrm>
              <a:off x="4277" y="2190"/>
              <a:ext cx="6" cy="5"/>
            </a:xfrm>
            <a:custGeom>
              <a:avLst/>
              <a:gdLst>
                <a:gd name="T0" fmla="*/ 5 w 11"/>
                <a:gd name="T1" fmla="*/ 0 h 12"/>
                <a:gd name="T2" fmla="*/ 11 w 11"/>
                <a:gd name="T3" fmla="*/ 12 h 12"/>
                <a:gd name="T4" fmla="*/ 5 w 11"/>
                <a:gd name="T5" fmla="*/ 12 h 12"/>
                <a:gd name="T6" fmla="*/ 2 w 11"/>
                <a:gd name="T7" fmla="*/ 8 h 12"/>
                <a:gd name="T8" fmla="*/ 0 w 11"/>
                <a:gd name="T9" fmla="*/ 0 h 12"/>
                <a:gd name="T10" fmla="*/ 5 w 11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12"/>
                <a:gd name="T20" fmla="*/ 11 w 11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12">
                  <a:moveTo>
                    <a:pt x="5" y="0"/>
                  </a:moveTo>
                  <a:lnTo>
                    <a:pt x="11" y="12"/>
                  </a:lnTo>
                  <a:lnTo>
                    <a:pt x="5" y="12"/>
                  </a:lnTo>
                  <a:lnTo>
                    <a:pt x="2" y="8"/>
                  </a:lnTo>
                  <a:lnTo>
                    <a:pt x="0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29" name="Freeform 234"/>
            <p:cNvSpPr>
              <a:spLocks/>
            </p:cNvSpPr>
            <p:nvPr/>
          </p:nvSpPr>
          <p:spPr bwMode="gray">
            <a:xfrm>
              <a:off x="4528" y="2277"/>
              <a:ext cx="7" cy="6"/>
            </a:xfrm>
            <a:custGeom>
              <a:avLst/>
              <a:gdLst>
                <a:gd name="T0" fmla="*/ 7 w 13"/>
                <a:gd name="T1" fmla="*/ 0 h 11"/>
                <a:gd name="T2" fmla="*/ 11 w 13"/>
                <a:gd name="T3" fmla="*/ 4 h 11"/>
                <a:gd name="T4" fmla="*/ 13 w 13"/>
                <a:gd name="T5" fmla="*/ 10 h 11"/>
                <a:gd name="T6" fmla="*/ 7 w 13"/>
                <a:gd name="T7" fmla="*/ 11 h 11"/>
                <a:gd name="T8" fmla="*/ 0 w 13"/>
                <a:gd name="T9" fmla="*/ 10 h 11"/>
                <a:gd name="T10" fmla="*/ 0 w 13"/>
                <a:gd name="T11" fmla="*/ 4 h 11"/>
                <a:gd name="T12" fmla="*/ 7 w 13"/>
                <a:gd name="T13" fmla="*/ 0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1"/>
                <a:gd name="T23" fmla="*/ 13 w 13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1">
                  <a:moveTo>
                    <a:pt x="7" y="0"/>
                  </a:moveTo>
                  <a:lnTo>
                    <a:pt x="11" y="4"/>
                  </a:lnTo>
                  <a:lnTo>
                    <a:pt x="13" y="10"/>
                  </a:lnTo>
                  <a:lnTo>
                    <a:pt x="7" y="11"/>
                  </a:lnTo>
                  <a:lnTo>
                    <a:pt x="0" y="10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0" name="Freeform 235"/>
            <p:cNvSpPr>
              <a:spLocks/>
            </p:cNvSpPr>
            <p:nvPr/>
          </p:nvSpPr>
          <p:spPr bwMode="gray">
            <a:xfrm>
              <a:off x="4523" y="2285"/>
              <a:ext cx="7" cy="7"/>
            </a:xfrm>
            <a:custGeom>
              <a:avLst/>
              <a:gdLst>
                <a:gd name="T0" fmla="*/ 8 w 13"/>
                <a:gd name="T1" fmla="*/ 0 h 16"/>
                <a:gd name="T2" fmla="*/ 12 w 13"/>
                <a:gd name="T3" fmla="*/ 6 h 16"/>
                <a:gd name="T4" fmla="*/ 13 w 13"/>
                <a:gd name="T5" fmla="*/ 12 h 16"/>
                <a:gd name="T6" fmla="*/ 4 w 13"/>
                <a:gd name="T7" fmla="*/ 16 h 16"/>
                <a:gd name="T8" fmla="*/ 2 w 13"/>
                <a:gd name="T9" fmla="*/ 12 h 16"/>
                <a:gd name="T10" fmla="*/ 0 w 13"/>
                <a:gd name="T11" fmla="*/ 4 h 16"/>
                <a:gd name="T12" fmla="*/ 8 w 13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6"/>
                <a:gd name="T23" fmla="*/ 13 w 13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6">
                  <a:moveTo>
                    <a:pt x="8" y="0"/>
                  </a:moveTo>
                  <a:lnTo>
                    <a:pt x="12" y="6"/>
                  </a:lnTo>
                  <a:lnTo>
                    <a:pt x="13" y="12"/>
                  </a:lnTo>
                  <a:lnTo>
                    <a:pt x="4" y="16"/>
                  </a:lnTo>
                  <a:lnTo>
                    <a:pt x="2" y="12"/>
                  </a:lnTo>
                  <a:lnTo>
                    <a:pt x="0" y="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1" name="Freeform 236"/>
            <p:cNvSpPr>
              <a:spLocks/>
            </p:cNvSpPr>
            <p:nvPr/>
          </p:nvSpPr>
          <p:spPr bwMode="gray">
            <a:xfrm>
              <a:off x="4478" y="2319"/>
              <a:ext cx="7" cy="4"/>
            </a:xfrm>
            <a:custGeom>
              <a:avLst/>
              <a:gdLst>
                <a:gd name="T0" fmla="*/ 6 w 13"/>
                <a:gd name="T1" fmla="*/ 0 h 8"/>
                <a:gd name="T2" fmla="*/ 13 w 13"/>
                <a:gd name="T3" fmla="*/ 2 h 8"/>
                <a:gd name="T4" fmla="*/ 13 w 13"/>
                <a:gd name="T5" fmla="*/ 6 h 8"/>
                <a:gd name="T6" fmla="*/ 11 w 13"/>
                <a:gd name="T7" fmla="*/ 8 h 8"/>
                <a:gd name="T8" fmla="*/ 0 w 13"/>
                <a:gd name="T9" fmla="*/ 2 h 8"/>
                <a:gd name="T10" fmla="*/ 6 w 13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8"/>
                <a:gd name="T20" fmla="*/ 13 w 13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8">
                  <a:moveTo>
                    <a:pt x="6" y="0"/>
                  </a:moveTo>
                  <a:lnTo>
                    <a:pt x="13" y="2"/>
                  </a:lnTo>
                  <a:lnTo>
                    <a:pt x="13" y="6"/>
                  </a:lnTo>
                  <a:lnTo>
                    <a:pt x="11" y="8"/>
                  </a:lnTo>
                  <a:lnTo>
                    <a:pt x="0" y="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2" name="Freeform 237"/>
            <p:cNvSpPr>
              <a:spLocks/>
            </p:cNvSpPr>
            <p:nvPr/>
          </p:nvSpPr>
          <p:spPr bwMode="gray">
            <a:xfrm>
              <a:off x="4424" y="2325"/>
              <a:ext cx="12" cy="8"/>
            </a:xfrm>
            <a:custGeom>
              <a:avLst/>
              <a:gdLst>
                <a:gd name="T0" fmla="*/ 4 w 23"/>
                <a:gd name="T1" fmla="*/ 0 h 15"/>
                <a:gd name="T2" fmla="*/ 10 w 23"/>
                <a:gd name="T3" fmla="*/ 4 h 15"/>
                <a:gd name="T4" fmla="*/ 23 w 23"/>
                <a:gd name="T5" fmla="*/ 4 h 15"/>
                <a:gd name="T6" fmla="*/ 23 w 23"/>
                <a:gd name="T7" fmla="*/ 8 h 15"/>
                <a:gd name="T8" fmla="*/ 20 w 23"/>
                <a:gd name="T9" fmla="*/ 8 h 15"/>
                <a:gd name="T10" fmla="*/ 20 w 23"/>
                <a:gd name="T11" fmla="*/ 15 h 15"/>
                <a:gd name="T12" fmla="*/ 4 w 23"/>
                <a:gd name="T13" fmla="*/ 15 h 15"/>
                <a:gd name="T14" fmla="*/ 0 w 23"/>
                <a:gd name="T15" fmla="*/ 10 h 15"/>
                <a:gd name="T16" fmla="*/ 0 w 23"/>
                <a:gd name="T17" fmla="*/ 2 h 15"/>
                <a:gd name="T18" fmla="*/ 4 w 23"/>
                <a:gd name="T19" fmla="*/ 0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15"/>
                <a:gd name="T32" fmla="*/ 23 w 2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15">
                  <a:moveTo>
                    <a:pt x="4" y="0"/>
                  </a:moveTo>
                  <a:lnTo>
                    <a:pt x="10" y="4"/>
                  </a:lnTo>
                  <a:lnTo>
                    <a:pt x="23" y="4"/>
                  </a:lnTo>
                  <a:lnTo>
                    <a:pt x="23" y="8"/>
                  </a:lnTo>
                  <a:lnTo>
                    <a:pt x="20" y="8"/>
                  </a:lnTo>
                  <a:lnTo>
                    <a:pt x="20" y="15"/>
                  </a:lnTo>
                  <a:lnTo>
                    <a:pt x="4" y="15"/>
                  </a:lnTo>
                  <a:lnTo>
                    <a:pt x="0" y="10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3" name="Freeform 238"/>
            <p:cNvSpPr>
              <a:spLocks/>
            </p:cNvSpPr>
            <p:nvPr/>
          </p:nvSpPr>
          <p:spPr bwMode="gray">
            <a:xfrm>
              <a:off x="4382" y="2473"/>
              <a:ext cx="34" cy="31"/>
            </a:xfrm>
            <a:custGeom>
              <a:avLst/>
              <a:gdLst>
                <a:gd name="T0" fmla="*/ 46 w 67"/>
                <a:gd name="T1" fmla="*/ 0 h 61"/>
                <a:gd name="T2" fmla="*/ 31 w 67"/>
                <a:gd name="T3" fmla="*/ 6 h 61"/>
                <a:gd name="T4" fmla="*/ 13 w 67"/>
                <a:gd name="T5" fmla="*/ 17 h 61"/>
                <a:gd name="T6" fmla="*/ 0 w 67"/>
                <a:gd name="T7" fmla="*/ 27 h 61"/>
                <a:gd name="T8" fmla="*/ 4 w 67"/>
                <a:gd name="T9" fmla="*/ 44 h 61"/>
                <a:gd name="T10" fmla="*/ 13 w 67"/>
                <a:gd name="T11" fmla="*/ 59 h 61"/>
                <a:gd name="T12" fmla="*/ 34 w 67"/>
                <a:gd name="T13" fmla="*/ 61 h 61"/>
                <a:gd name="T14" fmla="*/ 48 w 67"/>
                <a:gd name="T15" fmla="*/ 52 h 61"/>
                <a:gd name="T16" fmla="*/ 56 w 67"/>
                <a:gd name="T17" fmla="*/ 35 h 61"/>
                <a:gd name="T18" fmla="*/ 61 w 67"/>
                <a:gd name="T19" fmla="*/ 15 h 61"/>
                <a:gd name="T20" fmla="*/ 67 w 67"/>
                <a:gd name="T21" fmla="*/ 13 h 61"/>
                <a:gd name="T22" fmla="*/ 65 w 67"/>
                <a:gd name="T23" fmla="*/ 4 h 61"/>
                <a:gd name="T24" fmla="*/ 46 w 67"/>
                <a:gd name="T25" fmla="*/ 0 h 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7"/>
                <a:gd name="T40" fmla="*/ 0 h 61"/>
                <a:gd name="T41" fmla="*/ 67 w 67"/>
                <a:gd name="T42" fmla="*/ 61 h 6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7" h="61">
                  <a:moveTo>
                    <a:pt x="46" y="0"/>
                  </a:moveTo>
                  <a:lnTo>
                    <a:pt x="31" y="6"/>
                  </a:lnTo>
                  <a:lnTo>
                    <a:pt x="13" y="17"/>
                  </a:lnTo>
                  <a:lnTo>
                    <a:pt x="0" y="27"/>
                  </a:lnTo>
                  <a:lnTo>
                    <a:pt x="4" y="44"/>
                  </a:lnTo>
                  <a:lnTo>
                    <a:pt x="13" y="59"/>
                  </a:lnTo>
                  <a:lnTo>
                    <a:pt x="34" y="61"/>
                  </a:lnTo>
                  <a:lnTo>
                    <a:pt x="48" y="52"/>
                  </a:lnTo>
                  <a:lnTo>
                    <a:pt x="56" y="35"/>
                  </a:lnTo>
                  <a:lnTo>
                    <a:pt x="61" y="15"/>
                  </a:lnTo>
                  <a:lnTo>
                    <a:pt x="67" y="13"/>
                  </a:lnTo>
                  <a:lnTo>
                    <a:pt x="65" y="4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4" name="Freeform 239"/>
            <p:cNvSpPr>
              <a:spLocks/>
            </p:cNvSpPr>
            <p:nvPr/>
          </p:nvSpPr>
          <p:spPr bwMode="gray">
            <a:xfrm>
              <a:off x="4443" y="2427"/>
              <a:ext cx="3" cy="4"/>
            </a:xfrm>
            <a:custGeom>
              <a:avLst/>
              <a:gdLst>
                <a:gd name="T0" fmla="*/ 6 w 6"/>
                <a:gd name="T1" fmla="*/ 0 h 7"/>
                <a:gd name="T2" fmla="*/ 6 w 6"/>
                <a:gd name="T3" fmla="*/ 4 h 7"/>
                <a:gd name="T4" fmla="*/ 2 w 6"/>
                <a:gd name="T5" fmla="*/ 7 h 7"/>
                <a:gd name="T6" fmla="*/ 0 w 6"/>
                <a:gd name="T7" fmla="*/ 4 h 7"/>
                <a:gd name="T8" fmla="*/ 0 w 6"/>
                <a:gd name="T9" fmla="*/ 0 h 7"/>
                <a:gd name="T10" fmla="*/ 6 w 6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6" y="0"/>
                  </a:moveTo>
                  <a:lnTo>
                    <a:pt x="6" y="4"/>
                  </a:lnTo>
                  <a:lnTo>
                    <a:pt x="2" y="7"/>
                  </a:lnTo>
                  <a:lnTo>
                    <a:pt x="0" y="4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5" name="Freeform 240"/>
            <p:cNvSpPr>
              <a:spLocks/>
            </p:cNvSpPr>
            <p:nvPr/>
          </p:nvSpPr>
          <p:spPr bwMode="gray">
            <a:xfrm>
              <a:off x="3940" y="1893"/>
              <a:ext cx="765" cy="576"/>
            </a:xfrm>
            <a:custGeom>
              <a:avLst/>
              <a:gdLst>
                <a:gd name="T0" fmla="*/ 1522 w 1532"/>
                <a:gd name="T1" fmla="*/ 246 h 1153"/>
                <a:gd name="T2" fmla="*/ 1501 w 1532"/>
                <a:gd name="T3" fmla="*/ 202 h 1153"/>
                <a:gd name="T4" fmla="*/ 1432 w 1532"/>
                <a:gd name="T5" fmla="*/ 190 h 1153"/>
                <a:gd name="T6" fmla="*/ 1355 w 1532"/>
                <a:gd name="T7" fmla="*/ 125 h 1153"/>
                <a:gd name="T8" fmla="*/ 1267 w 1532"/>
                <a:gd name="T9" fmla="*/ 10 h 1153"/>
                <a:gd name="T10" fmla="*/ 1173 w 1532"/>
                <a:gd name="T11" fmla="*/ 46 h 1153"/>
                <a:gd name="T12" fmla="*/ 1150 w 1532"/>
                <a:gd name="T13" fmla="*/ 125 h 1153"/>
                <a:gd name="T14" fmla="*/ 1067 w 1532"/>
                <a:gd name="T15" fmla="*/ 173 h 1153"/>
                <a:gd name="T16" fmla="*/ 1121 w 1532"/>
                <a:gd name="T17" fmla="*/ 210 h 1153"/>
                <a:gd name="T18" fmla="*/ 1131 w 1532"/>
                <a:gd name="T19" fmla="*/ 262 h 1153"/>
                <a:gd name="T20" fmla="*/ 1025 w 1532"/>
                <a:gd name="T21" fmla="*/ 306 h 1153"/>
                <a:gd name="T22" fmla="*/ 950 w 1532"/>
                <a:gd name="T23" fmla="*/ 363 h 1153"/>
                <a:gd name="T24" fmla="*/ 831 w 1532"/>
                <a:gd name="T25" fmla="*/ 425 h 1153"/>
                <a:gd name="T26" fmla="*/ 662 w 1532"/>
                <a:gd name="T27" fmla="*/ 408 h 1153"/>
                <a:gd name="T28" fmla="*/ 541 w 1532"/>
                <a:gd name="T29" fmla="*/ 338 h 1153"/>
                <a:gd name="T30" fmla="*/ 470 w 1532"/>
                <a:gd name="T31" fmla="*/ 262 h 1153"/>
                <a:gd name="T32" fmla="*/ 386 w 1532"/>
                <a:gd name="T33" fmla="*/ 162 h 1153"/>
                <a:gd name="T34" fmla="*/ 263 w 1532"/>
                <a:gd name="T35" fmla="*/ 231 h 1153"/>
                <a:gd name="T36" fmla="*/ 192 w 1532"/>
                <a:gd name="T37" fmla="*/ 323 h 1153"/>
                <a:gd name="T38" fmla="*/ 165 w 1532"/>
                <a:gd name="T39" fmla="*/ 411 h 1153"/>
                <a:gd name="T40" fmla="*/ 90 w 1532"/>
                <a:gd name="T41" fmla="*/ 458 h 1153"/>
                <a:gd name="T42" fmla="*/ 50 w 1532"/>
                <a:gd name="T43" fmla="*/ 492 h 1153"/>
                <a:gd name="T44" fmla="*/ 8 w 1532"/>
                <a:gd name="T45" fmla="*/ 504 h 1153"/>
                <a:gd name="T46" fmla="*/ 25 w 1532"/>
                <a:gd name="T47" fmla="*/ 556 h 1153"/>
                <a:gd name="T48" fmla="*/ 81 w 1532"/>
                <a:gd name="T49" fmla="*/ 632 h 1153"/>
                <a:gd name="T50" fmla="*/ 152 w 1532"/>
                <a:gd name="T51" fmla="*/ 671 h 1153"/>
                <a:gd name="T52" fmla="*/ 146 w 1532"/>
                <a:gd name="T53" fmla="*/ 757 h 1153"/>
                <a:gd name="T54" fmla="*/ 182 w 1532"/>
                <a:gd name="T55" fmla="*/ 819 h 1153"/>
                <a:gd name="T56" fmla="*/ 286 w 1532"/>
                <a:gd name="T57" fmla="*/ 859 h 1153"/>
                <a:gd name="T58" fmla="*/ 388 w 1532"/>
                <a:gd name="T59" fmla="*/ 905 h 1153"/>
                <a:gd name="T60" fmla="*/ 491 w 1532"/>
                <a:gd name="T61" fmla="*/ 900 h 1153"/>
                <a:gd name="T62" fmla="*/ 574 w 1532"/>
                <a:gd name="T63" fmla="*/ 905 h 1153"/>
                <a:gd name="T64" fmla="*/ 632 w 1532"/>
                <a:gd name="T65" fmla="*/ 936 h 1153"/>
                <a:gd name="T66" fmla="*/ 622 w 1532"/>
                <a:gd name="T67" fmla="*/ 1032 h 1153"/>
                <a:gd name="T68" fmla="*/ 658 w 1532"/>
                <a:gd name="T69" fmla="*/ 1063 h 1153"/>
                <a:gd name="T70" fmla="*/ 703 w 1532"/>
                <a:gd name="T71" fmla="*/ 1121 h 1153"/>
                <a:gd name="T72" fmla="*/ 766 w 1532"/>
                <a:gd name="T73" fmla="*/ 1080 h 1153"/>
                <a:gd name="T74" fmla="*/ 839 w 1532"/>
                <a:gd name="T75" fmla="*/ 1115 h 1153"/>
                <a:gd name="T76" fmla="*/ 921 w 1532"/>
                <a:gd name="T77" fmla="*/ 1153 h 1153"/>
                <a:gd name="T78" fmla="*/ 935 w 1532"/>
                <a:gd name="T79" fmla="*/ 1126 h 1153"/>
                <a:gd name="T80" fmla="*/ 1008 w 1532"/>
                <a:gd name="T81" fmla="*/ 1084 h 1153"/>
                <a:gd name="T82" fmla="*/ 1065 w 1532"/>
                <a:gd name="T83" fmla="*/ 1076 h 1153"/>
                <a:gd name="T84" fmla="*/ 1138 w 1532"/>
                <a:gd name="T85" fmla="*/ 1015 h 1153"/>
                <a:gd name="T86" fmla="*/ 1148 w 1532"/>
                <a:gd name="T87" fmla="*/ 961 h 1153"/>
                <a:gd name="T88" fmla="*/ 1179 w 1532"/>
                <a:gd name="T89" fmla="*/ 923 h 1153"/>
                <a:gd name="T90" fmla="*/ 1202 w 1532"/>
                <a:gd name="T91" fmla="*/ 884 h 1153"/>
                <a:gd name="T92" fmla="*/ 1215 w 1532"/>
                <a:gd name="T93" fmla="*/ 836 h 1153"/>
                <a:gd name="T94" fmla="*/ 1204 w 1532"/>
                <a:gd name="T95" fmla="*/ 809 h 1153"/>
                <a:gd name="T96" fmla="*/ 1173 w 1532"/>
                <a:gd name="T97" fmla="*/ 730 h 1153"/>
                <a:gd name="T98" fmla="*/ 1157 w 1532"/>
                <a:gd name="T99" fmla="*/ 698 h 1153"/>
                <a:gd name="T100" fmla="*/ 1177 w 1532"/>
                <a:gd name="T101" fmla="*/ 629 h 1153"/>
                <a:gd name="T102" fmla="*/ 1200 w 1532"/>
                <a:gd name="T103" fmla="*/ 582 h 1153"/>
                <a:gd name="T104" fmla="*/ 1125 w 1532"/>
                <a:gd name="T105" fmla="*/ 577 h 1153"/>
                <a:gd name="T106" fmla="*/ 1144 w 1532"/>
                <a:gd name="T107" fmla="*/ 513 h 1153"/>
                <a:gd name="T108" fmla="*/ 1223 w 1532"/>
                <a:gd name="T109" fmla="*/ 477 h 1153"/>
                <a:gd name="T110" fmla="*/ 1267 w 1532"/>
                <a:gd name="T111" fmla="*/ 498 h 1153"/>
                <a:gd name="T112" fmla="*/ 1336 w 1532"/>
                <a:gd name="T113" fmla="*/ 417 h 1153"/>
                <a:gd name="T114" fmla="*/ 1403 w 1532"/>
                <a:gd name="T115" fmla="*/ 402 h 1153"/>
                <a:gd name="T116" fmla="*/ 1442 w 1532"/>
                <a:gd name="T117" fmla="*/ 342 h 115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2"/>
                <a:gd name="T178" fmla="*/ 0 h 1153"/>
                <a:gd name="T179" fmla="*/ 1532 w 1532"/>
                <a:gd name="T180" fmla="*/ 1153 h 115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2" h="1153">
                  <a:moveTo>
                    <a:pt x="1470" y="310"/>
                  </a:moveTo>
                  <a:lnTo>
                    <a:pt x="1476" y="313"/>
                  </a:lnTo>
                  <a:lnTo>
                    <a:pt x="1482" y="306"/>
                  </a:lnTo>
                  <a:lnTo>
                    <a:pt x="1491" y="300"/>
                  </a:lnTo>
                  <a:lnTo>
                    <a:pt x="1495" y="290"/>
                  </a:lnTo>
                  <a:lnTo>
                    <a:pt x="1503" y="287"/>
                  </a:lnTo>
                  <a:lnTo>
                    <a:pt x="1513" y="275"/>
                  </a:lnTo>
                  <a:lnTo>
                    <a:pt x="1520" y="263"/>
                  </a:lnTo>
                  <a:lnTo>
                    <a:pt x="1522" y="246"/>
                  </a:lnTo>
                  <a:lnTo>
                    <a:pt x="1522" y="237"/>
                  </a:lnTo>
                  <a:lnTo>
                    <a:pt x="1528" y="229"/>
                  </a:lnTo>
                  <a:lnTo>
                    <a:pt x="1530" y="215"/>
                  </a:lnTo>
                  <a:lnTo>
                    <a:pt x="1524" y="210"/>
                  </a:lnTo>
                  <a:lnTo>
                    <a:pt x="1524" y="200"/>
                  </a:lnTo>
                  <a:lnTo>
                    <a:pt x="1532" y="185"/>
                  </a:lnTo>
                  <a:lnTo>
                    <a:pt x="1516" y="190"/>
                  </a:lnTo>
                  <a:lnTo>
                    <a:pt x="1511" y="198"/>
                  </a:lnTo>
                  <a:lnTo>
                    <a:pt x="1501" y="202"/>
                  </a:lnTo>
                  <a:lnTo>
                    <a:pt x="1491" y="202"/>
                  </a:lnTo>
                  <a:lnTo>
                    <a:pt x="1484" y="208"/>
                  </a:lnTo>
                  <a:lnTo>
                    <a:pt x="1474" y="215"/>
                  </a:lnTo>
                  <a:lnTo>
                    <a:pt x="1465" y="221"/>
                  </a:lnTo>
                  <a:lnTo>
                    <a:pt x="1457" y="225"/>
                  </a:lnTo>
                  <a:lnTo>
                    <a:pt x="1445" y="217"/>
                  </a:lnTo>
                  <a:lnTo>
                    <a:pt x="1436" y="212"/>
                  </a:lnTo>
                  <a:lnTo>
                    <a:pt x="1428" y="202"/>
                  </a:lnTo>
                  <a:lnTo>
                    <a:pt x="1432" y="190"/>
                  </a:lnTo>
                  <a:lnTo>
                    <a:pt x="1426" y="181"/>
                  </a:lnTo>
                  <a:lnTo>
                    <a:pt x="1417" y="169"/>
                  </a:lnTo>
                  <a:lnTo>
                    <a:pt x="1411" y="156"/>
                  </a:lnTo>
                  <a:lnTo>
                    <a:pt x="1407" y="144"/>
                  </a:lnTo>
                  <a:lnTo>
                    <a:pt x="1399" y="139"/>
                  </a:lnTo>
                  <a:lnTo>
                    <a:pt x="1384" y="133"/>
                  </a:lnTo>
                  <a:lnTo>
                    <a:pt x="1374" y="131"/>
                  </a:lnTo>
                  <a:lnTo>
                    <a:pt x="1363" y="131"/>
                  </a:lnTo>
                  <a:lnTo>
                    <a:pt x="1355" y="125"/>
                  </a:lnTo>
                  <a:lnTo>
                    <a:pt x="1347" y="108"/>
                  </a:lnTo>
                  <a:lnTo>
                    <a:pt x="1336" y="91"/>
                  </a:lnTo>
                  <a:lnTo>
                    <a:pt x="1332" y="75"/>
                  </a:lnTo>
                  <a:lnTo>
                    <a:pt x="1332" y="64"/>
                  </a:lnTo>
                  <a:lnTo>
                    <a:pt x="1324" y="50"/>
                  </a:lnTo>
                  <a:lnTo>
                    <a:pt x="1317" y="41"/>
                  </a:lnTo>
                  <a:lnTo>
                    <a:pt x="1303" y="31"/>
                  </a:lnTo>
                  <a:lnTo>
                    <a:pt x="1286" y="29"/>
                  </a:lnTo>
                  <a:lnTo>
                    <a:pt x="1267" y="10"/>
                  </a:lnTo>
                  <a:lnTo>
                    <a:pt x="1257" y="2"/>
                  </a:lnTo>
                  <a:lnTo>
                    <a:pt x="1242" y="0"/>
                  </a:lnTo>
                  <a:lnTo>
                    <a:pt x="1234" y="4"/>
                  </a:lnTo>
                  <a:lnTo>
                    <a:pt x="1221" y="8"/>
                  </a:lnTo>
                  <a:lnTo>
                    <a:pt x="1207" y="8"/>
                  </a:lnTo>
                  <a:lnTo>
                    <a:pt x="1198" y="16"/>
                  </a:lnTo>
                  <a:lnTo>
                    <a:pt x="1179" y="35"/>
                  </a:lnTo>
                  <a:lnTo>
                    <a:pt x="1175" y="41"/>
                  </a:lnTo>
                  <a:lnTo>
                    <a:pt x="1173" y="46"/>
                  </a:lnTo>
                  <a:lnTo>
                    <a:pt x="1180" y="46"/>
                  </a:lnTo>
                  <a:lnTo>
                    <a:pt x="1182" y="60"/>
                  </a:lnTo>
                  <a:lnTo>
                    <a:pt x="1180" y="71"/>
                  </a:lnTo>
                  <a:lnTo>
                    <a:pt x="1175" y="77"/>
                  </a:lnTo>
                  <a:lnTo>
                    <a:pt x="1179" y="91"/>
                  </a:lnTo>
                  <a:lnTo>
                    <a:pt x="1169" y="104"/>
                  </a:lnTo>
                  <a:lnTo>
                    <a:pt x="1161" y="116"/>
                  </a:lnTo>
                  <a:lnTo>
                    <a:pt x="1157" y="119"/>
                  </a:lnTo>
                  <a:lnTo>
                    <a:pt x="1150" y="125"/>
                  </a:lnTo>
                  <a:lnTo>
                    <a:pt x="1150" y="133"/>
                  </a:lnTo>
                  <a:lnTo>
                    <a:pt x="1146" y="139"/>
                  </a:lnTo>
                  <a:lnTo>
                    <a:pt x="1138" y="140"/>
                  </a:lnTo>
                  <a:lnTo>
                    <a:pt x="1133" y="142"/>
                  </a:lnTo>
                  <a:lnTo>
                    <a:pt x="1117" y="158"/>
                  </a:lnTo>
                  <a:lnTo>
                    <a:pt x="1106" y="150"/>
                  </a:lnTo>
                  <a:lnTo>
                    <a:pt x="1090" y="140"/>
                  </a:lnTo>
                  <a:lnTo>
                    <a:pt x="1077" y="144"/>
                  </a:lnTo>
                  <a:lnTo>
                    <a:pt x="1067" y="173"/>
                  </a:lnTo>
                  <a:lnTo>
                    <a:pt x="1067" y="177"/>
                  </a:lnTo>
                  <a:lnTo>
                    <a:pt x="1071" y="185"/>
                  </a:lnTo>
                  <a:lnTo>
                    <a:pt x="1069" y="194"/>
                  </a:lnTo>
                  <a:lnTo>
                    <a:pt x="1063" y="206"/>
                  </a:lnTo>
                  <a:lnTo>
                    <a:pt x="1061" y="217"/>
                  </a:lnTo>
                  <a:lnTo>
                    <a:pt x="1083" y="225"/>
                  </a:lnTo>
                  <a:lnTo>
                    <a:pt x="1098" y="221"/>
                  </a:lnTo>
                  <a:lnTo>
                    <a:pt x="1113" y="208"/>
                  </a:lnTo>
                  <a:lnTo>
                    <a:pt x="1121" y="210"/>
                  </a:lnTo>
                  <a:lnTo>
                    <a:pt x="1127" y="217"/>
                  </a:lnTo>
                  <a:lnTo>
                    <a:pt x="1138" y="229"/>
                  </a:lnTo>
                  <a:lnTo>
                    <a:pt x="1156" y="235"/>
                  </a:lnTo>
                  <a:lnTo>
                    <a:pt x="1165" y="244"/>
                  </a:lnTo>
                  <a:lnTo>
                    <a:pt x="1161" y="256"/>
                  </a:lnTo>
                  <a:lnTo>
                    <a:pt x="1157" y="254"/>
                  </a:lnTo>
                  <a:lnTo>
                    <a:pt x="1148" y="254"/>
                  </a:lnTo>
                  <a:lnTo>
                    <a:pt x="1140" y="258"/>
                  </a:lnTo>
                  <a:lnTo>
                    <a:pt x="1131" y="262"/>
                  </a:lnTo>
                  <a:lnTo>
                    <a:pt x="1125" y="267"/>
                  </a:lnTo>
                  <a:lnTo>
                    <a:pt x="1123" y="271"/>
                  </a:lnTo>
                  <a:lnTo>
                    <a:pt x="1106" y="267"/>
                  </a:lnTo>
                  <a:lnTo>
                    <a:pt x="1088" y="281"/>
                  </a:lnTo>
                  <a:lnTo>
                    <a:pt x="1079" y="275"/>
                  </a:lnTo>
                  <a:lnTo>
                    <a:pt x="1071" y="277"/>
                  </a:lnTo>
                  <a:lnTo>
                    <a:pt x="1067" y="288"/>
                  </a:lnTo>
                  <a:lnTo>
                    <a:pt x="1058" y="296"/>
                  </a:lnTo>
                  <a:lnTo>
                    <a:pt x="1025" y="306"/>
                  </a:lnTo>
                  <a:lnTo>
                    <a:pt x="1021" y="323"/>
                  </a:lnTo>
                  <a:lnTo>
                    <a:pt x="1000" y="335"/>
                  </a:lnTo>
                  <a:lnTo>
                    <a:pt x="989" y="329"/>
                  </a:lnTo>
                  <a:lnTo>
                    <a:pt x="975" y="315"/>
                  </a:lnTo>
                  <a:lnTo>
                    <a:pt x="964" y="313"/>
                  </a:lnTo>
                  <a:lnTo>
                    <a:pt x="954" y="321"/>
                  </a:lnTo>
                  <a:lnTo>
                    <a:pt x="948" y="335"/>
                  </a:lnTo>
                  <a:lnTo>
                    <a:pt x="946" y="348"/>
                  </a:lnTo>
                  <a:lnTo>
                    <a:pt x="950" y="363"/>
                  </a:lnTo>
                  <a:lnTo>
                    <a:pt x="954" y="375"/>
                  </a:lnTo>
                  <a:lnTo>
                    <a:pt x="946" y="388"/>
                  </a:lnTo>
                  <a:lnTo>
                    <a:pt x="935" y="394"/>
                  </a:lnTo>
                  <a:lnTo>
                    <a:pt x="914" y="398"/>
                  </a:lnTo>
                  <a:lnTo>
                    <a:pt x="891" y="406"/>
                  </a:lnTo>
                  <a:lnTo>
                    <a:pt x="868" y="404"/>
                  </a:lnTo>
                  <a:lnTo>
                    <a:pt x="854" y="408"/>
                  </a:lnTo>
                  <a:lnTo>
                    <a:pt x="845" y="410"/>
                  </a:lnTo>
                  <a:lnTo>
                    <a:pt x="831" y="425"/>
                  </a:lnTo>
                  <a:lnTo>
                    <a:pt x="814" y="431"/>
                  </a:lnTo>
                  <a:lnTo>
                    <a:pt x="797" y="431"/>
                  </a:lnTo>
                  <a:lnTo>
                    <a:pt x="779" y="436"/>
                  </a:lnTo>
                  <a:lnTo>
                    <a:pt x="754" y="436"/>
                  </a:lnTo>
                  <a:lnTo>
                    <a:pt x="741" y="427"/>
                  </a:lnTo>
                  <a:lnTo>
                    <a:pt x="729" y="413"/>
                  </a:lnTo>
                  <a:lnTo>
                    <a:pt x="722" y="411"/>
                  </a:lnTo>
                  <a:lnTo>
                    <a:pt x="683" y="410"/>
                  </a:lnTo>
                  <a:lnTo>
                    <a:pt x="662" y="408"/>
                  </a:lnTo>
                  <a:lnTo>
                    <a:pt x="641" y="404"/>
                  </a:lnTo>
                  <a:lnTo>
                    <a:pt x="622" y="408"/>
                  </a:lnTo>
                  <a:lnTo>
                    <a:pt x="607" y="404"/>
                  </a:lnTo>
                  <a:lnTo>
                    <a:pt x="593" y="396"/>
                  </a:lnTo>
                  <a:lnTo>
                    <a:pt x="582" y="383"/>
                  </a:lnTo>
                  <a:lnTo>
                    <a:pt x="566" y="373"/>
                  </a:lnTo>
                  <a:lnTo>
                    <a:pt x="559" y="363"/>
                  </a:lnTo>
                  <a:lnTo>
                    <a:pt x="553" y="350"/>
                  </a:lnTo>
                  <a:lnTo>
                    <a:pt x="541" y="338"/>
                  </a:lnTo>
                  <a:lnTo>
                    <a:pt x="528" y="335"/>
                  </a:lnTo>
                  <a:lnTo>
                    <a:pt x="520" y="329"/>
                  </a:lnTo>
                  <a:lnTo>
                    <a:pt x="507" y="319"/>
                  </a:lnTo>
                  <a:lnTo>
                    <a:pt x="490" y="317"/>
                  </a:lnTo>
                  <a:lnTo>
                    <a:pt x="476" y="313"/>
                  </a:lnTo>
                  <a:lnTo>
                    <a:pt x="472" y="302"/>
                  </a:lnTo>
                  <a:lnTo>
                    <a:pt x="476" y="287"/>
                  </a:lnTo>
                  <a:lnTo>
                    <a:pt x="480" y="275"/>
                  </a:lnTo>
                  <a:lnTo>
                    <a:pt x="470" y="262"/>
                  </a:lnTo>
                  <a:lnTo>
                    <a:pt x="457" y="256"/>
                  </a:lnTo>
                  <a:lnTo>
                    <a:pt x="457" y="248"/>
                  </a:lnTo>
                  <a:lnTo>
                    <a:pt x="442" y="231"/>
                  </a:lnTo>
                  <a:lnTo>
                    <a:pt x="426" y="221"/>
                  </a:lnTo>
                  <a:lnTo>
                    <a:pt x="411" y="225"/>
                  </a:lnTo>
                  <a:lnTo>
                    <a:pt x="399" y="221"/>
                  </a:lnTo>
                  <a:lnTo>
                    <a:pt x="390" y="214"/>
                  </a:lnTo>
                  <a:lnTo>
                    <a:pt x="384" y="185"/>
                  </a:lnTo>
                  <a:lnTo>
                    <a:pt x="386" y="162"/>
                  </a:lnTo>
                  <a:lnTo>
                    <a:pt x="374" y="169"/>
                  </a:lnTo>
                  <a:lnTo>
                    <a:pt x="340" y="175"/>
                  </a:lnTo>
                  <a:lnTo>
                    <a:pt x="328" y="185"/>
                  </a:lnTo>
                  <a:lnTo>
                    <a:pt x="319" y="196"/>
                  </a:lnTo>
                  <a:lnTo>
                    <a:pt x="305" y="202"/>
                  </a:lnTo>
                  <a:lnTo>
                    <a:pt x="301" y="210"/>
                  </a:lnTo>
                  <a:lnTo>
                    <a:pt x="300" y="221"/>
                  </a:lnTo>
                  <a:lnTo>
                    <a:pt x="278" y="231"/>
                  </a:lnTo>
                  <a:lnTo>
                    <a:pt x="263" y="231"/>
                  </a:lnTo>
                  <a:lnTo>
                    <a:pt x="253" y="239"/>
                  </a:lnTo>
                  <a:lnTo>
                    <a:pt x="246" y="252"/>
                  </a:lnTo>
                  <a:lnTo>
                    <a:pt x="236" y="262"/>
                  </a:lnTo>
                  <a:lnTo>
                    <a:pt x="230" y="281"/>
                  </a:lnTo>
                  <a:lnTo>
                    <a:pt x="234" y="296"/>
                  </a:lnTo>
                  <a:lnTo>
                    <a:pt x="242" y="304"/>
                  </a:lnTo>
                  <a:lnTo>
                    <a:pt x="236" y="313"/>
                  </a:lnTo>
                  <a:lnTo>
                    <a:pt x="213" y="313"/>
                  </a:lnTo>
                  <a:lnTo>
                    <a:pt x="192" y="323"/>
                  </a:lnTo>
                  <a:lnTo>
                    <a:pt x="173" y="327"/>
                  </a:lnTo>
                  <a:lnTo>
                    <a:pt x="167" y="333"/>
                  </a:lnTo>
                  <a:lnTo>
                    <a:pt x="171" y="340"/>
                  </a:lnTo>
                  <a:lnTo>
                    <a:pt x="182" y="354"/>
                  </a:lnTo>
                  <a:lnTo>
                    <a:pt x="190" y="363"/>
                  </a:lnTo>
                  <a:lnTo>
                    <a:pt x="179" y="386"/>
                  </a:lnTo>
                  <a:lnTo>
                    <a:pt x="179" y="406"/>
                  </a:lnTo>
                  <a:lnTo>
                    <a:pt x="171" y="410"/>
                  </a:lnTo>
                  <a:lnTo>
                    <a:pt x="165" y="411"/>
                  </a:lnTo>
                  <a:lnTo>
                    <a:pt x="159" y="415"/>
                  </a:lnTo>
                  <a:lnTo>
                    <a:pt x="148" y="427"/>
                  </a:lnTo>
                  <a:lnTo>
                    <a:pt x="142" y="429"/>
                  </a:lnTo>
                  <a:lnTo>
                    <a:pt x="134" y="433"/>
                  </a:lnTo>
                  <a:lnTo>
                    <a:pt x="131" y="440"/>
                  </a:lnTo>
                  <a:lnTo>
                    <a:pt x="131" y="444"/>
                  </a:lnTo>
                  <a:lnTo>
                    <a:pt x="121" y="448"/>
                  </a:lnTo>
                  <a:lnTo>
                    <a:pt x="104" y="450"/>
                  </a:lnTo>
                  <a:lnTo>
                    <a:pt x="90" y="458"/>
                  </a:lnTo>
                  <a:lnTo>
                    <a:pt x="86" y="465"/>
                  </a:lnTo>
                  <a:lnTo>
                    <a:pt x="86" y="473"/>
                  </a:lnTo>
                  <a:lnTo>
                    <a:pt x="83" y="481"/>
                  </a:lnTo>
                  <a:lnTo>
                    <a:pt x="77" y="484"/>
                  </a:lnTo>
                  <a:lnTo>
                    <a:pt x="69" y="484"/>
                  </a:lnTo>
                  <a:lnTo>
                    <a:pt x="62" y="486"/>
                  </a:lnTo>
                  <a:lnTo>
                    <a:pt x="58" y="488"/>
                  </a:lnTo>
                  <a:lnTo>
                    <a:pt x="54" y="492"/>
                  </a:lnTo>
                  <a:lnTo>
                    <a:pt x="50" y="492"/>
                  </a:lnTo>
                  <a:lnTo>
                    <a:pt x="46" y="488"/>
                  </a:lnTo>
                  <a:lnTo>
                    <a:pt x="44" y="484"/>
                  </a:lnTo>
                  <a:lnTo>
                    <a:pt x="40" y="481"/>
                  </a:lnTo>
                  <a:lnTo>
                    <a:pt x="35" y="481"/>
                  </a:lnTo>
                  <a:lnTo>
                    <a:pt x="19" y="496"/>
                  </a:lnTo>
                  <a:lnTo>
                    <a:pt x="17" y="500"/>
                  </a:lnTo>
                  <a:lnTo>
                    <a:pt x="14" y="500"/>
                  </a:lnTo>
                  <a:lnTo>
                    <a:pt x="12" y="502"/>
                  </a:lnTo>
                  <a:lnTo>
                    <a:pt x="8" y="504"/>
                  </a:lnTo>
                  <a:lnTo>
                    <a:pt x="4" y="508"/>
                  </a:lnTo>
                  <a:lnTo>
                    <a:pt x="0" y="509"/>
                  </a:lnTo>
                  <a:lnTo>
                    <a:pt x="2" y="525"/>
                  </a:lnTo>
                  <a:lnTo>
                    <a:pt x="2" y="533"/>
                  </a:lnTo>
                  <a:lnTo>
                    <a:pt x="8" y="540"/>
                  </a:lnTo>
                  <a:lnTo>
                    <a:pt x="25" y="533"/>
                  </a:lnTo>
                  <a:lnTo>
                    <a:pt x="29" y="536"/>
                  </a:lnTo>
                  <a:lnTo>
                    <a:pt x="27" y="544"/>
                  </a:lnTo>
                  <a:lnTo>
                    <a:pt x="25" y="556"/>
                  </a:lnTo>
                  <a:lnTo>
                    <a:pt x="31" y="569"/>
                  </a:lnTo>
                  <a:lnTo>
                    <a:pt x="33" y="582"/>
                  </a:lnTo>
                  <a:lnTo>
                    <a:pt x="38" y="586"/>
                  </a:lnTo>
                  <a:lnTo>
                    <a:pt x="38" y="596"/>
                  </a:lnTo>
                  <a:lnTo>
                    <a:pt x="29" y="598"/>
                  </a:lnTo>
                  <a:lnTo>
                    <a:pt x="29" y="607"/>
                  </a:lnTo>
                  <a:lnTo>
                    <a:pt x="46" y="607"/>
                  </a:lnTo>
                  <a:lnTo>
                    <a:pt x="75" y="625"/>
                  </a:lnTo>
                  <a:lnTo>
                    <a:pt x="81" y="632"/>
                  </a:lnTo>
                  <a:lnTo>
                    <a:pt x="92" y="644"/>
                  </a:lnTo>
                  <a:lnTo>
                    <a:pt x="108" y="629"/>
                  </a:lnTo>
                  <a:lnTo>
                    <a:pt x="119" y="629"/>
                  </a:lnTo>
                  <a:lnTo>
                    <a:pt x="131" y="632"/>
                  </a:lnTo>
                  <a:lnTo>
                    <a:pt x="142" y="632"/>
                  </a:lnTo>
                  <a:lnTo>
                    <a:pt x="146" y="644"/>
                  </a:lnTo>
                  <a:lnTo>
                    <a:pt x="154" y="652"/>
                  </a:lnTo>
                  <a:lnTo>
                    <a:pt x="157" y="663"/>
                  </a:lnTo>
                  <a:lnTo>
                    <a:pt x="152" y="671"/>
                  </a:lnTo>
                  <a:lnTo>
                    <a:pt x="150" y="679"/>
                  </a:lnTo>
                  <a:lnTo>
                    <a:pt x="138" y="694"/>
                  </a:lnTo>
                  <a:lnTo>
                    <a:pt x="133" y="704"/>
                  </a:lnTo>
                  <a:lnTo>
                    <a:pt x="127" y="709"/>
                  </a:lnTo>
                  <a:lnTo>
                    <a:pt x="121" y="721"/>
                  </a:lnTo>
                  <a:lnTo>
                    <a:pt x="133" y="729"/>
                  </a:lnTo>
                  <a:lnTo>
                    <a:pt x="138" y="738"/>
                  </a:lnTo>
                  <a:lnTo>
                    <a:pt x="136" y="754"/>
                  </a:lnTo>
                  <a:lnTo>
                    <a:pt x="146" y="757"/>
                  </a:lnTo>
                  <a:lnTo>
                    <a:pt x="152" y="759"/>
                  </a:lnTo>
                  <a:lnTo>
                    <a:pt x="152" y="767"/>
                  </a:lnTo>
                  <a:lnTo>
                    <a:pt x="148" y="780"/>
                  </a:lnTo>
                  <a:lnTo>
                    <a:pt x="150" y="788"/>
                  </a:lnTo>
                  <a:lnTo>
                    <a:pt x="144" y="794"/>
                  </a:lnTo>
                  <a:lnTo>
                    <a:pt x="148" y="805"/>
                  </a:lnTo>
                  <a:lnTo>
                    <a:pt x="161" y="809"/>
                  </a:lnTo>
                  <a:lnTo>
                    <a:pt x="171" y="817"/>
                  </a:lnTo>
                  <a:lnTo>
                    <a:pt x="182" y="819"/>
                  </a:lnTo>
                  <a:lnTo>
                    <a:pt x="194" y="827"/>
                  </a:lnTo>
                  <a:lnTo>
                    <a:pt x="202" y="834"/>
                  </a:lnTo>
                  <a:lnTo>
                    <a:pt x="219" y="834"/>
                  </a:lnTo>
                  <a:lnTo>
                    <a:pt x="232" y="836"/>
                  </a:lnTo>
                  <a:lnTo>
                    <a:pt x="240" y="838"/>
                  </a:lnTo>
                  <a:lnTo>
                    <a:pt x="252" y="855"/>
                  </a:lnTo>
                  <a:lnTo>
                    <a:pt x="263" y="855"/>
                  </a:lnTo>
                  <a:lnTo>
                    <a:pt x="276" y="853"/>
                  </a:lnTo>
                  <a:lnTo>
                    <a:pt x="286" y="859"/>
                  </a:lnTo>
                  <a:lnTo>
                    <a:pt x="286" y="871"/>
                  </a:lnTo>
                  <a:lnTo>
                    <a:pt x="300" y="877"/>
                  </a:lnTo>
                  <a:lnTo>
                    <a:pt x="309" y="890"/>
                  </a:lnTo>
                  <a:lnTo>
                    <a:pt x="315" y="898"/>
                  </a:lnTo>
                  <a:lnTo>
                    <a:pt x="328" y="900"/>
                  </a:lnTo>
                  <a:lnTo>
                    <a:pt x="340" y="907"/>
                  </a:lnTo>
                  <a:lnTo>
                    <a:pt x="361" y="907"/>
                  </a:lnTo>
                  <a:lnTo>
                    <a:pt x="378" y="911"/>
                  </a:lnTo>
                  <a:lnTo>
                    <a:pt x="388" y="905"/>
                  </a:lnTo>
                  <a:lnTo>
                    <a:pt x="397" y="907"/>
                  </a:lnTo>
                  <a:lnTo>
                    <a:pt x="405" y="921"/>
                  </a:lnTo>
                  <a:lnTo>
                    <a:pt x="417" y="901"/>
                  </a:lnTo>
                  <a:lnTo>
                    <a:pt x="424" y="896"/>
                  </a:lnTo>
                  <a:lnTo>
                    <a:pt x="438" y="896"/>
                  </a:lnTo>
                  <a:lnTo>
                    <a:pt x="451" y="900"/>
                  </a:lnTo>
                  <a:lnTo>
                    <a:pt x="463" y="900"/>
                  </a:lnTo>
                  <a:lnTo>
                    <a:pt x="476" y="901"/>
                  </a:lnTo>
                  <a:lnTo>
                    <a:pt x="491" y="900"/>
                  </a:lnTo>
                  <a:lnTo>
                    <a:pt x="505" y="892"/>
                  </a:lnTo>
                  <a:lnTo>
                    <a:pt x="514" y="886"/>
                  </a:lnTo>
                  <a:lnTo>
                    <a:pt x="528" y="884"/>
                  </a:lnTo>
                  <a:lnTo>
                    <a:pt x="536" y="886"/>
                  </a:lnTo>
                  <a:lnTo>
                    <a:pt x="545" y="878"/>
                  </a:lnTo>
                  <a:lnTo>
                    <a:pt x="555" y="880"/>
                  </a:lnTo>
                  <a:lnTo>
                    <a:pt x="568" y="884"/>
                  </a:lnTo>
                  <a:lnTo>
                    <a:pt x="568" y="900"/>
                  </a:lnTo>
                  <a:lnTo>
                    <a:pt x="574" y="905"/>
                  </a:lnTo>
                  <a:lnTo>
                    <a:pt x="584" y="903"/>
                  </a:lnTo>
                  <a:lnTo>
                    <a:pt x="589" y="905"/>
                  </a:lnTo>
                  <a:lnTo>
                    <a:pt x="597" y="909"/>
                  </a:lnTo>
                  <a:lnTo>
                    <a:pt x="607" y="911"/>
                  </a:lnTo>
                  <a:lnTo>
                    <a:pt x="610" y="921"/>
                  </a:lnTo>
                  <a:lnTo>
                    <a:pt x="612" y="928"/>
                  </a:lnTo>
                  <a:lnTo>
                    <a:pt x="620" y="926"/>
                  </a:lnTo>
                  <a:lnTo>
                    <a:pt x="628" y="926"/>
                  </a:lnTo>
                  <a:lnTo>
                    <a:pt x="632" y="936"/>
                  </a:lnTo>
                  <a:lnTo>
                    <a:pt x="637" y="946"/>
                  </a:lnTo>
                  <a:lnTo>
                    <a:pt x="633" y="959"/>
                  </a:lnTo>
                  <a:lnTo>
                    <a:pt x="637" y="969"/>
                  </a:lnTo>
                  <a:lnTo>
                    <a:pt x="635" y="976"/>
                  </a:lnTo>
                  <a:lnTo>
                    <a:pt x="633" y="994"/>
                  </a:lnTo>
                  <a:lnTo>
                    <a:pt x="626" y="1005"/>
                  </a:lnTo>
                  <a:lnTo>
                    <a:pt x="616" y="1017"/>
                  </a:lnTo>
                  <a:lnTo>
                    <a:pt x="616" y="1024"/>
                  </a:lnTo>
                  <a:lnTo>
                    <a:pt x="622" y="1032"/>
                  </a:lnTo>
                  <a:lnTo>
                    <a:pt x="622" y="1042"/>
                  </a:lnTo>
                  <a:lnTo>
                    <a:pt x="624" y="1046"/>
                  </a:lnTo>
                  <a:lnTo>
                    <a:pt x="628" y="1046"/>
                  </a:lnTo>
                  <a:lnTo>
                    <a:pt x="633" y="1040"/>
                  </a:lnTo>
                  <a:lnTo>
                    <a:pt x="643" y="1036"/>
                  </a:lnTo>
                  <a:lnTo>
                    <a:pt x="651" y="1036"/>
                  </a:lnTo>
                  <a:lnTo>
                    <a:pt x="657" y="1044"/>
                  </a:lnTo>
                  <a:lnTo>
                    <a:pt x="655" y="1051"/>
                  </a:lnTo>
                  <a:lnTo>
                    <a:pt x="658" y="1063"/>
                  </a:lnTo>
                  <a:lnTo>
                    <a:pt x="666" y="1063"/>
                  </a:lnTo>
                  <a:lnTo>
                    <a:pt x="668" y="1067"/>
                  </a:lnTo>
                  <a:lnTo>
                    <a:pt x="660" y="1082"/>
                  </a:lnTo>
                  <a:lnTo>
                    <a:pt x="660" y="1088"/>
                  </a:lnTo>
                  <a:lnTo>
                    <a:pt x="670" y="1090"/>
                  </a:lnTo>
                  <a:lnTo>
                    <a:pt x="678" y="1092"/>
                  </a:lnTo>
                  <a:lnTo>
                    <a:pt x="681" y="1105"/>
                  </a:lnTo>
                  <a:lnTo>
                    <a:pt x="683" y="1115"/>
                  </a:lnTo>
                  <a:lnTo>
                    <a:pt x="703" y="1121"/>
                  </a:lnTo>
                  <a:lnTo>
                    <a:pt x="708" y="1122"/>
                  </a:lnTo>
                  <a:lnTo>
                    <a:pt x="718" y="1115"/>
                  </a:lnTo>
                  <a:lnTo>
                    <a:pt x="722" y="1101"/>
                  </a:lnTo>
                  <a:lnTo>
                    <a:pt x="712" y="1076"/>
                  </a:lnTo>
                  <a:lnTo>
                    <a:pt x="716" y="1067"/>
                  </a:lnTo>
                  <a:lnTo>
                    <a:pt x="729" y="1065"/>
                  </a:lnTo>
                  <a:lnTo>
                    <a:pt x="743" y="1076"/>
                  </a:lnTo>
                  <a:lnTo>
                    <a:pt x="754" y="1073"/>
                  </a:lnTo>
                  <a:lnTo>
                    <a:pt x="766" y="1080"/>
                  </a:lnTo>
                  <a:lnTo>
                    <a:pt x="776" y="1073"/>
                  </a:lnTo>
                  <a:lnTo>
                    <a:pt x="793" y="1073"/>
                  </a:lnTo>
                  <a:lnTo>
                    <a:pt x="800" y="1067"/>
                  </a:lnTo>
                  <a:lnTo>
                    <a:pt x="812" y="1069"/>
                  </a:lnTo>
                  <a:lnTo>
                    <a:pt x="823" y="1080"/>
                  </a:lnTo>
                  <a:lnTo>
                    <a:pt x="831" y="1082"/>
                  </a:lnTo>
                  <a:lnTo>
                    <a:pt x="831" y="1088"/>
                  </a:lnTo>
                  <a:lnTo>
                    <a:pt x="825" y="1099"/>
                  </a:lnTo>
                  <a:lnTo>
                    <a:pt x="839" y="1115"/>
                  </a:lnTo>
                  <a:lnTo>
                    <a:pt x="848" y="1109"/>
                  </a:lnTo>
                  <a:lnTo>
                    <a:pt x="864" y="1109"/>
                  </a:lnTo>
                  <a:lnTo>
                    <a:pt x="873" y="1113"/>
                  </a:lnTo>
                  <a:lnTo>
                    <a:pt x="887" y="1109"/>
                  </a:lnTo>
                  <a:lnTo>
                    <a:pt x="900" y="1107"/>
                  </a:lnTo>
                  <a:lnTo>
                    <a:pt x="914" y="1107"/>
                  </a:lnTo>
                  <a:lnTo>
                    <a:pt x="912" y="1124"/>
                  </a:lnTo>
                  <a:lnTo>
                    <a:pt x="914" y="1138"/>
                  </a:lnTo>
                  <a:lnTo>
                    <a:pt x="921" y="1153"/>
                  </a:lnTo>
                  <a:lnTo>
                    <a:pt x="929" y="1149"/>
                  </a:lnTo>
                  <a:lnTo>
                    <a:pt x="935" y="1149"/>
                  </a:lnTo>
                  <a:lnTo>
                    <a:pt x="933" y="1146"/>
                  </a:lnTo>
                  <a:lnTo>
                    <a:pt x="935" y="1142"/>
                  </a:lnTo>
                  <a:lnTo>
                    <a:pt x="935" y="1138"/>
                  </a:lnTo>
                  <a:lnTo>
                    <a:pt x="931" y="1138"/>
                  </a:lnTo>
                  <a:lnTo>
                    <a:pt x="927" y="1134"/>
                  </a:lnTo>
                  <a:lnTo>
                    <a:pt x="927" y="1130"/>
                  </a:lnTo>
                  <a:lnTo>
                    <a:pt x="935" y="1126"/>
                  </a:lnTo>
                  <a:lnTo>
                    <a:pt x="941" y="1122"/>
                  </a:lnTo>
                  <a:lnTo>
                    <a:pt x="950" y="1119"/>
                  </a:lnTo>
                  <a:lnTo>
                    <a:pt x="954" y="1111"/>
                  </a:lnTo>
                  <a:lnTo>
                    <a:pt x="958" y="1107"/>
                  </a:lnTo>
                  <a:lnTo>
                    <a:pt x="969" y="1103"/>
                  </a:lnTo>
                  <a:lnTo>
                    <a:pt x="985" y="1103"/>
                  </a:lnTo>
                  <a:lnTo>
                    <a:pt x="998" y="1099"/>
                  </a:lnTo>
                  <a:lnTo>
                    <a:pt x="1004" y="1094"/>
                  </a:lnTo>
                  <a:lnTo>
                    <a:pt x="1008" y="1084"/>
                  </a:lnTo>
                  <a:lnTo>
                    <a:pt x="1014" y="1076"/>
                  </a:lnTo>
                  <a:lnTo>
                    <a:pt x="1025" y="1088"/>
                  </a:lnTo>
                  <a:lnTo>
                    <a:pt x="1029" y="1086"/>
                  </a:lnTo>
                  <a:lnTo>
                    <a:pt x="1035" y="1082"/>
                  </a:lnTo>
                  <a:lnTo>
                    <a:pt x="1037" y="1080"/>
                  </a:lnTo>
                  <a:lnTo>
                    <a:pt x="1042" y="1080"/>
                  </a:lnTo>
                  <a:lnTo>
                    <a:pt x="1048" y="1078"/>
                  </a:lnTo>
                  <a:lnTo>
                    <a:pt x="1050" y="1076"/>
                  </a:lnTo>
                  <a:lnTo>
                    <a:pt x="1065" y="1076"/>
                  </a:lnTo>
                  <a:lnTo>
                    <a:pt x="1075" y="1073"/>
                  </a:lnTo>
                  <a:lnTo>
                    <a:pt x="1075" y="1053"/>
                  </a:lnTo>
                  <a:lnTo>
                    <a:pt x="1086" y="1048"/>
                  </a:lnTo>
                  <a:lnTo>
                    <a:pt x="1100" y="1040"/>
                  </a:lnTo>
                  <a:lnTo>
                    <a:pt x="1111" y="1034"/>
                  </a:lnTo>
                  <a:lnTo>
                    <a:pt x="1111" y="1019"/>
                  </a:lnTo>
                  <a:lnTo>
                    <a:pt x="1121" y="1017"/>
                  </a:lnTo>
                  <a:lnTo>
                    <a:pt x="1131" y="1017"/>
                  </a:lnTo>
                  <a:lnTo>
                    <a:pt x="1138" y="1015"/>
                  </a:lnTo>
                  <a:lnTo>
                    <a:pt x="1136" y="1003"/>
                  </a:lnTo>
                  <a:lnTo>
                    <a:pt x="1144" y="1000"/>
                  </a:lnTo>
                  <a:lnTo>
                    <a:pt x="1138" y="1000"/>
                  </a:lnTo>
                  <a:lnTo>
                    <a:pt x="1138" y="992"/>
                  </a:lnTo>
                  <a:lnTo>
                    <a:pt x="1156" y="992"/>
                  </a:lnTo>
                  <a:lnTo>
                    <a:pt x="1154" y="980"/>
                  </a:lnTo>
                  <a:lnTo>
                    <a:pt x="1156" y="971"/>
                  </a:lnTo>
                  <a:lnTo>
                    <a:pt x="1156" y="965"/>
                  </a:lnTo>
                  <a:lnTo>
                    <a:pt x="1148" y="961"/>
                  </a:lnTo>
                  <a:lnTo>
                    <a:pt x="1148" y="957"/>
                  </a:lnTo>
                  <a:lnTo>
                    <a:pt x="1150" y="957"/>
                  </a:lnTo>
                  <a:lnTo>
                    <a:pt x="1152" y="951"/>
                  </a:lnTo>
                  <a:lnTo>
                    <a:pt x="1152" y="944"/>
                  </a:lnTo>
                  <a:lnTo>
                    <a:pt x="1156" y="938"/>
                  </a:lnTo>
                  <a:lnTo>
                    <a:pt x="1165" y="938"/>
                  </a:lnTo>
                  <a:lnTo>
                    <a:pt x="1169" y="934"/>
                  </a:lnTo>
                  <a:lnTo>
                    <a:pt x="1173" y="928"/>
                  </a:lnTo>
                  <a:lnTo>
                    <a:pt x="1179" y="923"/>
                  </a:lnTo>
                  <a:lnTo>
                    <a:pt x="1182" y="923"/>
                  </a:lnTo>
                  <a:lnTo>
                    <a:pt x="1182" y="919"/>
                  </a:lnTo>
                  <a:lnTo>
                    <a:pt x="1180" y="913"/>
                  </a:lnTo>
                  <a:lnTo>
                    <a:pt x="1182" y="907"/>
                  </a:lnTo>
                  <a:lnTo>
                    <a:pt x="1184" y="903"/>
                  </a:lnTo>
                  <a:lnTo>
                    <a:pt x="1192" y="892"/>
                  </a:lnTo>
                  <a:lnTo>
                    <a:pt x="1198" y="894"/>
                  </a:lnTo>
                  <a:lnTo>
                    <a:pt x="1204" y="892"/>
                  </a:lnTo>
                  <a:lnTo>
                    <a:pt x="1202" y="884"/>
                  </a:lnTo>
                  <a:lnTo>
                    <a:pt x="1200" y="878"/>
                  </a:lnTo>
                  <a:lnTo>
                    <a:pt x="1200" y="861"/>
                  </a:lnTo>
                  <a:lnTo>
                    <a:pt x="1209" y="861"/>
                  </a:lnTo>
                  <a:lnTo>
                    <a:pt x="1213" y="850"/>
                  </a:lnTo>
                  <a:lnTo>
                    <a:pt x="1209" y="848"/>
                  </a:lnTo>
                  <a:lnTo>
                    <a:pt x="1207" y="848"/>
                  </a:lnTo>
                  <a:lnTo>
                    <a:pt x="1211" y="844"/>
                  </a:lnTo>
                  <a:lnTo>
                    <a:pt x="1219" y="838"/>
                  </a:lnTo>
                  <a:lnTo>
                    <a:pt x="1215" y="836"/>
                  </a:lnTo>
                  <a:lnTo>
                    <a:pt x="1209" y="830"/>
                  </a:lnTo>
                  <a:lnTo>
                    <a:pt x="1207" y="827"/>
                  </a:lnTo>
                  <a:lnTo>
                    <a:pt x="1200" y="828"/>
                  </a:lnTo>
                  <a:lnTo>
                    <a:pt x="1194" y="828"/>
                  </a:lnTo>
                  <a:lnTo>
                    <a:pt x="1192" y="830"/>
                  </a:lnTo>
                  <a:lnTo>
                    <a:pt x="1190" y="830"/>
                  </a:lnTo>
                  <a:lnTo>
                    <a:pt x="1186" y="827"/>
                  </a:lnTo>
                  <a:lnTo>
                    <a:pt x="1184" y="823"/>
                  </a:lnTo>
                  <a:lnTo>
                    <a:pt x="1204" y="809"/>
                  </a:lnTo>
                  <a:lnTo>
                    <a:pt x="1209" y="796"/>
                  </a:lnTo>
                  <a:lnTo>
                    <a:pt x="1192" y="777"/>
                  </a:lnTo>
                  <a:lnTo>
                    <a:pt x="1200" y="777"/>
                  </a:lnTo>
                  <a:lnTo>
                    <a:pt x="1198" y="775"/>
                  </a:lnTo>
                  <a:lnTo>
                    <a:pt x="1198" y="769"/>
                  </a:lnTo>
                  <a:lnTo>
                    <a:pt x="1200" y="765"/>
                  </a:lnTo>
                  <a:lnTo>
                    <a:pt x="1192" y="755"/>
                  </a:lnTo>
                  <a:lnTo>
                    <a:pt x="1180" y="746"/>
                  </a:lnTo>
                  <a:lnTo>
                    <a:pt x="1173" y="730"/>
                  </a:lnTo>
                  <a:lnTo>
                    <a:pt x="1175" y="725"/>
                  </a:lnTo>
                  <a:lnTo>
                    <a:pt x="1175" y="719"/>
                  </a:lnTo>
                  <a:lnTo>
                    <a:pt x="1171" y="717"/>
                  </a:lnTo>
                  <a:lnTo>
                    <a:pt x="1167" y="717"/>
                  </a:lnTo>
                  <a:lnTo>
                    <a:pt x="1163" y="715"/>
                  </a:lnTo>
                  <a:lnTo>
                    <a:pt x="1161" y="713"/>
                  </a:lnTo>
                  <a:lnTo>
                    <a:pt x="1167" y="711"/>
                  </a:lnTo>
                  <a:lnTo>
                    <a:pt x="1165" y="707"/>
                  </a:lnTo>
                  <a:lnTo>
                    <a:pt x="1157" y="698"/>
                  </a:lnTo>
                  <a:lnTo>
                    <a:pt x="1150" y="682"/>
                  </a:lnTo>
                  <a:lnTo>
                    <a:pt x="1150" y="661"/>
                  </a:lnTo>
                  <a:lnTo>
                    <a:pt x="1156" y="656"/>
                  </a:lnTo>
                  <a:lnTo>
                    <a:pt x="1163" y="652"/>
                  </a:lnTo>
                  <a:lnTo>
                    <a:pt x="1171" y="646"/>
                  </a:lnTo>
                  <a:lnTo>
                    <a:pt x="1171" y="644"/>
                  </a:lnTo>
                  <a:lnTo>
                    <a:pt x="1167" y="642"/>
                  </a:lnTo>
                  <a:lnTo>
                    <a:pt x="1165" y="638"/>
                  </a:lnTo>
                  <a:lnTo>
                    <a:pt x="1177" y="629"/>
                  </a:lnTo>
                  <a:lnTo>
                    <a:pt x="1188" y="617"/>
                  </a:lnTo>
                  <a:lnTo>
                    <a:pt x="1200" y="609"/>
                  </a:lnTo>
                  <a:lnTo>
                    <a:pt x="1209" y="606"/>
                  </a:lnTo>
                  <a:lnTo>
                    <a:pt x="1221" y="604"/>
                  </a:lnTo>
                  <a:lnTo>
                    <a:pt x="1230" y="602"/>
                  </a:lnTo>
                  <a:lnTo>
                    <a:pt x="1230" y="596"/>
                  </a:lnTo>
                  <a:lnTo>
                    <a:pt x="1232" y="586"/>
                  </a:lnTo>
                  <a:lnTo>
                    <a:pt x="1234" y="582"/>
                  </a:lnTo>
                  <a:lnTo>
                    <a:pt x="1200" y="582"/>
                  </a:lnTo>
                  <a:lnTo>
                    <a:pt x="1196" y="579"/>
                  </a:lnTo>
                  <a:lnTo>
                    <a:pt x="1188" y="575"/>
                  </a:lnTo>
                  <a:lnTo>
                    <a:pt x="1175" y="575"/>
                  </a:lnTo>
                  <a:lnTo>
                    <a:pt x="1167" y="579"/>
                  </a:lnTo>
                  <a:lnTo>
                    <a:pt x="1161" y="588"/>
                  </a:lnTo>
                  <a:lnTo>
                    <a:pt x="1156" y="594"/>
                  </a:lnTo>
                  <a:lnTo>
                    <a:pt x="1148" y="596"/>
                  </a:lnTo>
                  <a:lnTo>
                    <a:pt x="1136" y="596"/>
                  </a:lnTo>
                  <a:lnTo>
                    <a:pt x="1125" y="577"/>
                  </a:lnTo>
                  <a:lnTo>
                    <a:pt x="1115" y="559"/>
                  </a:lnTo>
                  <a:lnTo>
                    <a:pt x="1104" y="540"/>
                  </a:lnTo>
                  <a:lnTo>
                    <a:pt x="1108" y="534"/>
                  </a:lnTo>
                  <a:lnTo>
                    <a:pt x="1111" y="527"/>
                  </a:lnTo>
                  <a:lnTo>
                    <a:pt x="1121" y="527"/>
                  </a:lnTo>
                  <a:lnTo>
                    <a:pt x="1131" y="529"/>
                  </a:lnTo>
                  <a:lnTo>
                    <a:pt x="1138" y="527"/>
                  </a:lnTo>
                  <a:lnTo>
                    <a:pt x="1142" y="523"/>
                  </a:lnTo>
                  <a:lnTo>
                    <a:pt x="1144" y="513"/>
                  </a:lnTo>
                  <a:lnTo>
                    <a:pt x="1148" y="508"/>
                  </a:lnTo>
                  <a:lnTo>
                    <a:pt x="1156" y="504"/>
                  </a:lnTo>
                  <a:lnTo>
                    <a:pt x="1165" y="502"/>
                  </a:lnTo>
                  <a:lnTo>
                    <a:pt x="1175" y="498"/>
                  </a:lnTo>
                  <a:lnTo>
                    <a:pt x="1182" y="486"/>
                  </a:lnTo>
                  <a:lnTo>
                    <a:pt x="1190" y="471"/>
                  </a:lnTo>
                  <a:lnTo>
                    <a:pt x="1198" y="459"/>
                  </a:lnTo>
                  <a:lnTo>
                    <a:pt x="1221" y="467"/>
                  </a:lnTo>
                  <a:lnTo>
                    <a:pt x="1223" y="477"/>
                  </a:lnTo>
                  <a:lnTo>
                    <a:pt x="1209" y="498"/>
                  </a:lnTo>
                  <a:lnTo>
                    <a:pt x="1205" y="508"/>
                  </a:lnTo>
                  <a:lnTo>
                    <a:pt x="1200" y="523"/>
                  </a:lnTo>
                  <a:lnTo>
                    <a:pt x="1209" y="521"/>
                  </a:lnTo>
                  <a:lnTo>
                    <a:pt x="1207" y="527"/>
                  </a:lnTo>
                  <a:lnTo>
                    <a:pt x="1204" y="536"/>
                  </a:lnTo>
                  <a:lnTo>
                    <a:pt x="1207" y="540"/>
                  </a:lnTo>
                  <a:lnTo>
                    <a:pt x="1244" y="504"/>
                  </a:lnTo>
                  <a:lnTo>
                    <a:pt x="1267" y="498"/>
                  </a:lnTo>
                  <a:lnTo>
                    <a:pt x="1271" y="500"/>
                  </a:lnTo>
                  <a:lnTo>
                    <a:pt x="1276" y="504"/>
                  </a:lnTo>
                  <a:lnTo>
                    <a:pt x="1286" y="504"/>
                  </a:lnTo>
                  <a:lnTo>
                    <a:pt x="1294" y="483"/>
                  </a:lnTo>
                  <a:lnTo>
                    <a:pt x="1305" y="475"/>
                  </a:lnTo>
                  <a:lnTo>
                    <a:pt x="1315" y="458"/>
                  </a:lnTo>
                  <a:lnTo>
                    <a:pt x="1323" y="446"/>
                  </a:lnTo>
                  <a:lnTo>
                    <a:pt x="1338" y="433"/>
                  </a:lnTo>
                  <a:lnTo>
                    <a:pt x="1336" y="417"/>
                  </a:lnTo>
                  <a:lnTo>
                    <a:pt x="1347" y="413"/>
                  </a:lnTo>
                  <a:lnTo>
                    <a:pt x="1353" y="425"/>
                  </a:lnTo>
                  <a:lnTo>
                    <a:pt x="1363" y="427"/>
                  </a:lnTo>
                  <a:lnTo>
                    <a:pt x="1378" y="431"/>
                  </a:lnTo>
                  <a:lnTo>
                    <a:pt x="1378" y="419"/>
                  </a:lnTo>
                  <a:lnTo>
                    <a:pt x="1376" y="411"/>
                  </a:lnTo>
                  <a:lnTo>
                    <a:pt x="1386" y="406"/>
                  </a:lnTo>
                  <a:lnTo>
                    <a:pt x="1397" y="406"/>
                  </a:lnTo>
                  <a:lnTo>
                    <a:pt x="1403" y="402"/>
                  </a:lnTo>
                  <a:lnTo>
                    <a:pt x="1403" y="394"/>
                  </a:lnTo>
                  <a:lnTo>
                    <a:pt x="1415" y="390"/>
                  </a:lnTo>
                  <a:lnTo>
                    <a:pt x="1417" y="373"/>
                  </a:lnTo>
                  <a:lnTo>
                    <a:pt x="1432" y="394"/>
                  </a:lnTo>
                  <a:lnTo>
                    <a:pt x="1438" y="386"/>
                  </a:lnTo>
                  <a:lnTo>
                    <a:pt x="1436" y="377"/>
                  </a:lnTo>
                  <a:lnTo>
                    <a:pt x="1443" y="373"/>
                  </a:lnTo>
                  <a:lnTo>
                    <a:pt x="1443" y="361"/>
                  </a:lnTo>
                  <a:lnTo>
                    <a:pt x="1442" y="342"/>
                  </a:lnTo>
                  <a:lnTo>
                    <a:pt x="1445" y="331"/>
                  </a:lnTo>
                  <a:lnTo>
                    <a:pt x="1445" y="319"/>
                  </a:lnTo>
                  <a:lnTo>
                    <a:pt x="1455" y="313"/>
                  </a:lnTo>
                  <a:lnTo>
                    <a:pt x="1461" y="310"/>
                  </a:lnTo>
                  <a:lnTo>
                    <a:pt x="1457" y="302"/>
                  </a:lnTo>
                  <a:lnTo>
                    <a:pt x="1461" y="302"/>
                  </a:lnTo>
                  <a:lnTo>
                    <a:pt x="1465" y="304"/>
                  </a:lnTo>
                  <a:lnTo>
                    <a:pt x="1470" y="31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6" name="Freeform 241"/>
            <p:cNvSpPr>
              <a:spLocks/>
            </p:cNvSpPr>
            <p:nvPr/>
          </p:nvSpPr>
          <p:spPr bwMode="gray">
            <a:xfrm>
              <a:off x="2108" y="3461"/>
              <a:ext cx="11" cy="29"/>
            </a:xfrm>
            <a:custGeom>
              <a:avLst/>
              <a:gdLst>
                <a:gd name="T0" fmla="*/ 4 w 23"/>
                <a:gd name="T1" fmla="*/ 0 h 58"/>
                <a:gd name="T2" fmla="*/ 4 w 23"/>
                <a:gd name="T3" fmla="*/ 20 h 58"/>
                <a:gd name="T4" fmla="*/ 2 w 23"/>
                <a:gd name="T5" fmla="*/ 39 h 58"/>
                <a:gd name="T6" fmla="*/ 0 w 23"/>
                <a:gd name="T7" fmla="*/ 54 h 58"/>
                <a:gd name="T8" fmla="*/ 2 w 23"/>
                <a:gd name="T9" fmla="*/ 54 h 58"/>
                <a:gd name="T10" fmla="*/ 8 w 23"/>
                <a:gd name="T11" fmla="*/ 56 h 58"/>
                <a:gd name="T12" fmla="*/ 12 w 23"/>
                <a:gd name="T13" fmla="*/ 58 h 58"/>
                <a:gd name="T14" fmla="*/ 15 w 23"/>
                <a:gd name="T15" fmla="*/ 52 h 58"/>
                <a:gd name="T16" fmla="*/ 19 w 23"/>
                <a:gd name="T17" fmla="*/ 48 h 58"/>
                <a:gd name="T18" fmla="*/ 23 w 23"/>
                <a:gd name="T19" fmla="*/ 43 h 58"/>
                <a:gd name="T20" fmla="*/ 23 w 23"/>
                <a:gd name="T21" fmla="*/ 37 h 58"/>
                <a:gd name="T22" fmla="*/ 19 w 23"/>
                <a:gd name="T23" fmla="*/ 31 h 58"/>
                <a:gd name="T24" fmla="*/ 15 w 23"/>
                <a:gd name="T25" fmla="*/ 27 h 58"/>
                <a:gd name="T26" fmla="*/ 19 w 23"/>
                <a:gd name="T27" fmla="*/ 12 h 58"/>
                <a:gd name="T28" fmla="*/ 23 w 23"/>
                <a:gd name="T29" fmla="*/ 0 h 58"/>
                <a:gd name="T30" fmla="*/ 14 w 23"/>
                <a:gd name="T31" fmla="*/ 2 h 58"/>
                <a:gd name="T32" fmla="*/ 10 w 23"/>
                <a:gd name="T33" fmla="*/ 2 h 58"/>
                <a:gd name="T34" fmla="*/ 4 w 23"/>
                <a:gd name="T35" fmla="*/ 0 h 5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3"/>
                <a:gd name="T55" fmla="*/ 0 h 58"/>
                <a:gd name="T56" fmla="*/ 23 w 23"/>
                <a:gd name="T57" fmla="*/ 58 h 5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3" h="58">
                  <a:moveTo>
                    <a:pt x="4" y="0"/>
                  </a:moveTo>
                  <a:lnTo>
                    <a:pt x="4" y="20"/>
                  </a:lnTo>
                  <a:lnTo>
                    <a:pt x="2" y="39"/>
                  </a:lnTo>
                  <a:lnTo>
                    <a:pt x="0" y="54"/>
                  </a:lnTo>
                  <a:lnTo>
                    <a:pt x="2" y="54"/>
                  </a:lnTo>
                  <a:lnTo>
                    <a:pt x="8" y="56"/>
                  </a:lnTo>
                  <a:lnTo>
                    <a:pt x="12" y="58"/>
                  </a:lnTo>
                  <a:lnTo>
                    <a:pt x="15" y="52"/>
                  </a:lnTo>
                  <a:lnTo>
                    <a:pt x="19" y="48"/>
                  </a:lnTo>
                  <a:lnTo>
                    <a:pt x="23" y="43"/>
                  </a:lnTo>
                  <a:lnTo>
                    <a:pt x="23" y="37"/>
                  </a:lnTo>
                  <a:lnTo>
                    <a:pt x="19" y="31"/>
                  </a:lnTo>
                  <a:lnTo>
                    <a:pt x="15" y="27"/>
                  </a:lnTo>
                  <a:lnTo>
                    <a:pt x="19" y="12"/>
                  </a:lnTo>
                  <a:lnTo>
                    <a:pt x="23" y="0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7" name="Freeform 242"/>
            <p:cNvSpPr>
              <a:spLocks/>
            </p:cNvSpPr>
            <p:nvPr/>
          </p:nvSpPr>
          <p:spPr bwMode="gray">
            <a:xfrm>
              <a:off x="2106" y="3503"/>
              <a:ext cx="2" cy="4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8 h 8"/>
                <a:gd name="T4" fmla="*/ 4 w 4"/>
                <a:gd name="T5" fmla="*/ 2 h 8"/>
                <a:gd name="T6" fmla="*/ 0 w 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8"/>
                <a:gd name="T14" fmla="*/ 4 w 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8">
                  <a:moveTo>
                    <a:pt x="0" y="0"/>
                  </a:moveTo>
                  <a:lnTo>
                    <a:pt x="4" y="8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8" name="Freeform 243"/>
            <p:cNvSpPr>
              <a:spLocks/>
            </p:cNvSpPr>
            <p:nvPr/>
          </p:nvSpPr>
          <p:spPr bwMode="gray">
            <a:xfrm>
              <a:off x="2102" y="3516"/>
              <a:ext cx="11" cy="20"/>
            </a:xfrm>
            <a:custGeom>
              <a:avLst/>
              <a:gdLst>
                <a:gd name="T0" fmla="*/ 15 w 23"/>
                <a:gd name="T1" fmla="*/ 0 h 38"/>
                <a:gd name="T2" fmla="*/ 5 w 23"/>
                <a:gd name="T3" fmla="*/ 8 h 38"/>
                <a:gd name="T4" fmla="*/ 2 w 23"/>
                <a:gd name="T5" fmla="*/ 17 h 38"/>
                <a:gd name="T6" fmla="*/ 11 w 23"/>
                <a:gd name="T7" fmla="*/ 23 h 38"/>
                <a:gd name="T8" fmla="*/ 7 w 23"/>
                <a:gd name="T9" fmla="*/ 29 h 38"/>
                <a:gd name="T10" fmla="*/ 0 w 23"/>
                <a:gd name="T11" fmla="*/ 36 h 38"/>
                <a:gd name="T12" fmla="*/ 3 w 23"/>
                <a:gd name="T13" fmla="*/ 38 h 38"/>
                <a:gd name="T14" fmla="*/ 11 w 23"/>
                <a:gd name="T15" fmla="*/ 33 h 38"/>
                <a:gd name="T16" fmla="*/ 21 w 23"/>
                <a:gd name="T17" fmla="*/ 21 h 38"/>
                <a:gd name="T18" fmla="*/ 11 w 23"/>
                <a:gd name="T19" fmla="*/ 23 h 38"/>
                <a:gd name="T20" fmla="*/ 13 w 23"/>
                <a:gd name="T21" fmla="*/ 19 h 38"/>
                <a:gd name="T22" fmla="*/ 13 w 23"/>
                <a:gd name="T23" fmla="*/ 15 h 38"/>
                <a:gd name="T24" fmla="*/ 19 w 23"/>
                <a:gd name="T25" fmla="*/ 15 h 38"/>
                <a:gd name="T26" fmla="*/ 21 w 23"/>
                <a:gd name="T27" fmla="*/ 13 h 38"/>
                <a:gd name="T28" fmla="*/ 21 w 23"/>
                <a:gd name="T29" fmla="*/ 10 h 38"/>
                <a:gd name="T30" fmla="*/ 23 w 23"/>
                <a:gd name="T31" fmla="*/ 8 h 38"/>
                <a:gd name="T32" fmla="*/ 21 w 23"/>
                <a:gd name="T33" fmla="*/ 6 h 38"/>
                <a:gd name="T34" fmla="*/ 19 w 23"/>
                <a:gd name="T35" fmla="*/ 2 h 38"/>
                <a:gd name="T36" fmla="*/ 15 w 23"/>
                <a:gd name="T37" fmla="*/ 0 h 3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3"/>
                <a:gd name="T58" fmla="*/ 0 h 38"/>
                <a:gd name="T59" fmla="*/ 23 w 23"/>
                <a:gd name="T60" fmla="*/ 38 h 3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3" h="38">
                  <a:moveTo>
                    <a:pt x="15" y="0"/>
                  </a:moveTo>
                  <a:lnTo>
                    <a:pt x="5" y="8"/>
                  </a:lnTo>
                  <a:lnTo>
                    <a:pt x="2" y="17"/>
                  </a:lnTo>
                  <a:lnTo>
                    <a:pt x="11" y="23"/>
                  </a:lnTo>
                  <a:lnTo>
                    <a:pt x="7" y="29"/>
                  </a:lnTo>
                  <a:lnTo>
                    <a:pt x="0" y="36"/>
                  </a:lnTo>
                  <a:lnTo>
                    <a:pt x="3" y="38"/>
                  </a:lnTo>
                  <a:lnTo>
                    <a:pt x="11" y="33"/>
                  </a:lnTo>
                  <a:lnTo>
                    <a:pt x="21" y="21"/>
                  </a:lnTo>
                  <a:lnTo>
                    <a:pt x="11" y="23"/>
                  </a:lnTo>
                  <a:lnTo>
                    <a:pt x="13" y="19"/>
                  </a:lnTo>
                  <a:lnTo>
                    <a:pt x="13" y="15"/>
                  </a:lnTo>
                  <a:lnTo>
                    <a:pt x="19" y="15"/>
                  </a:lnTo>
                  <a:lnTo>
                    <a:pt x="21" y="13"/>
                  </a:lnTo>
                  <a:lnTo>
                    <a:pt x="21" y="10"/>
                  </a:lnTo>
                  <a:lnTo>
                    <a:pt x="23" y="8"/>
                  </a:lnTo>
                  <a:lnTo>
                    <a:pt x="21" y="6"/>
                  </a:lnTo>
                  <a:lnTo>
                    <a:pt x="19" y="2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39" name="Freeform 244"/>
            <p:cNvSpPr>
              <a:spLocks/>
            </p:cNvSpPr>
            <p:nvPr/>
          </p:nvSpPr>
          <p:spPr bwMode="gray">
            <a:xfrm>
              <a:off x="2142" y="3657"/>
              <a:ext cx="19" cy="36"/>
            </a:xfrm>
            <a:custGeom>
              <a:avLst/>
              <a:gdLst>
                <a:gd name="T0" fmla="*/ 16 w 39"/>
                <a:gd name="T1" fmla="*/ 0 h 74"/>
                <a:gd name="T2" fmla="*/ 39 w 39"/>
                <a:gd name="T3" fmla="*/ 0 h 74"/>
                <a:gd name="T4" fmla="*/ 35 w 39"/>
                <a:gd name="T5" fmla="*/ 8 h 74"/>
                <a:gd name="T6" fmla="*/ 29 w 39"/>
                <a:gd name="T7" fmla="*/ 8 h 74"/>
                <a:gd name="T8" fmla="*/ 23 w 39"/>
                <a:gd name="T9" fmla="*/ 4 h 74"/>
                <a:gd name="T10" fmla="*/ 21 w 39"/>
                <a:gd name="T11" fmla="*/ 6 h 74"/>
                <a:gd name="T12" fmla="*/ 12 w 39"/>
                <a:gd name="T13" fmla="*/ 8 h 74"/>
                <a:gd name="T14" fmla="*/ 14 w 39"/>
                <a:gd name="T15" fmla="*/ 20 h 74"/>
                <a:gd name="T16" fmla="*/ 14 w 39"/>
                <a:gd name="T17" fmla="*/ 27 h 74"/>
                <a:gd name="T18" fmla="*/ 16 w 39"/>
                <a:gd name="T19" fmla="*/ 35 h 74"/>
                <a:gd name="T20" fmla="*/ 21 w 39"/>
                <a:gd name="T21" fmla="*/ 33 h 74"/>
                <a:gd name="T22" fmla="*/ 25 w 39"/>
                <a:gd name="T23" fmla="*/ 31 h 74"/>
                <a:gd name="T24" fmla="*/ 31 w 39"/>
                <a:gd name="T25" fmla="*/ 31 h 74"/>
                <a:gd name="T26" fmla="*/ 31 w 39"/>
                <a:gd name="T27" fmla="*/ 39 h 74"/>
                <a:gd name="T28" fmla="*/ 27 w 39"/>
                <a:gd name="T29" fmla="*/ 39 h 74"/>
                <a:gd name="T30" fmla="*/ 16 w 39"/>
                <a:gd name="T31" fmla="*/ 43 h 74"/>
                <a:gd name="T32" fmla="*/ 17 w 39"/>
                <a:gd name="T33" fmla="*/ 47 h 74"/>
                <a:gd name="T34" fmla="*/ 19 w 39"/>
                <a:gd name="T35" fmla="*/ 54 h 74"/>
                <a:gd name="T36" fmla="*/ 19 w 39"/>
                <a:gd name="T37" fmla="*/ 58 h 74"/>
                <a:gd name="T38" fmla="*/ 31 w 39"/>
                <a:gd name="T39" fmla="*/ 58 h 74"/>
                <a:gd name="T40" fmla="*/ 19 w 39"/>
                <a:gd name="T41" fmla="*/ 68 h 74"/>
                <a:gd name="T42" fmla="*/ 33 w 39"/>
                <a:gd name="T43" fmla="*/ 66 h 74"/>
                <a:gd name="T44" fmla="*/ 19 w 39"/>
                <a:gd name="T45" fmla="*/ 74 h 74"/>
                <a:gd name="T46" fmla="*/ 16 w 39"/>
                <a:gd name="T47" fmla="*/ 74 h 74"/>
                <a:gd name="T48" fmla="*/ 10 w 39"/>
                <a:gd name="T49" fmla="*/ 72 h 74"/>
                <a:gd name="T50" fmla="*/ 12 w 39"/>
                <a:gd name="T51" fmla="*/ 70 h 74"/>
                <a:gd name="T52" fmla="*/ 12 w 39"/>
                <a:gd name="T53" fmla="*/ 47 h 74"/>
                <a:gd name="T54" fmla="*/ 0 w 39"/>
                <a:gd name="T55" fmla="*/ 47 h 74"/>
                <a:gd name="T56" fmla="*/ 2 w 39"/>
                <a:gd name="T57" fmla="*/ 33 h 74"/>
                <a:gd name="T58" fmla="*/ 4 w 39"/>
                <a:gd name="T59" fmla="*/ 18 h 74"/>
                <a:gd name="T60" fmla="*/ 8 w 39"/>
                <a:gd name="T61" fmla="*/ 4 h 74"/>
                <a:gd name="T62" fmla="*/ 16 w 39"/>
                <a:gd name="T63" fmla="*/ 0 h 7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9"/>
                <a:gd name="T97" fmla="*/ 0 h 74"/>
                <a:gd name="T98" fmla="*/ 39 w 39"/>
                <a:gd name="T99" fmla="*/ 74 h 7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9" h="74">
                  <a:moveTo>
                    <a:pt x="16" y="0"/>
                  </a:moveTo>
                  <a:lnTo>
                    <a:pt x="39" y="0"/>
                  </a:lnTo>
                  <a:lnTo>
                    <a:pt x="35" y="8"/>
                  </a:lnTo>
                  <a:lnTo>
                    <a:pt x="29" y="8"/>
                  </a:lnTo>
                  <a:lnTo>
                    <a:pt x="23" y="4"/>
                  </a:lnTo>
                  <a:lnTo>
                    <a:pt x="21" y="6"/>
                  </a:lnTo>
                  <a:lnTo>
                    <a:pt x="12" y="8"/>
                  </a:lnTo>
                  <a:lnTo>
                    <a:pt x="14" y="20"/>
                  </a:lnTo>
                  <a:lnTo>
                    <a:pt x="14" y="27"/>
                  </a:lnTo>
                  <a:lnTo>
                    <a:pt x="16" y="35"/>
                  </a:lnTo>
                  <a:lnTo>
                    <a:pt x="21" y="33"/>
                  </a:lnTo>
                  <a:lnTo>
                    <a:pt x="25" y="31"/>
                  </a:lnTo>
                  <a:lnTo>
                    <a:pt x="31" y="31"/>
                  </a:lnTo>
                  <a:lnTo>
                    <a:pt x="31" y="39"/>
                  </a:lnTo>
                  <a:lnTo>
                    <a:pt x="27" y="39"/>
                  </a:lnTo>
                  <a:lnTo>
                    <a:pt x="16" y="43"/>
                  </a:lnTo>
                  <a:lnTo>
                    <a:pt x="17" y="47"/>
                  </a:lnTo>
                  <a:lnTo>
                    <a:pt x="19" y="54"/>
                  </a:lnTo>
                  <a:lnTo>
                    <a:pt x="19" y="58"/>
                  </a:lnTo>
                  <a:lnTo>
                    <a:pt x="31" y="58"/>
                  </a:lnTo>
                  <a:lnTo>
                    <a:pt x="19" y="68"/>
                  </a:lnTo>
                  <a:lnTo>
                    <a:pt x="33" y="66"/>
                  </a:lnTo>
                  <a:lnTo>
                    <a:pt x="19" y="74"/>
                  </a:lnTo>
                  <a:lnTo>
                    <a:pt x="16" y="74"/>
                  </a:lnTo>
                  <a:lnTo>
                    <a:pt x="10" y="72"/>
                  </a:lnTo>
                  <a:lnTo>
                    <a:pt x="12" y="70"/>
                  </a:lnTo>
                  <a:lnTo>
                    <a:pt x="12" y="47"/>
                  </a:lnTo>
                  <a:lnTo>
                    <a:pt x="0" y="47"/>
                  </a:lnTo>
                  <a:lnTo>
                    <a:pt x="2" y="33"/>
                  </a:lnTo>
                  <a:lnTo>
                    <a:pt x="4" y="18"/>
                  </a:lnTo>
                  <a:lnTo>
                    <a:pt x="8" y="4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0" name="Freeform 245"/>
            <p:cNvSpPr>
              <a:spLocks/>
            </p:cNvSpPr>
            <p:nvPr/>
          </p:nvSpPr>
          <p:spPr bwMode="gray">
            <a:xfrm>
              <a:off x="2124" y="3661"/>
              <a:ext cx="5" cy="5"/>
            </a:xfrm>
            <a:custGeom>
              <a:avLst/>
              <a:gdLst>
                <a:gd name="T0" fmla="*/ 5 w 9"/>
                <a:gd name="T1" fmla="*/ 0 h 12"/>
                <a:gd name="T2" fmla="*/ 9 w 9"/>
                <a:gd name="T3" fmla="*/ 12 h 12"/>
                <a:gd name="T4" fmla="*/ 0 w 9"/>
                <a:gd name="T5" fmla="*/ 8 h 12"/>
                <a:gd name="T6" fmla="*/ 0 w 9"/>
                <a:gd name="T7" fmla="*/ 4 h 12"/>
                <a:gd name="T8" fmla="*/ 5 w 9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2"/>
                <a:gd name="T17" fmla="*/ 9 w 9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2">
                  <a:moveTo>
                    <a:pt x="5" y="0"/>
                  </a:moveTo>
                  <a:lnTo>
                    <a:pt x="9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1" name="Freeform 246"/>
            <p:cNvSpPr>
              <a:spLocks/>
            </p:cNvSpPr>
            <p:nvPr/>
          </p:nvSpPr>
          <p:spPr bwMode="gray">
            <a:xfrm>
              <a:off x="2135" y="3660"/>
              <a:ext cx="5" cy="10"/>
            </a:xfrm>
            <a:custGeom>
              <a:avLst/>
              <a:gdLst>
                <a:gd name="T0" fmla="*/ 6 w 9"/>
                <a:gd name="T1" fmla="*/ 2 h 21"/>
                <a:gd name="T2" fmla="*/ 9 w 9"/>
                <a:gd name="T3" fmla="*/ 0 h 21"/>
                <a:gd name="T4" fmla="*/ 7 w 9"/>
                <a:gd name="T5" fmla="*/ 4 h 21"/>
                <a:gd name="T6" fmla="*/ 9 w 9"/>
                <a:gd name="T7" fmla="*/ 6 h 21"/>
                <a:gd name="T8" fmla="*/ 9 w 9"/>
                <a:gd name="T9" fmla="*/ 8 h 21"/>
                <a:gd name="T10" fmla="*/ 6 w 9"/>
                <a:gd name="T11" fmla="*/ 16 h 21"/>
                <a:gd name="T12" fmla="*/ 2 w 9"/>
                <a:gd name="T13" fmla="*/ 21 h 21"/>
                <a:gd name="T14" fmla="*/ 0 w 9"/>
                <a:gd name="T15" fmla="*/ 18 h 21"/>
                <a:gd name="T16" fmla="*/ 2 w 9"/>
                <a:gd name="T17" fmla="*/ 8 h 21"/>
                <a:gd name="T18" fmla="*/ 6 w 9"/>
                <a:gd name="T19" fmla="*/ 2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21"/>
                <a:gd name="T32" fmla="*/ 9 w 9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21">
                  <a:moveTo>
                    <a:pt x="6" y="2"/>
                  </a:moveTo>
                  <a:lnTo>
                    <a:pt x="9" y="0"/>
                  </a:lnTo>
                  <a:lnTo>
                    <a:pt x="7" y="4"/>
                  </a:lnTo>
                  <a:lnTo>
                    <a:pt x="9" y="6"/>
                  </a:lnTo>
                  <a:lnTo>
                    <a:pt x="9" y="8"/>
                  </a:lnTo>
                  <a:lnTo>
                    <a:pt x="6" y="16"/>
                  </a:lnTo>
                  <a:lnTo>
                    <a:pt x="2" y="21"/>
                  </a:lnTo>
                  <a:lnTo>
                    <a:pt x="0" y="18"/>
                  </a:lnTo>
                  <a:lnTo>
                    <a:pt x="2" y="8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2" name="Freeform 247"/>
            <p:cNvSpPr>
              <a:spLocks/>
            </p:cNvSpPr>
            <p:nvPr/>
          </p:nvSpPr>
          <p:spPr bwMode="gray">
            <a:xfrm>
              <a:off x="2088" y="3049"/>
              <a:ext cx="125" cy="665"/>
            </a:xfrm>
            <a:custGeom>
              <a:avLst/>
              <a:gdLst>
                <a:gd name="T0" fmla="*/ 130 w 249"/>
                <a:gd name="T1" fmla="*/ 192 h 1332"/>
                <a:gd name="T2" fmla="*/ 123 w 249"/>
                <a:gd name="T3" fmla="*/ 244 h 1332"/>
                <a:gd name="T4" fmla="*/ 109 w 249"/>
                <a:gd name="T5" fmla="*/ 407 h 1332"/>
                <a:gd name="T6" fmla="*/ 107 w 249"/>
                <a:gd name="T7" fmla="*/ 511 h 1332"/>
                <a:gd name="T8" fmla="*/ 84 w 249"/>
                <a:gd name="T9" fmla="*/ 555 h 1332"/>
                <a:gd name="T10" fmla="*/ 57 w 249"/>
                <a:gd name="T11" fmla="*/ 663 h 1332"/>
                <a:gd name="T12" fmla="*/ 61 w 249"/>
                <a:gd name="T13" fmla="*/ 713 h 1332"/>
                <a:gd name="T14" fmla="*/ 73 w 249"/>
                <a:gd name="T15" fmla="*/ 849 h 1332"/>
                <a:gd name="T16" fmla="*/ 61 w 249"/>
                <a:gd name="T17" fmla="*/ 909 h 1332"/>
                <a:gd name="T18" fmla="*/ 48 w 249"/>
                <a:gd name="T19" fmla="*/ 986 h 1332"/>
                <a:gd name="T20" fmla="*/ 34 w 249"/>
                <a:gd name="T21" fmla="*/ 982 h 1332"/>
                <a:gd name="T22" fmla="*/ 4 w 249"/>
                <a:gd name="T23" fmla="*/ 1009 h 1332"/>
                <a:gd name="T24" fmla="*/ 40 w 249"/>
                <a:gd name="T25" fmla="*/ 1026 h 1332"/>
                <a:gd name="T26" fmla="*/ 42 w 249"/>
                <a:gd name="T27" fmla="*/ 1093 h 1332"/>
                <a:gd name="T28" fmla="*/ 27 w 249"/>
                <a:gd name="T29" fmla="*/ 1120 h 1332"/>
                <a:gd name="T30" fmla="*/ 11 w 249"/>
                <a:gd name="T31" fmla="*/ 1057 h 1332"/>
                <a:gd name="T32" fmla="*/ 2 w 249"/>
                <a:gd name="T33" fmla="*/ 1111 h 1332"/>
                <a:gd name="T34" fmla="*/ 38 w 249"/>
                <a:gd name="T35" fmla="*/ 1147 h 1332"/>
                <a:gd name="T36" fmla="*/ 15 w 249"/>
                <a:gd name="T37" fmla="*/ 1147 h 1332"/>
                <a:gd name="T38" fmla="*/ 32 w 249"/>
                <a:gd name="T39" fmla="*/ 1170 h 1332"/>
                <a:gd name="T40" fmla="*/ 44 w 249"/>
                <a:gd name="T41" fmla="*/ 1151 h 1332"/>
                <a:gd name="T42" fmla="*/ 42 w 249"/>
                <a:gd name="T43" fmla="*/ 1190 h 1332"/>
                <a:gd name="T44" fmla="*/ 7 w 249"/>
                <a:gd name="T45" fmla="*/ 1190 h 1332"/>
                <a:gd name="T46" fmla="*/ 29 w 249"/>
                <a:gd name="T47" fmla="*/ 1224 h 1332"/>
                <a:gd name="T48" fmla="*/ 50 w 249"/>
                <a:gd name="T49" fmla="*/ 1190 h 1332"/>
                <a:gd name="T50" fmla="*/ 75 w 249"/>
                <a:gd name="T51" fmla="*/ 1191 h 1332"/>
                <a:gd name="T52" fmla="*/ 53 w 249"/>
                <a:gd name="T53" fmla="*/ 1203 h 1332"/>
                <a:gd name="T54" fmla="*/ 53 w 249"/>
                <a:gd name="T55" fmla="*/ 1240 h 1332"/>
                <a:gd name="T56" fmla="*/ 61 w 249"/>
                <a:gd name="T57" fmla="*/ 1270 h 1332"/>
                <a:gd name="T58" fmla="*/ 80 w 249"/>
                <a:gd name="T59" fmla="*/ 1255 h 1332"/>
                <a:gd name="T60" fmla="*/ 88 w 249"/>
                <a:gd name="T61" fmla="*/ 1259 h 1332"/>
                <a:gd name="T62" fmla="*/ 92 w 249"/>
                <a:gd name="T63" fmla="*/ 1282 h 1332"/>
                <a:gd name="T64" fmla="*/ 88 w 249"/>
                <a:gd name="T65" fmla="*/ 1293 h 1332"/>
                <a:gd name="T66" fmla="*/ 142 w 249"/>
                <a:gd name="T67" fmla="*/ 1309 h 1332"/>
                <a:gd name="T68" fmla="*/ 149 w 249"/>
                <a:gd name="T69" fmla="*/ 1332 h 1332"/>
                <a:gd name="T70" fmla="*/ 163 w 249"/>
                <a:gd name="T71" fmla="*/ 1307 h 1332"/>
                <a:gd name="T72" fmla="*/ 205 w 249"/>
                <a:gd name="T73" fmla="*/ 1307 h 1332"/>
                <a:gd name="T74" fmla="*/ 178 w 249"/>
                <a:gd name="T75" fmla="*/ 1297 h 1332"/>
                <a:gd name="T76" fmla="*/ 153 w 249"/>
                <a:gd name="T77" fmla="*/ 1201 h 1332"/>
                <a:gd name="T78" fmla="*/ 101 w 249"/>
                <a:gd name="T79" fmla="*/ 1195 h 1332"/>
                <a:gd name="T80" fmla="*/ 75 w 249"/>
                <a:gd name="T81" fmla="*/ 1142 h 1332"/>
                <a:gd name="T82" fmla="*/ 55 w 249"/>
                <a:gd name="T83" fmla="*/ 1109 h 1332"/>
                <a:gd name="T84" fmla="*/ 78 w 249"/>
                <a:gd name="T85" fmla="*/ 1053 h 1332"/>
                <a:gd name="T86" fmla="*/ 88 w 249"/>
                <a:gd name="T87" fmla="*/ 994 h 1332"/>
                <a:gd name="T88" fmla="*/ 92 w 249"/>
                <a:gd name="T89" fmla="*/ 944 h 1332"/>
                <a:gd name="T90" fmla="*/ 96 w 249"/>
                <a:gd name="T91" fmla="*/ 888 h 1332"/>
                <a:gd name="T92" fmla="*/ 94 w 249"/>
                <a:gd name="T93" fmla="*/ 811 h 1332"/>
                <a:gd name="T94" fmla="*/ 80 w 249"/>
                <a:gd name="T95" fmla="*/ 761 h 1332"/>
                <a:gd name="T96" fmla="*/ 105 w 249"/>
                <a:gd name="T97" fmla="*/ 684 h 1332"/>
                <a:gd name="T98" fmla="*/ 121 w 249"/>
                <a:gd name="T99" fmla="*/ 628 h 1332"/>
                <a:gd name="T100" fmla="*/ 136 w 249"/>
                <a:gd name="T101" fmla="*/ 550 h 1332"/>
                <a:gd name="T102" fmla="*/ 138 w 249"/>
                <a:gd name="T103" fmla="*/ 473 h 1332"/>
                <a:gd name="T104" fmla="*/ 148 w 249"/>
                <a:gd name="T105" fmla="*/ 398 h 1332"/>
                <a:gd name="T106" fmla="*/ 178 w 249"/>
                <a:gd name="T107" fmla="*/ 319 h 1332"/>
                <a:gd name="T108" fmla="*/ 176 w 249"/>
                <a:gd name="T109" fmla="*/ 246 h 1332"/>
                <a:gd name="T110" fmla="*/ 213 w 249"/>
                <a:gd name="T111" fmla="*/ 198 h 1332"/>
                <a:gd name="T112" fmla="*/ 180 w 249"/>
                <a:gd name="T113" fmla="*/ 100 h 1332"/>
                <a:gd name="T114" fmla="*/ 151 w 249"/>
                <a:gd name="T115" fmla="*/ 35 h 13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9"/>
                <a:gd name="T175" fmla="*/ 0 h 1332"/>
                <a:gd name="T176" fmla="*/ 249 w 249"/>
                <a:gd name="T177" fmla="*/ 1332 h 13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9" h="1332">
                  <a:moveTo>
                    <a:pt x="126" y="15"/>
                  </a:moveTo>
                  <a:lnTo>
                    <a:pt x="123" y="21"/>
                  </a:lnTo>
                  <a:lnTo>
                    <a:pt x="117" y="27"/>
                  </a:lnTo>
                  <a:lnTo>
                    <a:pt x="123" y="35"/>
                  </a:lnTo>
                  <a:lnTo>
                    <a:pt x="130" y="54"/>
                  </a:lnTo>
                  <a:lnTo>
                    <a:pt x="134" y="96"/>
                  </a:lnTo>
                  <a:lnTo>
                    <a:pt x="132" y="142"/>
                  </a:lnTo>
                  <a:lnTo>
                    <a:pt x="130" y="192"/>
                  </a:lnTo>
                  <a:lnTo>
                    <a:pt x="123" y="192"/>
                  </a:lnTo>
                  <a:lnTo>
                    <a:pt x="124" y="200"/>
                  </a:lnTo>
                  <a:lnTo>
                    <a:pt x="128" y="204"/>
                  </a:lnTo>
                  <a:lnTo>
                    <a:pt x="130" y="208"/>
                  </a:lnTo>
                  <a:lnTo>
                    <a:pt x="128" y="213"/>
                  </a:lnTo>
                  <a:lnTo>
                    <a:pt x="124" y="221"/>
                  </a:lnTo>
                  <a:lnTo>
                    <a:pt x="123" y="227"/>
                  </a:lnTo>
                  <a:lnTo>
                    <a:pt x="123" y="244"/>
                  </a:lnTo>
                  <a:lnTo>
                    <a:pt x="124" y="259"/>
                  </a:lnTo>
                  <a:lnTo>
                    <a:pt x="126" y="273"/>
                  </a:lnTo>
                  <a:lnTo>
                    <a:pt x="119" y="284"/>
                  </a:lnTo>
                  <a:lnTo>
                    <a:pt x="115" y="315"/>
                  </a:lnTo>
                  <a:lnTo>
                    <a:pt x="111" y="357"/>
                  </a:lnTo>
                  <a:lnTo>
                    <a:pt x="100" y="384"/>
                  </a:lnTo>
                  <a:lnTo>
                    <a:pt x="107" y="407"/>
                  </a:lnTo>
                  <a:lnTo>
                    <a:pt x="109" y="407"/>
                  </a:lnTo>
                  <a:lnTo>
                    <a:pt x="109" y="409"/>
                  </a:lnTo>
                  <a:lnTo>
                    <a:pt x="111" y="415"/>
                  </a:lnTo>
                  <a:lnTo>
                    <a:pt x="107" y="427"/>
                  </a:lnTo>
                  <a:lnTo>
                    <a:pt x="101" y="438"/>
                  </a:lnTo>
                  <a:lnTo>
                    <a:pt x="100" y="454"/>
                  </a:lnTo>
                  <a:lnTo>
                    <a:pt x="103" y="467"/>
                  </a:lnTo>
                  <a:lnTo>
                    <a:pt x="107" y="488"/>
                  </a:lnTo>
                  <a:lnTo>
                    <a:pt x="107" y="511"/>
                  </a:lnTo>
                  <a:lnTo>
                    <a:pt x="96" y="517"/>
                  </a:lnTo>
                  <a:lnTo>
                    <a:pt x="92" y="521"/>
                  </a:lnTo>
                  <a:lnTo>
                    <a:pt x="90" y="532"/>
                  </a:lnTo>
                  <a:lnTo>
                    <a:pt x="90" y="542"/>
                  </a:lnTo>
                  <a:lnTo>
                    <a:pt x="92" y="553"/>
                  </a:lnTo>
                  <a:lnTo>
                    <a:pt x="88" y="553"/>
                  </a:lnTo>
                  <a:lnTo>
                    <a:pt x="86" y="555"/>
                  </a:lnTo>
                  <a:lnTo>
                    <a:pt x="84" y="555"/>
                  </a:lnTo>
                  <a:lnTo>
                    <a:pt x="78" y="580"/>
                  </a:lnTo>
                  <a:lnTo>
                    <a:pt x="73" y="603"/>
                  </a:lnTo>
                  <a:lnTo>
                    <a:pt x="73" y="607"/>
                  </a:lnTo>
                  <a:lnTo>
                    <a:pt x="75" y="609"/>
                  </a:lnTo>
                  <a:lnTo>
                    <a:pt x="75" y="613"/>
                  </a:lnTo>
                  <a:lnTo>
                    <a:pt x="73" y="615"/>
                  </a:lnTo>
                  <a:lnTo>
                    <a:pt x="67" y="636"/>
                  </a:lnTo>
                  <a:lnTo>
                    <a:pt x="57" y="663"/>
                  </a:lnTo>
                  <a:lnTo>
                    <a:pt x="46" y="675"/>
                  </a:lnTo>
                  <a:lnTo>
                    <a:pt x="48" y="676"/>
                  </a:lnTo>
                  <a:lnTo>
                    <a:pt x="52" y="678"/>
                  </a:lnTo>
                  <a:lnTo>
                    <a:pt x="57" y="678"/>
                  </a:lnTo>
                  <a:lnTo>
                    <a:pt x="57" y="688"/>
                  </a:lnTo>
                  <a:lnTo>
                    <a:pt x="59" y="698"/>
                  </a:lnTo>
                  <a:lnTo>
                    <a:pt x="61" y="705"/>
                  </a:lnTo>
                  <a:lnTo>
                    <a:pt x="61" y="713"/>
                  </a:lnTo>
                  <a:lnTo>
                    <a:pt x="65" y="736"/>
                  </a:lnTo>
                  <a:lnTo>
                    <a:pt x="65" y="755"/>
                  </a:lnTo>
                  <a:lnTo>
                    <a:pt x="57" y="755"/>
                  </a:lnTo>
                  <a:lnTo>
                    <a:pt x="50" y="790"/>
                  </a:lnTo>
                  <a:lnTo>
                    <a:pt x="52" y="813"/>
                  </a:lnTo>
                  <a:lnTo>
                    <a:pt x="76" y="817"/>
                  </a:lnTo>
                  <a:lnTo>
                    <a:pt x="75" y="832"/>
                  </a:lnTo>
                  <a:lnTo>
                    <a:pt x="73" y="849"/>
                  </a:lnTo>
                  <a:lnTo>
                    <a:pt x="73" y="867"/>
                  </a:lnTo>
                  <a:lnTo>
                    <a:pt x="65" y="871"/>
                  </a:lnTo>
                  <a:lnTo>
                    <a:pt x="67" y="880"/>
                  </a:lnTo>
                  <a:lnTo>
                    <a:pt x="71" y="888"/>
                  </a:lnTo>
                  <a:lnTo>
                    <a:pt x="73" y="897"/>
                  </a:lnTo>
                  <a:lnTo>
                    <a:pt x="69" y="901"/>
                  </a:lnTo>
                  <a:lnTo>
                    <a:pt x="63" y="905"/>
                  </a:lnTo>
                  <a:lnTo>
                    <a:pt x="61" y="909"/>
                  </a:lnTo>
                  <a:lnTo>
                    <a:pt x="65" y="909"/>
                  </a:lnTo>
                  <a:lnTo>
                    <a:pt x="65" y="917"/>
                  </a:lnTo>
                  <a:lnTo>
                    <a:pt x="61" y="917"/>
                  </a:lnTo>
                  <a:lnTo>
                    <a:pt x="59" y="913"/>
                  </a:lnTo>
                  <a:lnTo>
                    <a:pt x="57" y="913"/>
                  </a:lnTo>
                  <a:lnTo>
                    <a:pt x="53" y="938"/>
                  </a:lnTo>
                  <a:lnTo>
                    <a:pt x="53" y="990"/>
                  </a:lnTo>
                  <a:lnTo>
                    <a:pt x="48" y="986"/>
                  </a:lnTo>
                  <a:lnTo>
                    <a:pt x="44" y="984"/>
                  </a:lnTo>
                  <a:lnTo>
                    <a:pt x="38" y="982"/>
                  </a:lnTo>
                  <a:lnTo>
                    <a:pt x="40" y="986"/>
                  </a:lnTo>
                  <a:lnTo>
                    <a:pt x="34" y="990"/>
                  </a:lnTo>
                  <a:lnTo>
                    <a:pt x="30" y="990"/>
                  </a:lnTo>
                  <a:lnTo>
                    <a:pt x="30" y="988"/>
                  </a:lnTo>
                  <a:lnTo>
                    <a:pt x="32" y="984"/>
                  </a:lnTo>
                  <a:lnTo>
                    <a:pt x="34" y="982"/>
                  </a:lnTo>
                  <a:lnTo>
                    <a:pt x="29" y="980"/>
                  </a:lnTo>
                  <a:lnTo>
                    <a:pt x="25" y="978"/>
                  </a:lnTo>
                  <a:lnTo>
                    <a:pt x="19" y="974"/>
                  </a:lnTo>
                  <a:lnTo>
                    <a:pt x="17" y="978"/>
                  </a:lnTo>
                  <a:lnTo>
                    <a:pt x="11" y="978"/>
                  </a:lnTo>
                  <a:lnTo>
                    <a:pt x="11" y="986"/>
                  </a:lnTo>
                  <a:lnTo>
                    <a:pt x="7" y="999"/>
                  </a:lnTo>
                  <a:lnTo>
                    <a:pt x="4" y="1009"/>
                  </a:lnTo>
                  <a:lnTo>
                    <a:pt x="15" y="1001"/>
                  </a:lnTo>
                  <a:lnTo>
                    <a:pt x="15" y="1013"/>
                  </a:lnTo>
                  <a:lnTo>
                    <a:pt x="27" y="1013"/>
                  </a:lnTo>
                  <a:lnTo>
                    <a:pt x="29" y="1009"/>
                  </a:lnTo>
                  <a:lnTo>
                    <a:pt x="36" y="1007"/>
                  </a:lnTo>
                  <a:lnTo>
                    <a:pt x="42" y="1013"/>
                  </a:lnTo>
                  <a:lnTo>
                    <a:pt x="42" y="1020"/>
                  </a:lnTo>
                  <a:lnTo>
                    <a:pt x="40" y="1026"/>
                  </a:lnTo>
                  <a:lnTo>
                    <a:pt x="38" y="1028"/>
                  </a:lnTo>
                  <a:lnTo>
                    <a:pt x="42" y="1032"/>
                  </a:lnTo>
                  <a:lnTo>
                    <a:pt x="46" y="1038"/>
                  </a:lnTo>
                  <a:lnTo>
                    <a:pt x="34" y="1040"/>
                  </a:lnTo>
                  <a:lnTo>
                    <a:pt x="36" y="1063"/>
                  </a:lnTo>
                  <a:lnTo>
                    <a:pt x="36" y="1080"/>
                  </a:lnTo>
                  <a:lnTo>
                    <a:pt x="34" y="1101"/>
                  </a:lnTo>
                  <a:lnTo>
                    <a:pt x="42" y="1093"/>
                  </a:lnTo>
                  <a:lnTo>
                    <a:pt x="44" y="1097"/>
                  </a:lnTo>
                  <a:lnTo>
                    <a:pt x="38" y="1105"/>
                  </a:lnTo>
                  <a:lnTo>
                    <a:pt x="34" y="1109"/>
                  </a:lnTo>
                  <a:lnTo>
                    <a:pt x="34" y="1115"/>
                  </a:lnTo>
                  <a:lnTo>
                    <a:pt x="32" y="1120"/>
                  </a:lnTo>
                  <a:lnTo>
                    <a:pt x="30" y="1124"/>
                  </a:lnTo>
                  <a:lnTo>
                    <a:pt x="27" y="1126"/>
                  </a:lnTo>
                  <a:lnTo>
                    <a:pt x="27" y="1120"/>
                  </a:lnTo>
                  <a:lnTo>
                    <a:pt x="29" y="1097"/>
                  </a:lnTo>
                  <a:lnTo>
                    <a:pt x="27" y="1074"/>
                  </a:lnTo>
                  <a:lnTo>
                    <a:pt x="23" y="1051"/>
                  </a:lnTo>
                  <a:lnTo>
                    <a:pt x="19" y="1053"/>
                  </a:lnTo>
                  <a:lnTo>
                    <a:pt x="13" y="1051"/>
                  </a:lnTo>
                  <a:lnTo>
                    <a:pt x="7" y="1051"/>
                  </a:lnTo>
                  <a:lnTo>
                    <a:pt x="7" y="1055"/>
                  </a:lnTo>
                  <a:lnTo>
                    <a:pt x="11" y="1057"/>
                  </a:lnTo>
                  <a:lnTo>
                    <a:pt x="11" y="1059"/>
                  </a:lnTo>
                  <a:lnTo>
                    <a:pt x="0" y="1070"/>
                  </a:lnTo>
                  <a:lnTo>
                    <a:pt x="2" y="1082"/>
                  </a:lnTo>
                  <a:lnTo>
                    <a:pt x="7" y="1093"/>
                  </a:lnTo>
                  <a:lnTo>
                    <a:pt x="7" y="1101"/>
                  </a:lnTo>
                  <a:lnTo>
                    <a:pt x="5" y="1103"/>
                  </a:lnTo>
                  <a:lnTo>
                    <a:pt x="0" y="1105"/>
                  </a:lnTo>
                  <a:lnTo>
                    <a:pt x="2" y="1111"/>
                  </a:lnTo>
                  <a:lnTo>
                    <a:pt x="4" y="1115"/>
                  </a:lnTo>
                  <a:lnTo>
                    <a:pt x="4" y="1120"/>
                  </a:lnTo>
                  <a:lnTo>
                    <a:pt x="11" y="1122"/>
                  </a:lnTo>
                  <a:lnTo>
                    <a:pt x="19" y="1122"/>
                  </a:lnTo>
                  <a:lnTo>
                    <a:pt x="27" y="1124"/>
                  </a:lnTo>
                  <a:lnTo>
                    <a:pt x="27" y="1136"/>
                  </a:lnTo>
                  <a:lnTo>
                    <a:pt x="38" y="1136"/>
                  </a:lnTo>
                  <a:lnTo>
                    <a:pt x="38" y="1147"/>
                  </a:lnTo>
                  <a:lnTo>
                    <a:pt x="34" y="1143"/>
                  </a:lnTo>
                  <a:lnTo>
                    <a:pt x="27" y="1140"/>
                  </a:lnTo>
                  <a:lnTo>
                    <a:pt x="29" y="1145"/>
                  </a:lnTo>
                  <a:lnTo>
                    <a:pt x="29" y="1155"/>
                  </a:lnTo>
                  <a:lnTo>
                    <a:pt x="27" y="1151"/>
                  </a:lnTo>
                  <a:lnTo>
                    <a:pt x="23" y="1149"/>
                  </a:lnTo>
                  <a:lnTo>
                    <a:pt x="21" y="1149"/>
                  </a:lnTo>
                  <a:lnTo>
                    <a:pt x="15" y="1147"/>
                  </a:lnTo>
                  <a:lnTo>
                    <a:pt x="15" y="1159"/>
                  </a:lnTo>
                  <a:lnTo>
                    <a:pt x="11" y="1159"/>
                  </a:lnTo>
                  <a:lnTo>
                    <a:pt x="11" y="1182"/>
                  </a:lnTo>
                  <a:lnTo>
                    <a:pt x="23" y="1182"/>
                  </a:lnTo>
                  <a:lnTo>
                    <a:pt x="25" y="1178"/>
                  </a:lnTo>
                  <a:lnTo>
                    <a:pt x="27" y="1170"/>
                  </a:lnTo>
                  <a:lnTo>
                    <a:pt x="30" y="1167"/>
                  </a:lnTo>
                  <a:lnTo>
                    <a:pt x="32" y="1170"/>
                  </a:lnTo>
                  <a:lnTo>
                    <a:pt x="34" y="1172"/>
                  </a:lnTo>
                  <a:lnTo>
                    <a:pt x="34" y="1174"/>
                  </a:lnTo>
                  <a:lnTo>
                    <a:pt x="34" y="1163"/>
                  </a:lnTo>
                  <a:lnTo>
                    <a:pt x="32" y="1159"/>
                  </a:lnTo>
                  <a:lnTo>
                    <a:pt x="38" y="1155"/>
                  </a:lnTo>
                  <a:lnTo>
                    <a:pt x="38" y="1147"/>
                  </a:lnTo>
                  <a:lnTo>
                    <a:pt x="42" y="1149"/>
                  </a:lnTo>
                  <a:lnTo>
                    <a:pt x="44" y="1151"/>
                  </a:lnTo>
                  <a:lnTo>
                    <a:pt x="50" y="1151"/>
                  </a:lnTo>
                  <a:lnTo>
                    <a:pt x="40" y="1163"/>
                  </a:lnTo>
                  <a:lnTo>
                    <a:pt x="40" y="1170"/>
                  </a:lnTo>
                  <a:lnTo>
                    <a:pt x="46" y="1170"/>
                  </a:lnTo>
                  <a:lnTo>
                    <a:pt x="46" y="1174"/>
                  </a:lnTo>
                  <a:lnTo>
                    <a:pt x="44" y="1182"/>
                  </a:lnTo>
                  <a:lnTo>
                    <a:pt x="42" y="1182"/>
                  </a:lnTo>
                  <a:lnTo>
                    <a:pt x="42" y="1190"/>
                  </a:lnTo>
                  <a:lnTo>
                    <a:pt x="36" y="1190"/>
                  </a:lnTo>
                  <a:lnTo>
                    <a:pt x="34" y="1186"/>
                  </a:lnTo>
                  <a:lnTo>
                    <a:pt x="30" y="1186"/>
                  </a:lnTo>
                  <a:lnTo>
                    <a:pt x="30" y="1193"/>
                  </a:lnTo>
                  <a:lnTo>
                    <a:pt x="27" y="1193"/>
                  </a:lnTo>
                  <a:lnTo>
                    <a:pt x="23" y="1191"/>
                  </a:lnTo>
                  <a:lnTo>
                    <a:pt x="27" y="1190"/>
                  </a:lnTo>
                  <a:lnTo>
                    <a:pt x="7" y="1190"/>
                  </a:lnTo>
                  <a:lnTo>
                    <a:pt x="15" y="1211"/>
                  </a:lnTo>
                  <a:lnTo>
                    <a:pt x="23" y="1228"/>
                  </a:lnTo>
                  <a:lnTo>
                    <a:pt x="38" y="1240"/>
                  </a:lnTo>
                  <a:lnTo>
                    <a:pt x="42" y="1240"/>
                  </a:lnTo>
                  <a:lnTo>
                    <a:pt x="50" y="1241"/>
                  </a:lnTo>
                  <a:lnTo>
                    <a:pt x="50" y="1240"/>
                  </a:lnTo>
                  <a:lnTo>
                    <a:pt x="36" y="1232"/>
                  </a:lnTo>
                  <a:lnTo>
                    <a:pt x="29" y="1224"/>
                  </a:lnTo>
                  <a:lnTo>
                    <a:pt x="42" y="1224"/>
                  </a:lnTo>
                  <a:lnTo>
                    <a:pt x="42" y="1201"/>
                  </a:lnTo>
                  <a:lnTo>
                    <a:pt x="40" y="1199"/>
                  </a:lnTo>
                  <a:lnTo>
                    <a:pt x="36" y="1197"/>
                  </a:lnTo>
                  <a:lnTo>
                    <a:pt x="34" y="1193"/>
                  </a:lnTo>
                  <a:lnTo>
                    <a:pt x="40" y="1193"/>
                  </a:lnTo>
                  <a:lnTo>
                    <a:pt x="46" y="1190"/>
                  </a:lnTo>
                  <a:lnTo>
                    <a:pt x="50" y="1190"/>
                  </a:lnTo>
                  <a:lnTo>
                    <a:pt x="50" y="1191"/>
                  </a:lnTo>
                  <a:lnTo>
                    <a:pt x="52" y="1195"/>
                  </a:lnTo>
                  <a:lnTo>
                    <a:pt x="57" y="1197"/>
                  </a:lnTo>
                  <a:lnTo>
                    <a:pt x="59" y="1193"/>
                  </a:lnTo>
                  <a:lnTo>
                    <a:pt x="63" y="1190"/>
                  </a:lnTo>
                  <a:lnTo>
                    <a:pt x="65" y="1186"/>
                  </a:lnTo>
                  <a:lnTo>
                    <a:pt x="71" y="1188"/>
                  </a:lnTo>
                  <a:lnTo>
                    <a:pt x="75" y="1191"/>
                  </a:lnTo>
                  <a:lnTo>
                    <a:pt x="69" y="1197"/>
                  </a:lnTo>
                  <a:lnTo>
                    <a:pt x="69" y="1193"/>
                  </a:lnTo>
                  <a:lnTo>
                    <a:pt x="65" y="1193"/>
                  </a:lnTo>
                  <a:lnTo>
                    <a:pt x="65" y="1209"/>
                  </a:lnTo>
                  <a:lnTo>
                    <a:pt x="61" y="1207"/>
                  </a:lnTo>
                  <a:lnTo>
                    <a:pt x="59" y="1203"/>
                  </a:lnTo>
                  <a:lnTo>
                    <a:pt x="57" y="1201"/>
                  </a:lnTo>
                  <a:lnTo>
                    <a:pt x="53" y="1203"/>
                  </a:lnTo>
                  <a:lnTo>
                    <a:pt x="48" y="1209"/>
                  </a:lnTo>
                  <a:lnTo>
                    <a:pt x="50" y="1209"/>
                  </a:lnTo>
                  <a:lnTo>
                    <a:pt x="50" y="1218"/>
                  </a:lnTo>
                  <a:lnTo>
                    <a:pt x="52" y="1228"/>
                  </a:lnTo>
                  <a:lnTo>
                    <a:pt x="53" y="1236"/>
                  </a:lnTo>
                  <a:lnTo>
                    <a:pt x="61" y="1236"/>
                  </a:lnTo>
                  <a:lnTo>
                    <a:pt x="63" y="1238"/>
                  </a:lnTo>
                  <a:lnTo>
                    <a:pt x="53" y="1240"/>
                  </a:lnTo>
                  <a:lnTo>
                    <a:pt x="52" y="1247"/>
                  </a:lnTo>
                  <a:lnTo>
                    <a:pt x="52" y="1253"/>
                  </a:lnTo>
                  <a:lnTo>
                    <a:pt x="50" y="1259"/>
                  </a:lnTo>
                  <a:lnTo>
                    <a:pt x="53" y="1261"/>
                  </a:lnTo>
                  <a:lnTo>
                    <a:pt x="59" y="1263"/>
                  </a:lnTo>
                  <a:lnTo>
                    <a:pt x="65" y="1263"/>
                  </a:lnTo>
                  <a:lnTo>
                    <a:pt x="65" y="1270"/>
                  </a:lnTo>
                  <a:lnTo>
                    <a:pt x="61" y="1270"/>
                  </a:lnTo>
                  <a:lnTo>
                    <a:pt x="71" y="1274"/>
                  </a:lnTo>
                  <a:lnTo>
                    <a:pt x="76" y="1278"/>
                  </a:lnTo>
                  <a:lnTo>
                    <a:pt x="80" y="1274"/>
                  </a:lnTo>
                  <a:lnTo>
                    <a:pt x="80" y="1270"/>
                  </a:lnTo>
                  <a:lnTo>
                    <a:pt x="76" y="1266"/>
                  </a:lnTo>
                  <a:lnTo>
                    <a:pt x="76" y="1265"/>
                  </a:lnTo>
                  <a:lnTo>
                    <a:pt x="78" y="1259"/>
                  </a:lnTo>
                  <a:lnTo>
                    <a:pt x="80" y="1255"/>
                  </a:lnTo>
                  <a:lnTo>
                    <a:pt x="69" y="1251"/>
                  </a:lnTo>
                  <a:lnTo>
                    <a:pt x="75" y="1247"/>
                  </a:lnTo>
                  <a:lnTo>
                    <a:pt x="76" y="1247"/>
                  </a:lnTo>
                  <a:lnTo>
                    <a:pt x="76" y="1245"/>
                  </a:lnTo>
                  <a:lnTo>
                    <a:pt x="80" y="1243"/>
                  </a:lnTo>
                  <a:lnTo>
                    <a:pt x="84" y="1243"/>
                  </a:lnTo>
                  <a:lnTo>
                    <a:pt x="84" y="1247"/>
                  </a:lnTo>
                  <a:lnTo>
                    <a:pt x="88" y="1259"/>
                  </a:lnTo>
                  <a:lnTo>
                    <a:pt x="94" y="1261"/>
                  </a:lnTo>
                  <a:lnTo>
                    <a:pt x="101" y="1261"/>
                  </a:lnTo>
                  <a:lnTo>
                    <a:pt x="107" y="1263"/>
                  </a:lnTo>
                  <a:lnTo>
                    <a:pt x="107" y="1274"/>
                  </a:lnTo>
                  <a:lnTo>
                    <a:pt x="100" y="1270"/>
                  </a:lnTo>
                  <a:lnTo>
                    <a:pt x="94" y="1270"/>
                  </a:lnTo>
                  <a:lnTo>
                    <a:pt x="84" y="1266"/>
                  </a:lnTo>
                  <a:lnTo>
                    <a:pt x="92" y="1282"/>
                  </a:lnTo>
                  <a:lnTo>
                    <a:pt x="103" y="1278"/>
                  </a:lnTo>
                  <a:lnTo>
                    <a:pt x="107" y="1278"/>
                  </a:lnTo>
                  <a:lnTo>
                    <a:pt x="117" y="1280"/>
                  </a:lnTo>
                  <a:lnTo>
                    <a:pt x="98" y="1286"/>
                  </a:lnTo>
                  <a:lnTo>
                    <a:pt x="84" y="1290"/>
                  </a:lnTo>
                  <a:lnTo>
                    <a:pt x="84" y="1301"/>
                  </a:lnTo>
                  <a:lnTo>
                    <a:pt x="88" y="1299"/>
                  </a:lnTo>
                  <a:lnTo>
                    <a:pt x="88" y="1293"/>
                  </a:lnTo>
                  <a:lnTo>
                    <a:pt x="96" y="1295"/>
                  </a:lnTo>
                  <a:lnTo>
                    <a:pt x="101" y="1295"/>
                  </a:lnTo>
                  <a:lnTo>
                    <a:pt x="111" y="1297"/>
                  </a:lnTo>
                  <a:lnTo>
                    <a:pt x="111" y="1305"/>
                  </a:lnTo>
                  <a:lnTo>
                    <a:pt x="130" y="1305"/>
                  </a:lnTo>
                  <a:lnTo>
                    <a:pt x="130" y="1311"/>
                  </a:lnTo>
                  <a:lnTo>
                    <a:pt x="134" y="1313"/>
                  </a:lnTo>
                  <a:lnTo>
                    <a:pt x="142" y="1309"/>
                  </a:lnTo>
                  <a:lnTo>
                    <a:pt x="142" y="1311"/>
                  </a:lnTo>
                  <a:lnTo>
                    <a:pt x="140" y="1314"/>
                  </a:lnTo>
                  <a:lnTo>
                    <a:pt x="130" y="1316"/>
                  </a:lnTo>
                  <a:lnTo>
                    <a:pt x="132" y="1320"/>
                  </a:lnTo>
                  <a:lnTo>
                    <a:pt x="138" y="1328"/>
                  </a:lnTo>
                  <a:lnTo>
                    <a:pt x="144" y="1328"/>
                  </a:lnTo>
                  <a:lnTo>
                    <a:pt x="148" y="1330"/>
                  </a:lnTo>
                  <a:lnTo>
                    <a:pt x="149" y="1332"/>
                  </a:lnTo>
                  <a:lnTo>
                    <a:pt x="157" y="1330"/>
                  </a:lnTo>
                  <a:lnTo>
                    <a:pt x="153" y="1326"/>
                  </a:lnTo>
                  <a:lnTo>
                    <a:pt x="157" y="1320"/>
                  </a:lnTo>
                  <a:lnTo>
                    <a:pt x="174" y="1320"/>
                  </a:lnTo>
                  <a:lnTo>
                    <a:pt x="172" y="1316"/>
                  </a:lnTo>
                  <a:lnTo>
                    <a:pt x="172" y="1309"/>
                  </a:lnTo>
                  <a:lnTo>
                    <a:pt x="167" y="1307"/>
                  </a:lnTo>
                  <a:lnTo>
                    <a:pt x="163" y="1307"/>
                  </a:lnTo>
                  <a:lnTo>
                    <a:pt x="161" y="1305"/>
                  </a:lnTo>
                  <a:lnTo>
                    <a:pt x="176" y="1305"/>
                  </a:lnTo>
                  <a:lnTo>
                    <a:pt x="188" y="1324"/>
                  </a:lnTo>
                  <a:lnTo>
                    <a:pt x="195" y="1324"/>
                  </a:lnTo>
                  <a:lnTo>
                    <a:pt x="199" y="1318"/>
                  </a:lnTo>
                  <a:lnTo>
                    <a:pt x="203" y="1316"/>
                  </a:lnTo>
                  <a:lnTo>
                    <a:pt x="205" y="1313"/>
                  </a:lnTo>
                  <a:lnTo>
                    <a:pt x="205" y="1307"/>
                  </a:lnTo>
                  <a:lnTo>
                    <a:pt x="207" y="1305"/>
                  </a:lnTo>
                  <a:lnTo>
                    <a:pt x="222" y="1301"/>
                  </a:lnTo>
                  <a:lnTo>
                    <a:pt x="238" y="1303"/>
                  </a:lnTo>
                  <a:lnTo>
                    <a:pt x="249" y="1305"/>
                  </a:lnTo>
                  <a:lnTo>
                    <a:pt x="236" y="1303"/>
                  </a:lnTo>
                  <a:lnTo>
                    <a:pt x="209" y="1301"/>
                  </a:lnTo>
                  <a:lnTo>
                    <a:pt x="188" y="1299"/>
                  </a:lnTo>
                  <a:lnTo>
                    <a:pt x="178" y="1297"/>
                  </a:lnTo>
                  <a:lnTo>
                    <a:pt x="171" y="1299"/>
                  </a:lnTo>
                  <a:lnTo>
                    <a:pt x="169" y="1299"/>
                  </a:lnTo>
                  <a:lnTo>
                    <a:pt x="165" y="1224"/>
                  </a:lnTo>
                  <a:lnTo>
                    <a:pt x="159" y="1222"/>
                  </a:lnTo>
                  <a:lnTo>
                    <a:pt x="146" y="1216"/>
                  </a:lnTo>
                  <a:lnTo>
                    <a:pt x="148" y="1213"/>
                  </a:lnTo>
                  <a:lnTo>
                    <a:pt x="151" y="1207"/>
                  </a:lnTo>
                  <a:lnTo>
                    <a:pt x="153" y="1201"/>
                  </a:lnTo>
                  <a:lnTo>
                    <a:pt x="161" y="1201"/>
                  </a:lnTo>
                  <a:lnTo>
                    <a:pt x="161" y="1205"/>
                  </a:lnTo>
                  <a:lnTo>
                    <a:pt x="172" y="1205"/>
                  </a:lnTo>
                  <a:lnTo>
                    <a:pt x="171" y="1205"/>
                  </a:lnTo>
                  <a:lnTo>
                    <a:pt x="171" y="1199"/>
                  </a:lnTo>
                  <a:lnTo>
                    <a:pt x="161" y="1197"/>
                  </a:lnTo>
                  <a:lnTo>
                    <a:pt x="144" y="1195"/>
                  </a:lnTo>
                  <a:lnTo>
                    <a:pt x="101" y="1195"/>
                  </a:lnTo>
                  <a:lnTo>
                    <a:pt x="96" y="1197"/>
                  </a:lnTo>
                  <a:lnTo>
                    <a:pt x="80" y="1182"/>
                  </a:lnTo>
                  <a:lnTo>
                    <a:pt x="73" y="1172"/>
                  </a:lnTo>
                  <a:lnTo>
                    <a:pt x="69" y="1165"/>
                  </a:lnTo>
                  <a:lnTo>
                    <a:pt x="69" y="1157"/>
                  </a:lnTo>
                  <a:lnTo>
                    <a:pt x="71" y="1153"/>
                  </a:lnTo>
                  <a:lnTo>
                    <a:pt x="75" y="1147"/>
                  </a:lnTo>
                  <a:lnTo>
                    <a:pt x="75" y="1142"/>
                  </a:lnTo>
                  <a:lnTo>
                    <a:pt x="71" y="1134"/>
                  </a:lnTo>
                  <a:lnTo>
                    <a:pt x="67" y="1132"/>
                  </a:lnTo>
                  <a:lnTo>
                    <a:pt x="63" y="1136"/>
                  </a:lnTo>
                  <a:lnTo>
                    <a:pt x="57" y="1138"/>
                  </a:lnTo>
                  <a:lnTo>
                    <a:pt x="53" y="1136"/>
                  </a:lnTo>
                  <a:lnTo>
                    <a:pt x="53" y="1130"/>
                  </a:lnTo>
                  <a:lnTo>
                    <a:pt x="52" y="1120"/>
                  </a:lnTo>
                  <a:lnTo>
                    <a:pt x="55" y="1109"/>
                  </a:lnTo>
                  <a:lnTo>
                    <a:pt x="59" y="1103"/>
                  </a:lnTo>
                  <a:lnTo>
                    <a:pt x="59" y="1090"/>
                  </a:lnTo>
                  <a:lnTo>
                    <a:pt x="55" y="1080"/>
                  </a:lnTo>
                  <a:lnTo>
                    <a:pt x="57" y="1072"/>
                  </a:lnTo>
                  <a:lnTo>
                    <a:pt x="65" y="1067"/>
                  </a:lnTo>
                  <a:lnTo>
                    <a:pt x="73" y="1065"/>
                  </a:lnTo>
                  <a:lnTo>
                    <a:pt x="76" y="1059"/>
                  </a:lnTo>
                  <a:lnTo>
                    <a:pt x="78" y="1053"/>
                  </a:lnTo>
                  <a:lnTo>
                    <a:pt x="76" y="1045"/>
                  </a:lnTo>
                  <a:lnTo>
                    <a:pt x="76" y="1040"/>
                  </a:lnTo>
                  <a:lnTo>
                    <a:pt x="75" y="1034"/>
                  </a:lnTo>
                  <a:lnTo>
                    <a:pt x="82" y="1022"/>
                  </a:lnTo>
                  <a:lnTo>
                    <a:pt x="86" y="1019"/>
                  </a:lnTo>
                  <a:lnTo>
                    <a:pt x="86" y="1017"/>
                  </a:lnTo>
                  <a:lnTo>
                    <a:pt x="88" y="1013"/>
                  </a:lnTo>
                  <a:lnTo>
                    <a:pt x="88" y="994"/>
                  </a:lnTo>
                  <a:lnTo>
                    <a:pt x="90" y="984"/>
                  </a:lnTo>
                  <a:lnTo>
                    <a:pt x="92" y="978"/>
                  </a:lnTo>
                  <a:lnTo>
                    <a:pt x="92" y="972"/>
                  </a:lnTo>
                  <a:lnTo>
                    <a:pt x="90" y="967"/>
                  </a:lnTo>
                  <a:lnTo>
                    <a:pt x="86" y="959"/>
                  </a:lnTo>
                  <a:lnTo>
                    <a:pt x="86" y="953"/>
                  </a:lnTo>
                  <a:lnTo>
                    <a:pt x="88" y="951"/>
                  </a:lnTo>
                  <a:lnTo>
                    <a:pt x="92" y="944"/>
                  </a:lnTo>
                  <a:lnTo>
                    <a:pt x="98" y="938"/>
                  </a:lnTo>
                  <a:lnTo>
                    <a:pt x="94" y="930"/>
                  </a:lnTo>
                  <a:lnTo>
                    <a:pt x="94" y="924"/>
                  </a:lnTo>
                  <a:lnTo>
                    <a:pt x="98" y="913"/>
                  </a:lnTo>
                  <a:lnTo>
                    <a:pt x="100" y="909"/>
                  </a:lnTo>
                  <a:lnTo>
                    <a:pt x="98" y="901"/>
                  </a:lnTo>
                  <a:lnTo>
                    <a:pt x="96" y="896"/>
                  </a:lnTo>
                  <a:lnTo>
                    <a:pt x="96" y="888"/>
                  </a:lnTo>
                  <a:lnTo>
                    <a:pt x="94" y="884"/>
                  </a:lnTo>
                  <a:lnTo>
                    <a:pt x="94" y="872"/>
                  </a:lnTo>
                  <a:lnTo>
                    <a:pt x="86" y="861"/>
                  </a:lnTo>
                  <a:lnTo>
                    <a:pt x="86" y="851"/>
                  </a:lnTo>
                  <a:lnTo>
                    <a:pt x="94" y="832"/>
                  </a:lnTo>
                  <a:lnTo>
                    <a:pt x="96" y="824"/>
                  </a:lnTo>
                  <a:lnTo>
                    <a:pt x="96" y="819"/>
                  </a:lnTo>
                  <a:lnTo>
                    <a:pt x="94" y="811"/>
                  </a:lnTo>
                  <a:lnTo>
                    <a:pt x="94" y="805"/>
                  </a:lnTo>
                  <a:lnTo>
                    <a:pt x="92" y="803"/>
                  </a:lnTo>
                  <a:lnTo>
                    <a:pt x="88" y="801"/>
                  </a:lnTo>
                  <a:lnTo>
                    <a:pt x="84" y="796"/>
                  </a:lnTo>
                  <a:lnTo>
                    <a:pt x="84" y="788"/>
                  </a:lnTo>
                  <a:lnTo>
                    <a:pt x="86" y="778"/>
                  </a:lnTo>
                  <a:lnTo>
                    <a:pt x="84" y="771"/>
                  </a:lnTo>
                  <a:lnTo>
                    <a:pt x="80" y="761"/>
                  </a:lnTo>
                  <a:lnTo>
                    <a:pt x="88" y="750"/>
                  </a:lnTo>
                  <a:lnTo>
                    <a:pt x="92" y="738"/>
                  </a:lnTo>
                  <a:lnTo>
                    <a:pt x="96" y="711"/>
                  </a:lnTo>
                  <a:lnTo>
                    <a:pt x="101" y="700"/>
                  </a:lnTo>
                  <a:lnTo>
                    <a:pt x="105" y="696"/>
                  </a:lnTo>
                  <a:lnTo>
                    <a:pt x="107" y="696"/>
                  </a:lnTo>
                  <a:lnTo>
                    <a:pt x="107" y="690"/>
                  </a:lnTo>
                  <a:lnTo>
                    <a:pt x="105" y="684"/>
                  </a:lnTo>
                  <a:lnTo>
                    <a:pt x="101" y="676"/>
                  </a:lnTo>
                  <a:lnTo>
                    <a:pt x="101" y="663"/>
                  </a:lnTo>
                  <a:lnTo>
                    <a:pt x="103" y="655"/>
                  </a:lnTo>
                  <a:lnTo>
                    <a:pt x="103" y="648"/>
                  </a:lnTo>
                  <a:lnTo>
                    <a:pt x="105" y="638"/>
                  </a:lnTo>
                  <a:lnTo>
                    <a:pt x="111" y="632"/>
                  </a:lnTo>
                  <a:lnTo>
                    <a:pt x="113" y="628"/>
                  </a:lnTo>
                  <a:lnTo>
                    <a:pt x="121" y="628"/>
                  </a:lnTo>
                  <a:lnTo>
                    <a:pt x="124" y="625"/>
                  </a:lnTo>
                  <a:lnTo>
                    <a:pt x="126" y="619"/>
                  </a:lnTo>
                  <a:lnTo>
                    <a:pt x="123" y="607"/>
                  </a:lnTo>
                  <a:lnTo>
                    <a:pt x="123" y="594"/>
                  </a:lnTo>
                  <a:lnTo>
                    <a:pt x="124" y="586"/>
                  </a:lnTo>
                  <a:lnTo>
                    <a:pt x="130" y="577"/>
                  </a:lnTo>
                  <a:lnTo>
                    <a:pt x="134" y="563"/>
                  </a:lnTo>
                  <a:lnTo>
                    <a:pt x="136" y="550"/>
                  </a:lnTo>
                  <a:lnTo>
                    <a:pt x="136" y="534"/>
                  </a:lnTo>
                  <a:lnTo>
                    <a:pt x="132" y="519"/>
                  </a:lnTo>
                  <a:lnTo>
                    <a:pt x="134" y="513"/>
                  </a:lnTo>
                  <a:lnTo>
                    <a:pt x="138" y="505"/>
                  </a:lnTo>
                  <a:lnTo>
                    <a:pt x="140" y="500"/>
                  </a:lnTo>
                  <a:lnTo>
                    <a:pt x="140" y="492"/>
                  </a:lnTo>
                  <a:lnTo>
                    <a:pt x="138" y="482"/>
                  </a:lnTo>
                  <a:lnTo>
                    <a:pt x="138" y="473"/>
                  </a:lnTo>
                  <a:lnTo>
                    <a:pt x="140" y="467"/>
                  </a:lnTo>
                  <a:lnTo>
                    <a:pt x="140" y="455"/>
                  </a:lnTo>
                  <a:lnTo>
                    <a:pt x="142" y="444"/>
                  </a:lnTo>
                  <a:lnTo>
                    <a:pt x="146" y="432"/>
                  </a:lnTo>
                  <a:lnTo>
                    <a:pt x="148" y="425"/>
                  </a:lnTo>
                  <a:lnTo>
                    <a:pt x="148" y="417"/>
                  </a:lnTo>
                  <a:lnTo>
                    <a:pt x="146" y="407"/>
                  </a:lnTo>
                  <a:lnTo>
                    <a:pt x="148" y="398"/>
                  </a:lnTo>
                  <a:lnTo>
                    <a:pt x="149" y="386"/>
                  </a:lnTo>
                  <a:lnTo>
                    <a:pt x="149" y="373"/>
                  </a:lnTo>
                  <a:lnTo>
                    <a:pt x="153" y="363"/>
                  </a:lnTo>
                  <a:lnTo>
                    <a:pt x="165" y="348"/>
                  </a:lnTo>
                  <a:lnTo>
                    <a:pt x="169" y="340"/>
                  </a:lnTo>
                  <a:lnTo>
                    <a:pt x="172" y="334"/>
                  </a:lnTo>
                  <a:lnTo>
                    <a:pt x="176" y="327"/>
                  </a:lnTo>
                  <a:lnTo>
                    <a:pt x="178" y="319"/>
                  </a:lnTo>
                  <a:lnTo>
                    <a:pt x="180" y="313"/>
                  </a:lnTo>
                  <a:lnTo>
                    <a:pt x="176" y="298"/>
                  </a:lnTo>
                  <a:lnTo>
                    <a:pt x="176" y="292"/>
                  </a:lnTo>
                  <a:lnTo>
                    <a:pt x="180" y="288"/>
                  </a:lnTo>
                  <a:lnTo>
                    <a:pt x="184" y="283"/>
                  </a:lnTo>
                  <a:lnTo>
                    <a:pt x="180" y="277"/>
                  </a:lnTo>
                  <a:lnTo>
                    <a:pt x="176" y="258"/>
                  </a:lnTo>
                  <a:lnTo>
                    <a:pt x="176" y="246"/>
                  </a:lnTo>
                  <a:lnTo>
                    <a:pt x="178" y="238"/>
                  </a:lnTo>
                  <a:lnTo>
                    <a:pt x="182" y="233"/>
                  </a:lnTo>
                  <a:lnTo>
                    <a:pt x="190" y="229"/>
                  </a:lnTo>
                  <a:lnTo>
                    <a:pt x="195" y="223"/>
                  </a:lnTo>
                  <a:lnTo>
                    <a:pt x="199" y="217"/>
                  </a:lnTo>
                  <a:lnTo>
                    <a:pt x="207" y="213"/>
                  </a:lnTo>
                  <a:lnTo>
                    <a:pt x="211" y="208"/>
                  </a:lnTo>
                  <a:lnTo>
                    <a:pt x="213" y="198"/>
                  </a:lnTo>
                  <a:lnTo>
                    <a:pt x="213" y="188"/>
                  </a:lnTo>
                  <a:lnTo>
                    <a:pt x="207" y="183"/>
                  </a:lnTo>
                  <a:lnTo>
                    <a:pt x="201" y="175"/>
                  </a:lnTo>
                  <a:lnTo>
                    <a:pt x="201" y="161"/>
                  </a:lnTo>
                  <a:lnTo>
                    <a:pt x="188" y="154"/>
                  </a:lnTo>
                  <a:lnTo>
                    <a:pt x="184" y="133"/>
                  </a:lnTo>
                  <a:lnTo>
                    <a:pt x="184" y="115"/>
                  </a:lnTo>
                  <a:lnTo>
                    <a:pt x="180" y="100"/>
                  </a:lnTo>
                  <a:lnTo>
                    <a:pt x="178" y="90"/>
                  </a:lnTo>
                  <a:lnTo>
                    <a:pt x="174" y="83"/>
                  </a:lnTo>
                  <a:lnTo>
                    <a:pt x="171" y="63"/>
                  </a:lnTo>
                  <a:lnTo>
                    <a:pt x="171" y="60"/>
                  </a:lnTo>
                  <a:lnTo>
                    <a:pt x="167" y="56"/>
                  </a:lnTo>
                  <a:lnTo>
                    <a:pt x="163" y="50"/>
                  </a:lnTo>
                  <a:lnTo>
                    <a:pt x="157" y="44"/>
                  </a:lnTo>
                  <a:lnTo>
                    <a:pt x="151" y="35"/>
                  </a:lnTo>
                  <a:lnTo>
                    <a:pt x="146" y="23"/>
                  </a:lnTo>
                  <a:lnTo>
                    <a:pt x="144" y="17"/>
                  </a:lnTo>
                  <a:lnTo>
                    <a:pt x="140" y="0"/>
                  </a:lnTo>
                  <a:lnTo>
                    <a:pt x="136" y="2"/>
                  </a:lnTo>
                  <a:lnTo>
                    <a:pt x="130" y="6"/>
                  </a:lnTo>
                  <a:lnTo>
                    <a:pt x="126" y="15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3" name="Freeform 248"/>
            <p:cNvSpPr>
              <a:spLocks/>
            </p:cNvSpPr>
            <p:nvPr/>
          </p:nvSpPr>
          <p:spPr bwMode="gray">
            <a:xfrm>
              <a:off x="3202" y="2409"/>
              <a:ext cx="131" cy="255"/>
            </a:xfrm>
            <a:custGeom>
              <a:avLst/>
              <a:gdLst>
                <a:gd name="T0" fmla="*/ 2 w 263"/>
                <a:gd name="T1" fmla="*/ 292 h 511"/>
                <a:gd name="T2" fmla="*/ 4 w 263"/>
                <a:gd name="T3" fmla="*/ 294 h 511"/>
                <a:gd name="T4" fmla="*/ 12 w 263"/>
                <a:gd name="T5" fmla="*/ 306 h 511"/>
                <a:gd name="T6" fmla="*/ 23 w 263"/>
                <a:gd name="T7" fmla="*/ 311 h 511"/>
                <a:gd name="T8" fmla="*/ 39 w 263"/>
                <a:gd name="T9" fmla="*/ 310 h 511"/>
                <a:gd name="T10" fmla="*/ 40 w 263"/>
                <a:gd name="T11" fmla="*/ 321 h 511"/>
                <a:gd name="T12" fmla="*/ 33 w 263"/>
                <a:gd name="T13" fmla="*/ 340 h 511"/>
                <a:gd name="T14" fmla="*/ 35 w 263"/>
                <a:gd name="T15" fmla="*/ 356 h 511"/>
                <a:gd name="T16" fmla="*/ 40 w 263"/>
                <a:gd name="T17" fmla="*/ 363 h 511"/>
                <a:gd name="T18" fmla="*/ 39 w 263"/>
                <a:gd name="T19" fmla="*/ 377 h 511"/>
                <a:gd name="T20" fmla="*/ 35 w 263"/>
                <a:gd name="T21" fmla="*/ 386 h 511"/>
                <a:gd name="T22" fmla="*/ 40 w 263"/>
                <a:gd name="T23" fmla="*/ 408 h 511"/>
                <a:gd name="T24" fmla="*/ 42 w 263"/>
                <a:gd name="T25" fmla="*/ 423 h 511"/>
                <a:gd name="T26" fmla="*/ 46 w 263"/>
                <a:gd name="T27" fmla="*/ 434 h 511"/>
                <a:gd name="T28" fmla="*/ 25 w 263"/>
                <a:gd name="T29" fmla="*/ 433 h 511"/>
                <a:gd name="T30" fmla="*/ 12 w 263"/>
                <a:gd name="T31" fmla="*/ 440 h 511"/>
                <a:gd name="T32" fmla="*/ 12 w 263"/>
                <a:gd name="T33" fmla="*/ 450 h 511"/>
                <a:gd name="T34" fmla="*/ 23 w 263"/>
                <a:gd name="T35" fmla="*/ 465 h 511"/>
                <a:gd name="T36" fmla="*/ 33 w 263"/>
                <a:gd name="T37" fmla="*/ 479 h 511"/>
                <a:gd name="T38" fmla="*/ 37 w 263"/>
                <a:gd name="T39" fmla="*/ 496 h 511"/>
                <a:gd name="T40" fmla="*/ 39 w 263"/>
                <a:gd name="T41" fmla="*/ 509 h 511"/>
                <a:gd name="T42" fmla="*/ 58 w 263"/>
                <a:gd name="T43" fmla="*/ 498 h 511"/>
                <a:gd name="T44" fmla="*/ 69 w 263"/>
                <a:gd name="T45" fmla="*/ 506 h 511"/>
                <a:gd name="T46" fmla="*/ 90 w 263"/>
                <a:gd name="T47" fmla="*/ 500 h 511"/>
                <a:gd name="T48" fmla="*/ 108 w 263"/>
                <a:gd name="T49" fmla="*/ 496 h 511"/>
                <a:gd name="T50" fmla="*/ 119 w 263"/>
                <a:gd name="T51" fmla="*/ 484 h 511"/>
                <a:gd name="T52" fmla="*/ 138 w 263"/>
                <a:gd name="T53" fmla="*/ 475 h 511"/>
                <a:gd name="T54" fmla="*/ 133 w 263"/>
                <a:gd name="T55" fmla="*/ 465 h 511"/>
                <a:gd name="T56" fmla="*/ 140 w 263"/>
                <a:gd name="T57" fmla="*/ 454 h 511"/>
                <a:gd name="T58" fmla="*/ 161 w 263"/>
                <a:gd name="T59" fmla="*/ 448 h 511"/>
                <a:gd name="T60" fmla="*/ 171 w 263"/>
                <a:gd name="T61" fmla="*/ 442 h 511"/>
                <a:gd name="T62" fmla="*/ 181 w 263"/>
                <a:gd name="T63" fmla="*/ 438 h 511"/>
                <a:gd name="T64" fmla="*/ 184 w 263"/>
                <a:gd name="T65" fmla="*/ 429 h 511"/>
                <a:gd name="T66" fmla="*/ 194 w 263"/>
                <a:gd name="T67" fmla="*/ 423 h 511"/>
                <a:gd name="T68" fmla="*/ 204 w 263"/>
                <a:gd name="T69" fmla="*/ 419 h 511"/>
                <a:gd name="T70" fmla="*/ 207 w 263"/>
                <a:gd name="T71" fmla="*/ 411 h 511"/>
                <a:gd name="T72" fmla="*/ 217 w 263"/>
                <a:gd name="T73" fmla="*/ 402 h 511"/>
                <a:gd name="T74" fmla="*/ 221 w 263"/>
                <a:gd name="T75" fmla="*/ 396 h 511"/>
                <a:gd name="T76" fmla="*/ 213 w 263"/>
                <a:gd name="T77" fmla="*/ 385 h 511"/>
                <a:gd name="T78" fmla="*/ 215 w 263"/>
                <a:gd name="T79" fmla="*/ 373 h 511"/>
                <a:gd name="T80" fmla="*/ 213 w 263"/>
                <a:gd name="T81" fmla="*/ 367 h 511"/>
                <a:gd name="T82" fmla="*/ 215 w 263"/>
                <a:gd name="T83" fmla="*/ 356 h 511"/>
                <a:gd name="T84" fmla="*/ 219 w 263"/>
                <a:gd name="T85" fmla="*/ 346 h 511"/>
                <a:gd name="T86" fmla="*/ 211 w 263"/>
                <a:gd name="T87" fmla="*/ 340 h 511"/>
                <a:gd name="T88" fmla="*/ 196 w 263"/>
                <a:gd name="T89" fmla="*/ 338 h 511"/>
                <a:gd name="T90" fmla="*/ 200 w 263"/>
                <a:gd name="T91" fmla="*/ 329 h 511"/>
                <a:gd name="T92" fmla="*/ 206 w 263"/>
                <a:gd name="T93" fmla="*/ 311 h 511"/>
                <a:gd name="T94" fmla="*/ 217 w 263"/>
                <a:gd name="T95" fmla="*/ 302 h 511"/>
                <a:gd name="T96" fmla="*/ 219 w 263"/>
                <a:gd name="T97" fmla="*/ 281 h 511"/>
                <a:gd name="T98" fmla="*/ 229 w 263"/>
                <a:gd name="T99" fmla="*/ 269 h 511"/>
                <a:gd name="T100" fmla="*/ 227 w 263"/>
                <a:gd name="T101" fmla="*/ 260 h 511"/>
                <a:gd name="T102" fmla="*/ 232 w 263"/>
                <a:gd name="T103" fmla="*/ 248 h 511"/>
                <a:gd name="T104" fmla="*/ 240 w 263"/>
                <a:gd name="T105" fmla="*/ 244 h 511"/>
                <a:gd name="T106" fmla="*/ 259 w 263"/>
                <a:gd name="T107" fmla="*/ 248 h 511"/>
                <a:gd name="T108" fmla="*/ 263 w 263"/>
                <a:gd name="T109" fmla="*/ 131 h 511"/>
                <a:gd name="T110" fmla="*/ 23 w 263"/>
                <a:gd name="T111" fmla="*/ 19 h 511"/>
                <a:gd name="T112" fmla="*/ 48 w 263"/>
                <a:gd name="T113" fmla="*/ 98 h 511"/>
                <a:gd name="T114" fmla="*/ 42 w 263"/>
                <a:gd name="T115" fmla="*/ 115 h 511"/>
                <a:gd name="T116" fmla="*/ 39 w 263"/>
                <a:gd name="T117" fmla="*/ 238 h 511"/>
                <a:gd name="T118" fmla="*/ 0 w 263"/>
                <a:gd name="T119" fmla="*/ 292 h 51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63"/>
                <a:gd name="T181" fmla="*/ 0 h 511"/>
                <a:gd name="T182" fmla="*/ 263 w 263"/>
                <a:gd name="T183" fmla="*/ 511 h 51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63" h="511">
                  <a:moveTo>
                    <a:pt x="0" y="292"/>
                  </a:moveTo>
                  <a:lnTo>
                    <a:pt x="2" y="292"/>
                  </a:lnTo>
                  <a:lnTo>
                    <a:pt x="2" y="294"/>
                  </a:lnTo>
                  <a:lnTo>
                    <a:pt x="4" y="294"/>
                  </a:lnTo>
                  <a:lnTo>
                    <a:pt x="8" y="298"/>
                  </a:lnTo>
                  <a:lnTo>
                    <a:pt x="12" y="306"/>
                  </a:lnTo>
                  <a:lnTo>
                    <a:pt x="15" y="310"/>
                  </a:lnTo>
                  <a:lnTo>
                    <a:pt x="23" y="311"/>
                  </a:lnTo>
                  <a:lnTo>
                    <a:pt x="29" y="311"/>
                  </a:lnTo>
                  <a:lnTo>
                    <a:pt x="39" y="310"/>
                  </a:lnTo>
                  <a:lnTo>
                    <a:pt x="40" y="313"/>
                  </a:lnTo>
                  <a:lnTo>
                    <a:pt x="40" y="321"/>
                  </a:lnTo>
                  <a:lnTo>
                    <a:pt x="14" y="321"/>
                  </a:lnTo>
                  <a:lnTo>
                    <a:pt x="33" y="340"/>
                  </a:lnTo>
                  <a:lnTo>
                    <a:pt x="35" y="346"/>
                  </a:lnTo>
                  <a:lnTo>
                    <a:pt x="35" y="356"/>
                  </a:lnTo>
                  <a:lnTo>
                    <a:pt x="39" y="360"/>
                  </a:lnTo>
                  <a:lnTo>
                    <a:pt x="40" y="363"/>
                  </a:lnTo>
                  <a:lnTo>
                    <a:pt x="39" y="367"/>
                  </a:lnTo>
                  <a:lnTo>
                    <a:pt x="39" y="377"/>
                  </a:lnTo>
                  <a:lnTo>
                    <a:pt x="37" y="381"/>
                  </a:lnTo>
                  <a:lnTo>
                    <a:pt x="35" y="386"/>
                  </a:lnTo>
                  <a:lnTo>
                    <a:pt x="39" y="402"/>
                  </a:lnTo>
                  <a:lnTo>
                    <a:pt x="40" y="408"/>
                  </a:lnTo>
                  <a:lnTo>
                    <a:pt x="42" y="411"/>
                  </a:lnTo>
                  <a:lnTo>
                    <a:pt x="42" y="423"/>
                  </a:lnTo>
                  <a:lnTo>
                    <a:pt x="46" y="429"/>
                  </a:lnTo>
                  <a:lnTo>
                    <a:pt x="46" y="434"/>
                  </a:lnTo>
                  <a:lnTo>
                    <a:pt x="39" y="433"/>
                  </a:lnTo>
                  <a:lnTo>
                    <a:pt x="25" y="433"/>
                  </a:lnTo>
                  <a:lnTo>
                    <a:pt x="15" y="434"/>
                  </a:lnTo>
                  <a:lnTo>
                    <a:pt x="12" y="440"/>
                  </a:lnTo>
                  <a:lnTo>
                    <a:pt x="10" y="444"/>
                  </a:lnTo>
                  <a:lnTo>
                    <a:pt x="12" y="450"/>
                  </a:lnTo>
                  <a:lnTo>
                    <a:pt x="17" y="456"/>
                  </a:lnTo>
                  <a:lnTo>
                    <a:pt x="23" y="465"/>
                  </a:lnTo>
                  <a:lnTo>
                    <a:pt x="29" y="471"/>
                  </a:lnTo>
                  <a:lnTo>
                    <a:pt x="33" y="479"/>
                  </a:lnTo>
                  <a:lnTo>
                    <a:pt x="35" y="490"/>
                  </a:lnTo>
                  <a:lnTo>
                    <a:pt x="37" y="496"/>
                  </a:lnTo>
                  <a:lnTo>
                    <a:pt x="29" y="511"/>
                  </a:lnTo>
                  <a:lnTo>
                    <a:pt x="39" y="509"/>
                  </a:lnTo>
                  <a:lnTo>
                    <a:pt x="52" y="511"/>
                  </a:lnTo>
                  <a:lnTo>
                    <a:pt x="58" y="498"/>
                  </a:lnTo>
                  <a:lnTo>
                    <a:pt x="63" y="504"/>
                  </a:lnTo>
                  <a:lnTo>
                    <a:pt x="69" y="506"/>
                  </a:lnTo>
                  <a:lnTo>
                    <a:pt x="79" y="504"/>
                  </a:lnTo>
                  <a:lnTo>
                    <a:pt x="90" y="500"/>
                  </a:lnTo>
                  <a:lnTo>
                    <a:pt x="100" y="498"/>
                  </a:lnTo>
                  <a:lnTo>
                    <a:pt x="108" y="496"/>
                  </a:lnTo>
                  <a:lnTo>
                    <a:pt x="113" y="492"/>
                  </a:lnTo>
                  <a:lnTo>
                    <a:pt x="119" y="484"/>
                  </a:lnTo>
                  <a:lnTo>
                    <a:pt x="127" y="479"/>
                  </a:lnTo>
                  <a:lnTo>
                    <a:pt x="138" y="475"/>
                  </a:lnTo>
                  <a:lnTo>
                    <a:pt x="138" y="471"/>
                  </a:lnTo>
                  <a:lnTo>
                    <a:pt x="133" y="465"/>
                  </a:lnTo>
                  <a:lnTo>
                    <a:pt x="133" y="458"/>
                  </a:lnTo>
                  <a:lnTo>
                    <a:pt x="140" y="454"/>
                  </a:lnTo>
                  <a:lnTo>
                    <a:pt x="152" y="452"/>
                  </a:lnTo>
                  <a:lnTo>
                    <a:pt x="161" y="448"/>
                  </a:lnTo>
                  <a:lnTo>
                    <a:pt x="167" y="444"/>
                  </a:lnTo>
                  <a:lnTo>
                    <a:pt x="171" y="442"/>
                  </a:lnTo>
                  <a:lnTo>
                    <a:pt x="177" y="440"/>
                  </a:lnTo>
                  <a:lnTo>
                    <a:pt x="181" y="438"/>
                  </a:lnTo>
                  <a:lnTo>
                    <a:pt x="182" y="433"/>
                  </a:lnTo>
                  <a:lnTo>
                    <a:pt x="184" y="429"/>
                  </a:lnTo>
                  <a:lnTo>
                    <a:pt x="190" y="425"/>
                  </a:lnTo>
                  <a:lnTo>
                    <a:pt x="194" y="423"/>
                  </a:lnTo>
                  <a:lnTo>
                    <a:pt x="200" y="421"/>
                  </a:lnTo>
                  <a:lnTo>
                    <a:pt x="204" y="419"/>
                  </a:lnTo>
                  <a:lnTo>
                    <a:pt x="206" y="417"/>
                  </a:lnTo>
                  <a:lnTo>
                    <a:pt x="207" y="411"/>
                  </a:lnTo>
                  <a:lnTo>
                    <a:pt x="211" y="404"/>
                  </a:lnTo>
                  <a:lnTo>
                    <a:pt x="217" y="402"/>
                  </a:lnTo>
                  <a:lnTo>
                    <a:pt x="221" y="400"/>
                  </a:lnTo>
                  <a:lnTo>
                    <a:pt x="221" y="396"/>
                  </a:lnTo>
                  <a:lnTo>
                    <a:pt x="219" y="390"/>
                  </a:lnTo>
                  <a:lnTo>
                    <a:pt x="213" y="385"/>
                  </a:lnTo>
                  <a:lnTo>
                    <a:pt x="213" y="379"/>
                  </a:lnTo>
                  <a:lnTo>
                    <a:pt x="215" y="373"/>
                  </a:lnTo>
                  <a:lnTo>
                    <a:pt x="215" y="369"/>
                  </a:lnTo>
                  <a:lnTo>
                    <a:pt x="213" y="367"/>
                  </a:lnTo>
                  <a:lnTo>
                    <a:pt x="213" y="361"/>
                  </a:lnTo>
                  <a:lnTo>
                    <a:pt x="215" y="356"/>
                  </a:lnTo>
                  <a:lnTo>
                    <a:pt x="219" y="352"/>
                  </a:lnTo>
                  <a:lnTo>
                    <a:pt x="219" y="346"/>
                  </a:lnTo>
                  <a:lnTo>
                    <a:pt x="215" y="342"/>
                  </a:lnTo>
                  <a:lnTo>
                    <a:pt x="211" y="340"/>
                  </a:lnTo>
                  <a:lnTo>
                    <a:pt x="198" y="340"/>
                  </a:lnTo>
                  <a:lnTo>
                    <a:pt x="196" y="338"/>
                  </a:lnTo>
                  <a:lnTo>
                    <a:pt x="196" y="331"/>
                  </a:lnTo>
                  <a:lnTo>
                    <a:pt x="200" y="329"/>
                  </a:lnTo>
                  <a:lnTo>
                    <a:pt x="206" y="323"/>
                  </a:lnTo>
                  <a:lnTo>
                    <a:pt x="206" y="311"/>
                  </a:lnTo>
                  <a:lnTo>
                    <a:pt x="207" y="311"/>
                  </a:lnTo>
                  <a:lnTo>
                    <a:pt x="217" y="302"/>
                  </a:lnTo>
                  <a:lnTo>
                    <a:pt x="219" y="294"/>
                  </a:lnTo>
                  <a:lnTo>
                    <a:pt x="219" y="281"/>
                  </a:lnTo>
                  <a:lnTo>
                    <a:pt x="227" y="273"/>
                  </a:lnTo>
                  <a:lnTo>
                    <a:pt x="229" y="269"/>
                  </a:lnTo>
                  <a:lnTo>
                    <a:pt x="229" y="265"/>
                  </a:lnTo>
                  <a:lnTo>
                    <a:pt x="227" y="260"/>
                  </a:lnTo>
                  <a:lnTo>
                    <a:pt x="230" y="254"/>
                  </a:lnTo>
                  <a:lnTo>
                    <a:pt x="232" y="248"/>
                  </a:lnTo>
                  <a:lnTo>
                    <a:pt x="236" y="244"/>
                  </a:lnTo>
                  <a:lnTo>
                    <a:pt x="240" y="244"/>
                  </a:lnTo>
                  <a:lnTo>
                    <a:pt x="252" y="248"/>
                  </a:lnTo>
                  <a:lnTo>
                    <a:pt x="259" y="248"/>
                  </a:lnTo>
                  <a:lnTo>
                    <a:pt x="263" y="246"/>
                  </a:lnTo>
                  <a:lnTo>
                    <a:pt x="263" y="131"/>
                  </a:lnTo>
                  <a:lnTo>
                    <a:pt x="48" y="0"/>
                  </a:lnTo>
                  <a:lnTo>
                    <a:pt x="23" y="19"/>
                  </a:lnTo>
                  <a:lnTo>
                    <a:pt x="37" y="81"/>
                  </a:lnTo>
                  <a:lnTo>
                    <a:pt x="48" y="98"/>
                  </a:lnTo>
                  <a:lnTo>
                    <a:pt x="48" y="110"/>
                  </a:lnTo>
                  <a:lnTo>
                    <a:pt x="42" y="115"/>
                  </a:lnTo>
                  <a:lnTo>
                    <a:pt x="39" y="135"/>
                  </a:lnTo>
                  <a:lnTo>
                    <a:pt x="39" y="238"/>
                  </a:lnTo>
                  <a:lnTo>
                    <a:pt x="2" y="269"/>
                  </a:lnTo>
                  <a:lnTo>
                    <a:pt x="0" y="29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4" name="Freeform 249"/>
            <p:cNvSpPr>
              <a:spLocks/>
            </p:cNvSpPr>
            <p:nvPr/>
          </p:nvSpPr>
          <p:spPr bwMode="gray">
            <a:xfrm>
              <a:off x="3203" y="2608"/>
              <a:ext cx="167" cy="122"/>
            </a:xfrm>
            <a:custGeom>
              <a:avLst/>
              <a:gdLst>
                <a:gd name="T0" fmla="*/ 121 w 332"/>
                <a:gd name="T1" fmla="*/ 196 h 244"/>
                <a:gd name="T2" fmla="*/ 132 w 332"/>
                <a:gd name="T3" fmla="*/ 179 h 244"/>
                <a:gd name="T4" fmla="*/ 152 w 332"/>
                <a:gd name="T5" fmla="*/ 171 h 244"/>
                <a:gd name="T6" fmla="*/ 175 w 332"/>
                <a:gd name="T7" fmla="*/ 186 h 244"/>
                <a:gd name="T8" fmla="*/ 213 w 332"/>
                <a:gd name="T9" fmla="*/ 192 h 244"/>
                <a:gd name="T10" fmla="*/ 228 w 332"/>
                <a:gd name="T11" fmla="*/ 196 h 244"/>
                <a:gd name="T12" fmla="*/ 238 w 332"/>
                <a:gd name="T13" fmla="*/ 182 h 244"/>
                <a:gd name="T14" fmla="*/ 257 w 332"/>
                <a:gd name="T15" fmla="*/ 184 h 244"/>
                <a:gd name="T16" fmla="*/ 263 w 332"/>
                <a:gd name="T17" fmla="*/ 177 h 244"/>
                <a:gd name="T18" fmla="*/ 274 w 332"/>
                <a:gd name="T19" fmla="*/ 179 h 244"/>
                <a:gd name="T20" fmla="*/ 286 w 332"/>
                <a:gd name="T21" fmla="*/ 167 h 244"/>
                <a:gd name="T22" fmla="*/ 317 w 332"/>
                <a:gd name="T23" fmla="*/ 171 h 244"/>
                <a:gd name="T24" fmla="*/ 330 w 332"/>
                <a:gd name="T25" fmla="*/ 163 h 244"/>
                <a:gd name="T26" fmla="*/ 322 w 332"/>
                <a:gd name="T27" fmla="*/ 142 h 244"/>
                <a:gd name="T28" fmla="*/ 307 w 332"/>
                <a:gd name="T29" fmla="*/ 129 h 244"/>
                <a:gd name="T30" fmla="*/ 296 w 332"/>
                <a:gd name="T31" fmla="*/ 111 h 244"/>
                <a:gd name="T32" fmla="*/ 282 w 332"/>
                <a:gd name="T33" fmla="*/ 106 h 244"/>
                <a:gd name="T34" fmla="*/ 267 w 332"/>
                <a:gd name="T35" fmla="*/ 94 h 244"/>
                <a:gd name="T36" fmla="*/ 255 w 332"/>
                <a:gd name="T37" fmla="*/ 86 h 244"/>
                <a:gd name="T38" fmla="*/ 242 w 332"/>
                <a:gd name="T39" fmla="*/ 71 h 244"/>
                <a:gd name="T40" fmla="*/ 240 w 332"/>
                <a:gd name="T41" fmla="*/ 50 h 244"/>
                <a:gd name="T42" fmla="*/ 228 w 332"/>
                <a:gd name="T43" fmla="*/ 38 h 244"/>
                <a:gd name="T44" fmla="*/ 232 w 332"/>
                <a:gd name="T45" fmla="*/ 15 h 244"/>
                <a:gd name="T46" fmla="*/ 207 w 332"/>
                <a:gd name="T47" fmla="*/ 4 h 244"/>
                <a:gd name="T48" fmla="*/ 200 w 332"/>
                <a:gd name="T49" fmla="*/ 19 h 244"/>
                <a:gd name="T50" fmla="*/ 186 w 332"/>
                <a:gd name="T51" fmla="*/ 25 h 244"/>
                <a:gd name="T52" fmla="*/ 177 w 332"/>
                <a:gd name="T53" fmla="*/ 38 h 244"/>
                <a:gd name="T54" fmla="*/ 163 w 332"/>
                <a:gd name="T55" fmla="*/ 44 h 244"/>
                <a:gd name="T56" fmla="*/ 136 w 332"/>
                <a:gd name="T57" fmla="*/ 54 h 244"/>
                <a:gd name="T58" fmla="*/ 134 w 332"/>
                <a:gd name="T59" fmla="*/ 71 h 244"/>
                <a:gd name="T60" fmla="*/ 115 w 332"/>
                <a:gd name="T61" fmla="*/ 84 h 244"/>
                <a:gd name="T62" fmla="*/ 96 w 332"/>
                <a:gd name="T63" fmla="*/ 98 h 244"/>
                <a:gd name="T64" fmla="*/ 65 w 332"/>
                <a:gd name="T65" fmla="*/ 106 h 244"/>
                <a:gd name="T66" fmla="*/ 48 w 332"/>
                <a:gd name="T67" fmla="*/ 111 h 244"/>
                <a:gd name="T68" fmla="*/ 23 w 332"/>
                <a:gd name="T69" fmla="*/ 119 h 244"/>
                <a:gd name="T70" fmla="*/ 2 w 332"/>
                <a:gd name="T71" fmla="*/ 148 h 244"/>
                <a:gd name="T72" fmla="*/ 10 w 332"/>
                <a:gd name="T73" fmla="*/ 159 h 244"/>
                <a:gd name="T74" fmla="*/ 19 w 332"/>
                <a:gd name="T75" fmla="*/ 182 h 244"/>
                <a:gd name="T76" fmla="*/ 50 w 332"/>
                <a:gd name="T77" fmla="*/ 225 h 244"/>
                <a:gd name="T78" fmla="*/ 65 w 332"/>
                <a:gd name="T79" fmla="*/ 244 h 244"/>
                <a:gd name="T80" fmla="*/ 77 w 332"/>
                <a:gd name="T81" fmla="*/ 238 h 244"/>
                <a:gd name="T82" fmla="*/ 84 w 332"/>
                <a:gd name="T83" fmla="*/ 229 h 244"/>
                <a:gd name="T84" fmla="*/ 98 w 332"/>
                <a:gd name="T85" fmla="*/ 229 h 244"/>
                <a:gd name="T86" fmla="*/ 115 w 332"/>
                <a:gd name="T87" fmla="*/ 223 h 24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32"/>
                <a:gd name="T133" fmla="*/ 0 h 244"/>
                <a:gd name="T134" fmla="*/ 332 w 332"/>
                <a:gd name="T135" fmla="*/ 244 h 24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32" h="244">
                  <a:moveTo>
                    <a:pt x="115" y="223"/>
                  </a:moveTo>
                  <a:lnTo>
                    <a:pt x="117" y="198"/>
                  </a:lnTo>
                  <a:lnTo>
                    <a:pt x="121" y="196"/>
                  </a:lnTo>
                  <a:lnTo>
                    <a:pt x="127" y="192"/>
                  </a:lnTo>
                  <a:lnTo>
                    <a:pt x="130" y="186"/>
                  </a:lnTo>
                  <a:lnTo>
                    <a:pt x="132" y="179"/>
                  </a:lnTo>
                  <a:lnTo>
                    <a:pt x="134" y="173"/>
                  </a:lnTo>
                  <a:lnTo>
                    <a:pt x="140" y="171"/>
                  </a:lnTo>
                  <a:lnTo>
                    <a:pt x="152" y="171"/>
                  </a:lnTo>
                  <a:lnTo>
                    <a:pt x="159" y="173"/>
                  </a:lnTo>
                  <a:lnTo>
                    <a:pt x="165" y="177"/>
                  </a:lnTo>
                  <a:lnTo>
                    <a:pt x="175" y="186"/>
                  </a:lnTo>
                  <a:lnTo>
                    <a:pt x="190" y="190"/>
                  </a:lnTo>
                  <a:lnTo>
                    <a:pt x="207" y="190"/>
                  </a:lnTo>
                  <a:lnTo>
                    <a:pt x="213" y="192"/>
                  </a:lnTo>
                  <a:lnTo>
                    <a:pt x="221" y="194"/>
                  </a:lnTo>
                  <a:lnTo>
                    <a:pt x="226" y="194"/>
                  </a:lnTo>
                  <a:lnTo>
                    <a:pt x="228" y="196"/>
                  </a:lnTo>
                  <a:lnTo>
                    <a:pt x="228" y="184"/>
                  </a:lnTo>
                  <a:lnTo>
                    <a:pt x="234" y="181"/>
                  </a:lnTo>
                  <a:lnTo>
                    <a:pt x="238" y="182"/>
                  </a:lnTo>
                  <a:lnTo>
                    <a:pt x="242" y="186"/>
                  </a:lnTo>
                  <a:lnTo>
                    <a:pt x="249" y="186"/>
                  </a:lnTo>
                  <a:lnTo>
                    <a:pt x="257" y="184"/>
                  </a:lnTo>
                  <a:lnTo>
                    <a:pt x="261" y="184"/>
                  </a:lnTo>
                  <a:lnTo>
                    <a:pt x="263" y="182"/>
                  </a:lnTo>
                  <a:lnTo>
                    <a:pt x="263" y="177"/>
                  </a:lnTo>
                  <a:lnTo>
                    <a:pt x="269" y="175"/>
                  </a:lnTo>
                  <a:lnTo>
                    <a:pt x="273" y="177"/>
                  </a:lnTo>
                  <a:lnTo>
                    <a:pt x="274" y="179"/>
                  </a:lnTo>
                  <a:lnTo>
                    <a:pt x="278" y="177"/>
                  </a:lnTo>
                  <a:lnTo>
                    <a:pt x="282" y="171"/>
                  </a:lnTo>
                  <a:lnTo>
                    <a:pt x="286" y="167"/>
                  </a:lnTo>
                  <a:lnTo>
                    <a:pt x="309" y="167"/>
                  </a:lnTo>
                  <a:lnTo>
                    <a:pt x="315" y="169"/>
                  </a:lnTo>
                  <a:lnTo>
                    <a:pt x="317" y="171"/>
                  </a:lnTo>
                  <a:lnTo>
                    <a:pt x="332" y="171"/>
                  </a:lnTo>
                  <a:lnTo>
                    <a:pt x="332" y="167"/>
                  </a:lnTo>
                  <a:lnTo>
                    <a:pt x="330" y="163"/>
                  </a:lnTo>
                  <a:lnTo>
                    <a:pt x="324" y="157"/>
                  </a:lnTo>
                  <a:lnTo>
                    <a:pt x="324" y="150"/>
                  </a:lnTo>
                  <a:lnTo>
                    <a:pt x="322" y="142"/>
                  </a:lnTo>
                  <a:lnTo>
                    <a:pt x="319" y="136"/>
                  </a:lnTo>
                  <a:lnTo>
                    <a:pt x="315" y="132"/>
                  </a:lnTo>
                  <a:lnTo>
                    <a:pt x="307" y="129"/>
                  </a:lnTo>
                  <a:lnTo>
                    <a:pt x="301" y="125"/>
                  </a:lnTo>
                  <a:lnTo>
                    <a:pt x="297" y="117"/>
                  </a:lnTo>
                  <a:lnTo>
                    <a:pt x="296" y="111"/>
                  </a:lnTo>
                  <a:lnTo>
                    <a:pt x="294" y="108"/>
                  </a:lnTo>
                  <a:lnTo>
                    <a:pt x="286" y="108"/>
                  </a:lnTo>
                  <a:lnTo>
                    <a:pt x="282" y="106"/>
                  </a:lnTo>
                  <a:lnTo>
                    <a:pt x="276" y="104"/>
                  </a:lnTo>
                  <a:lnTo>
                    <a:pt x="274" y="98"/>
                  </a:lnTo>
                  <a:lnTo>
                    <a:pt x="267" y="94"/>
                  </a:lnTo>
                  <a:lnTo>
                    <a:pt x="263" y="94"/>
                  </a:lnTo>
                  <a:lnTo>
                    <a:pt x="257" y="92"/>
                  </a:lnTo>
                  <a:lnTo>
                    <a:pt x="255" y="86"/>
                  </a:lnTo>
                  <a:lnTo>
                    <a:pt x="251" y="84"/>
                  </a:lnTo>
                  <a:lnTo>
                    <a:pt x="248" y="79"/>
                  </a:lnTo>
                  <a:lnTo>
                    <a:pt x="242" y="71"/>
                  </a:lnTo>
                  <a:lnTo>
                    <a:pt x="240" y="59"/>
                  </a:lnTo>
                  <a:lnTo>
                    <a:pt x="242" y="54"/>
                  </a:lnTo>
                  <a:lnTo>
                    <a:pt x="240" y="50"/>
                  </a:lnTo>
                  <a:lnTo>
                    <a:pt x="234" y="44"/>
                  </a:lnTo>
                  <a:lnTo>
                    <a:pt x="228" y="40"/>
                  </a:lnTo>
                  <a:lnTo>
                    <a:pt x="228" y="38"/>
                  </a:lnTo>
                  <a:lnTo>
                    <a:pt x="230" y="33"/>
                  </a:lnTo>
                  <a:lnTo>
                    <a:pt x="232" y="25"/>
                  </a:lnTo>
                  <a:lnTo>
                    <a:pt x="232" y="15"/>
                  </a:lnTo>
                  <a:lnTo>
                    <a:pt x="217" y="0"/>
                  </a:lnTo>
                  <a:lnTo>
                    <a:pt x="213" y="2"/>
                  </a:lnTo>
                  <a:lnTo>
                    <a:pt x="207" y="4"/>
                  </a:lnTo>
                  <a:lnTo>
                    <a:pt x="203" y="11"/>
                  </a:lnTo>
                  <a:lnTo>
                    <a:pt x="202" y="17"/>
                  </a:lnTo>
                  <a:lnTo>
                    <a:pt x="200" y="19"/>
                  </a:lnTo>
                  <a:lnTo>
                    <a:pt x="196" y="21"/>
                  </a:lnTo>
                  <a:lnTo>
                    <a:pt x="190" y="23"/>
                  </a:lnTo>
                  <a:lnTo>
                    <a:pt x="186" y="25"/>
                  </a:lnTo>
                  <a:lnTo>
                    <a:pt x="180" y="29"/>
                  </a:lnTo>
                  <a:lnTo>
                    <a:pt x="178" y="33"/>
                  </a:lnTo>
                  <a:lnTo>
                    <a:pt x="177" y="38"/>
                  </a:lnTo>
                  <a:lnTo>
                    <a:pt x="173" y="40"/>
                  </a:lnTo>
                  <a:lnTo>
                    <a:pt x="167" y="42"/>
                  </a:lnTo>
                  <a:lnTo>
                    <a:pt x="163" y="44"/>
                  </a:lnTo>
                  <a:lnTo>
                    <a:pt x="157" y="48"/>
                  </a:lnTo>
                  <a:lnTo>
                    <a:pt x="148" y="52"/>
                  </a:lnTo>
                  <a:lnTo>
                    <a:pt x="136" y="54"/>
                  </a:lnTo>
                  <a:lnTo>
                    <a:pt x="129" y="58"/>
                  </a:lnTo>
                  <a:lnTo>
                    <a:pt x="129" y="65"/>
                  </a:lnTo>
                  <a:lnTo>
                    <a:pt x="134" y="71"/>
                  </a:lnTo>
                  <a:lnTo>
                    <a:pt x="134" y="75"/>
                  </a:lnTo>
                  <a:lnTo>
                    <a:pt x="123" y="79"/>
                  </a:lnTo>
                  <a:lnTo>
                    <a:pt x="115" y="84"/>
                  </a:lnTo>
                  <a:lnTo>
                    <a:pt x="109" y="92"/>
                  </a:lnTo>
                  <a:lnTo>
                    <a:pt x="104" y="96"/>
                  </a:lnTo>
                  <a:lnTo>
                    <a:pt x="96" y="98"/>
                  </a:lnTo>
                  <a:lnTo>
                    <a:pt x="86" y="100"/>
                  </a:lnTo>
                  <a:lnTo>
                    <a:pt x="75" y="104"/>
                  </a:lnTo>
                  <a:lnTo>
                    <a:pt x="65" y="106"/>
                  </a:lnTo>
                  <a:lnTo>
                    <a:pt x="59" y="104"/>
                  </a:lnTo>
                  <a:lnTo>
                    <a:pt x="54" y="98"/>
                  </a:lnTo>
                  <a:lnTo>
                    <a:pt x="48" y="111"/>
                  </a:lnTo>
                  <a:lnTo>
                    <a:pt x="35" y="109"/>
                  </a:lnTo>
                  <a:lnTo>
                    <a:pt x="25" y="111"/>
                  </a:lnTo>
                  <a:lnTo>
                    <a:pt x="23" y="119"/>
                  </a:lnTo>
                  <a:lnTo>
                    <a:pt x="15" y="132"/>
                  </a:lnTo>
                  <a:lnTo>
                    <a:pt x="8" y="144"/>
                  </a:lnTo>
                  <a:lnTo>
                    <a:pt x="2" y="148"/>
                  </a:lnTo>
                  <a:lnTo>
                    <a:pt x="0" y="152"/>
                  </a:lnTo>
                  <a:lnTo>
                    <a:pt x="2" y="156"/>
                  </a:lnTo>
                  <a:lnTo>
                    <a:pt x="10" y="159"/>
                  </a:lnTo>
                  <a:lnTo>
                    <a:pt x="11" y="165"/>
                  </a:lnTo>
                  <a:lnTo>
                    <a:pt x="15" y="173"/>
                  </a:lnTo>
                  <a:lnTo>
                    <a:pt x="19" y="182"/>
                  </a:lnTo>
                  <a:lnTo>
                    <a:pt x="27" y="198"/>
                  </a:lnTo>
                  <a:lnTo>
                    <a:pt x="29" y="204"/>
                  </a:lnTo>
                  <a:lnTo>
                    <a:pt x="50" y="225"/>
                  </a:lnTo>
                  <a:lnTo>
                    <a:pt x="56" y="234"/>
                  </a:lnTo>
                  <a:lnTo>
                    <a:pt x="61" y="242"/>
                  </a:lnTo>
                  <a:lnTo>
                    <a:pt x="65" y="244"/>
                  </a:lnTo>
                  <a:lnTo>
                    <a:pt x="67" y="244"/>
                  </a:lnTo>
                  <a:lnTo>
                    <a:pt x="73" y="242"/>
                  </a:lnTo>
                  <a:lnTo>
                    <a:pt x="77" y="238"/>
                  </a:lnTo>
                  <a:lnTo>
                    <a:pt x="79" y="232"/>
                  </a:lnTo>
                  <a:lnTo>
                    <a:pt x="81" y="229"/>
                  </a:lnTo>
                  <a:lnTo>
                    <a:pt x="84" y="229"/>
                  </a:lnTo>
                  <a:lnTo>
                    <a:pt x="90" y="227"/>
                  </a:lnTo>
                  <a:lnTo>
                    <a:pt x="94" y="229"/>
                  </a:lnTo>
                  <a:lnTo>
                    <a:pt x="98" y="229"/>
                  </a:lnTo>
                  <a:lnTo>
                    <a:pt x="106" y="227"/>
                  </a:lnTo>
                  <a:lnTo>
                    <a:pt x="111" y="225"/>
                  </a:lnTo>
                  <a:lnTo>
                    <a:pt x="115" y="223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5" name="Freeform 250"/>
            <p:cNvSpPr>
              <a:spLocks/>
            </p:cNvSpPr>
            <p:nvPr/>
          </p:nvSpPr>
          <p:spPr bwMode="gray">
            <a:xfrm>
              <a:off x="1269" y="1431"/>
              <a:ext cx="1071" cy="668"/>
            </a:xfrm>
            <a:custGeom>
              <a:avLst/>
              <a:gdLst>
                <a:gd name="T0" fmla="*/ 1414 w 2142"/>
                <a:gd name="T1" fmla="*/ 1139 h 1335"/>
                <a:gd name="T2" fmla="*/ 1520 w 2142"/>
                <a:gd name="T3" fmla="*/ 1249 h 1335"/>
                <a:gd name="T4" fmla="*/ 1514 w 2142"/>
                <a:gd name="T5" fmla="*/ 1308 h 1335"/>
                <a:gd name="T6" fmla="*/ 1585 w 2142"/>
                <a:gd name="T7" fmla="*/ 1259 h 1335"/>
                <a:gd name="T8" fmla="*/ 1796 w 2142"/>
                <a:gd name="T9" fmla="*/ 1149 h 1335"/>
                <a:gd name="T10" fmla="*/ 1881 w 2142"/>
                <a:gd name="T11" fmla="*/ 1232 h 1335"/>
                <a:gd name="T12" fmla="*/ 1934 w 2142"/>
                <a:gd name="T13" fmla="*/ 1235 h 1335"/>
                <a:gd name="T14" fmla="*/ 1942 w 2142"/>
                <a:gd name="T15" fmla="*/ 1262 h 1335"/>
                <a:gd name="T16" fmla="*/ 1934 w 2142"/>
                <a:gd name="T17" fmla="*/ 1205 h 1335"/>
                <a:gd name="T18" fmla="*/ 1915 w 2142"/>
                <a:gd name="T19" fmla="*/ 1128 h 1335"/>
                <a:gd name="T20" fmla="*/ 1925 w 2142"/>
                <a:gd name="T21" fmla="*/ 1078 h 1335"/>
                <a:gd name="T22" fmla="*/ 1802 w 2142"/>
                <a:gd name="T23" fmla="*/ 1093 h 1335"/>
                <a:gd name="T24" fmla="*/ 1988 w 2142"/>
                <a:gd name="T25" fmla="*/ 1024 h 1335"/>
                <a:gd name="T26" fmla="*/ 2101 w 2142"/>
                <a:gd name="T27" fmla="*/ 972 h 1335"/>
                <a:gd name="T28" fmla="*/ 2034 w 2142"/>
                <a:gd name="T29" fmla="*/ 928 h 1335"/>
                <a:gd name="T30" fmla="*/ 2076 w 2142"/>
                <a:gd name="T31" fmla="*/ 870 h 1335"/>
                <a:gd name="T32" fmla="*/ 1977 w 2142"/>
                <a:gd name="T33" fmla="*/ 782 h 1335"/>
                <a:gd name="T34" fmla="*/ 1930 w 2142"/>
                <a:gd name="T35" fmla="*/ 674 h 1335"/>
                <a:gd name="T36" fmla="*/ 1873 w 2142"/>
                <a:gd name="T37" fmla="*/ 678 h 1335"/>
                <a:gd name="T38" fmla="*/ 1792 w 2142"/>
                <a:gd name="T39" fmla="*/ 624 h 1335"/>
                <a:gd name="T40" fmla="*/ 1731 w 2142"/>
                <a:gd name="T41" fmla="*/ 565 h 1335"/>
                <a:gd name="T42" fmla="*/ 1593 w 2142"/>
                <a:gd name="T43" fmla="*/ 567 h 1335"/>
                <a:gd name="T44" fmla="*/ 1577 w 2142"/>
                <a:gd name="T45" fmla="*/ 651 h 1335"/>
                <a:gd name="T46" fmla="*/ 1618 w 2142"/>
                <a:gd name="T47" fmla="*/ 793 h 1335"/>
                <a:gd name="T48" fmla="*/ 1485 w 2142"/>
                <a:gd name="T49" fmla="*/ 943 h 1335"/>
                <a:gd name="T50" fmla="*/ 1405 w 2142"/>
                <a:gd name="T51" fmla="*/ 841 h 1335"/>
                <a:gd name="T52" fmla="*/ 1213 w 2142"/>
                <a:gd name="T53" fmla="*/ 715 h 1335"/>
                <a:gd name="T54" fmla="*/ 1209 w 2142"/>
                <a:gd name="T55" fmla="*/ 563 h 1335"/>
                <a:gd name="T56" fmla="*/ 1268 w 2142"/>
                <a:gd name="T57" fmla="*/ 524 h 1335"/>
                <a:gd name="T58" fmla="*/ 1347 w 2142"/>
                <a:gd name="T59" fmla="*/ 442 h 1335"/>
                <a:gd name="T60" fmla="*/ 1366 w 2142"/>
                <a:gd name="T61" fmla="*/ 382 h 1335"/>
                <a:gd name="T62" fmla="*/ 1489 w 2142"/>
                <a:gd name="T63" fmla="*/ 353 h 1335"/>
                <a:gd name="T64" fmla="*/ 1481 w 2142"/>
                <a:gd name="T65" fmla="*/ 244 h 1335"/>
                <a:gd name="T66" fmla="*/ 1362 w 2142"/>
                <a:gd name="T67" fmla="*/ 344 h 1335"/>
                <a:gd name="T68" fmla="*/ 1305 w 2142"/>
                <a:gd name="T69" fmla="*/ 242 h 1335"/>
                <a:gd name="T70" fmla="*/ 1239 w 2142"/>
                <a:gd name="T71" fmla="*/ 192 h 1335"/>
                <a:gd name="T72" fmla="*/ 1205 w 2142"/>
                <a:gd name="T73" fmla="*/ 144 h 1335"/>
                <a:gd name="T74" fmla="*/ 1247 w 2142"/>
                <a:gd name="T75" fmla="*/ 63 h 1335"/>
                <a:gd name="T76" fmla="*/ 1157 w 2142"/>
                <a:gd name="T77" fmla="*/ 75 h 1335"/>
                <a:gd name="T78" fmla="*/ 1120 w 2142"/>
                <a:gd name="T79" fmla="*/ 188 h 1335"/>
                <a:gd name="T80" fmla="*/ 1199 w 2142"/>
                <a:gd name="T81" fmla="*/ 230 h 1335"/>
                <a:gd name="T82" fmla="*/ 1149 w 2142"/>
                <a:gd name="T83" fmla="*/ 353 h 1335"/>
                <a:gd name="T84" fmla="*/ 1001 w 2142"/>
                <a:gd name="T85" fmla="*/ 317 h 1335"/>
                <a:gd name="T86" fmla="*/ 844 w 2142"/>
                <a:gd name="T87" fmla="*/ 261 h 1335"/>
                <a:gd name="T88" fmla="*/ 823 w 2142"/>
                <a:gd name="T89" fmla="*/ 328 h 1335"/>
                <a:gd name="T90" fmla="*/ 792 w 2142"/>
                <a:gd name="T91" fmla="*/ 325 h 1335"/>
                <a:gd name="T92" fmla="*/ 679 w 2142"/>
                <a:gd name="T93" fmla="*/ 280 h 1335"/>
                <a:gd name="T94" fmla="*/ 472 w 2142"/>
                <a:gd name="T95" fmla="*/ 227 h 1335"/>
                <a:gd name="T96" fmla="*/ 330 w 2142"/>
                <a:gd name="T97" fmla="*/ 157 h 1335"/>
                <a:gd name="T98" fmla="*/ 249 w 2142"/>
                <a:gd name="T99" fmla="*/ 236 h 1335"/>
                <a:gd name="T100" fmla="*/ 249 w 2142"/>
                <a:gd name="T101" fmla="*/ 203 h 1335"/>
                <a:gd name="T102" fmla="*/ 145 w 2142"/>
                <a:gd name="T103" fmla="*/ 244 h 1335"/>
                <a:gd name="T104" fmla="*/ 23 w 2142"/>
                <a:gd name="T105" fmla="*/ 215 h 1335"/>
                <a:gd name="T106" fmla="*/ 128 w 2142"/>
                <a:gd name="T107" fmla="*/ 665 h 1335"/>
                <a:gd name="T108" fmla="*/ 264 w 2142"/>
                <a:gd name="T109" fmla="*/ 763 h 1335"/>
                <a:gd name="T110" fmla="*/ 295 w 2142"/>
                <a:gd name="T111" fmla="*/ 874 h 1335"/>
                <a:gd name="T112" fmla="*/ 318 w 2142"/>
                <a:gd name="T113" fmla="*/ 943 h 1335"/>
                <a:gd name="T114" fmla="*/ 395 w 2142"/>
                <a:gd name="T115" fmla="*/ 1062 h 1335"/>
                <a:gd name="T116" fmla="*/ 399 w 2142"/>
                <a:gd name="T117" fmla="*/ 1030 h 1335"/>
                <a:gd name="T118" fmla="*/ 1161 w 2142"/>
                <a:gd name="T119" fmla="*/ 1082 h 1335"/>
                <a:gd name="T120" fmla="*/ 1280 w 2142"/>
                <a:gd name="T121" fmla="*/ 1111 h 133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142"/>
                <a:gd name="T184" fmla="*/ 0 h 1335"/>
                <a:gd name="T185" fmla="*/ 2142 w 2142"/>
                <a:gd name="T186" fmla="*/ 1335 h 133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142" h="1335">
                  <a:moveTo>
                    <a:pt x="1297" y="1118"/>
                  </a:moveTo>
                  <a:lnTo>
                    <a:pt x="1299" y="1112"/>
                  </a:lnTo>
                  <a:lnTo>
                    <a:pt x="1299" y="1105"/>
                  </a:lnTo>
                  <a:lnTo>
                    <a:pt x="1303" y="1101"/>
                  </a:lnTo>
                  <a:lnTo>
                    <a:pt x="1314" y="1097"/>
                  </a:lnTo>
                  <a:lnTo>
                    <a:pt x="1320" y="1093"/>
                  </a:lnTo>
                  <a:lnTo>
                    <a:pt x="1320" y="1086"/>
                  </a:lnTo>
                  <a:lnTo>
                    <a:pt x="1322" y="1087"/>
                  </a:lnTo>
                  <a:lnTo>
                    <a:pt x="1324" y="1093"/>
                  </a:lnTo>
                  <a:lnTo>
                    <a:pt x="1328" y="1097"/>
                  </a:lnTo>
                  <a:lnTo>
                    <a:pt x="1328" y="1084"/>
                  </a:lnTo>
                  <a:lnTo>
                    <a:pt x="1332" y="1082"/>
                  </a:lnTo>
                  <a:lnTo>
                    <a:pt x="1341" y="1082"/>
                  </a:lnTo>
                  <a:lnTo>
                    <a:pt x="1353" y="1084"/>
                  </a:lnTo>
                  <a:lnTo>
                    <a:pt x="1366" y="1086"/>
                  </a:lnTo>
                  <a:lnTo>
                    <a:pt x="1370" y="1099"/>
                  </a:lnTo>
                  <a:lnTo>
                    <a:pt x="1376" y="1112"/>
                  </a:lnTo>
                  <a:lnTo>
                    <a:pt x="1385" y="1120"/>
                  </a:lnTo>
                  <a:lnTo>
                    <a:pt x="1405" y="1120"/>
                  </a:lnTo>
                  <a:lnTo>
                    <a:pt x="1405" y="1136"/>
                  </a:lnTo>
                  <a:lnTo>
                    <a:pt x="1408" y="1137"/>
                  </a:lnTo>
                  <a:lnTo>
                    <a:pt x="1414" y="1139"/>
                  </a:lnTo>
                  <a:lnTo>
                    <a:pt x="1416" y="1139"/>
                  </a:lnTo>
                  <a:lnTo>
                    <a:pt x="1416" y="1151"/>
                  </a:lnTo>
                  <a:lnTo>
                    <a:pt x="1414" y="1162"/>
                  </a:lnTo>
                  <a:lnTo>
                    <a:pt x="1420" y="1174"/>
                  </a:lnTo>
                  <a:lnTo>
                    <a:pt x="1431" y="1174"/>
                  </a:lnTo>
                  <a:lnTo>
                    <a:pt x="1431" y="1182"/>
                  </a:lnTo>
                  <a:lnTo>
                    <a:pt x="1456" y="1185"/>
                  </a:lnTo>
                  <a:lnTo>
                    <a:pt x="1477" y="1189"/>
                  </a:lnTo>
                  <a:lnTo>
                    <a:pt x="1501" y="1197"/>
                  </a:lnTo>
                  <a:lnTo>
                    <a:pt x="1501" y="1195"/>
                  </a:lnTo>
                  <a:lnTo>
                    <a:pt x="1508" y="1193"/>
                  </a:lnTo>
                  <a:lnTo>
                    <a:pt x="1512" y="1193"/>
                  </a:lnTo>
                  <a:lnTo>
                    <a:pt x="1516" y="1201"/>
                  </a:lnTo>
                  <a:lnTo>
                    <a:pt x="1520" y="1205"/>
                  </a:lnTo>
                  <a:lnTo>
                    <a:pt x="1531" y="1209"/>
                  </a:lnTo>
                  <a:lnTo>
                    <a:pt x="1531" y="1228"/>
                  </a:lnTo>
                  <a:lnTo>
                    <a:pt x="1533" y="1230"/>
                  </a:lnTo>
                  <a:lnTo>
                    <a:pt x="1539" y="1234"/>
                  </a:lnTo>
                  <a:lnTo>
                    <a:pt x="1543" y="1239"/>
                  </a:lnTo>
                  <a:lnTo>
                    <a:pt x="1531" y="1239"/>
                  </a:lnTo>
                  <a:lnTo>
                    <a:pt x="1531" y="1255"/>
                  </a:lnTo>
                  <a:lnTo>
                    <a:pt x="1520" y="1249"/>
                  </a:lnTo>
                  <a:lnTo>
                    <a:pt x="1520" y="1247"/>
                  </a:lnTo>
                  <a:lnTo>
                    <a:pt x="1512" y="1243"/>
                  </a:lnTo>
                  <a:lnTo>
                    <a:pt x="1501" y="1239"/>
                  </a:lnTo>
                  <a:lnTo>
                    <a:pt x="1489" y="1253"/>
                  </a:lnTo>
                  <a:lnTo>
                    <a:pt x="1485" y="1268"/>
                  </a:lnTo>
                  <a:lnTo>
                    <a:pt x="1485" y="1293"/>
                  </a:lnTo>
                  <a:lnTo>
                    <a:pt x="1474" y="1297"/>
                  </a:lnTo>
                  <a:lnTo>
                    <a:pt x="1468" y="1303"/>
                  </a:lnTo>
                  <a:lnTo>
                    <a:pt x="1468" y="1307"/>
                  </a:lnTo>
                  <a:lnTo>
                    <a:pt x="1466" y="1312"/>
                  </a:lnTo>
                  <a:lnTo>
                    <a:pt x="1466" y="1316"/>
                  </a:lnTo>
                  <a:lnTo>
                    <a:pt x="1458" y="1324"/>
                  </a:lnTo>
                  <a:lnTo>
                    <a:pt x="1460" y="1328"/>
                  </a:lnTo>
                  <a:lnTo>
                    <a:pt x="1460" y="1333"/>
                  </a:lnTo>
                  <a:lnTo>
                    <a:pt x="1470" y="1335"/>
                  </a:lnTo>
                  <a:lnTo>
                    <a:pt x="1472" y="1333"/>
                  </a:lnTo>
                  <a:lnTo>
                    <a:pt x="1477" y="1330"/>
                  </a:lnTo>
                  <a:lnTo>
                    <a:pt x="1477" y="1326"/>
                  </a:lnTo>
                  <a:lnTo>
                    <a:pt x="1485" y="1320"/>
                  </a:lnTo>
                  <a:lnTo>
                    <a:pt x="1497" y="1312"/>
                  </a:lnTo>
                  <a:lnTo>
                    <a:pt x="1508" y="1307"/>
                  </a:lnTo>
                  <a:lnTo>
                    <a:pt x="1514" y="1308"/>
                  </a:lnTo>
                  <a:lnTo>
                    <a:pt x="1520" y="1308"/>
                  </a:lnTo>
                  <a:lnTo>
                    <a:pt x="1524" y="1301"/>
                  </a:lnTo>
                  <a:lnTo>
                    <a:pt x="1531" y="1299"/>
                  </a:lnTo>
                  <a:lnTo>
                    <a:pt x="1539" y="1301"/>
                  </a:lnTo>
                  <a:lnTo>
                    <a:pt x="1547" y="1301"/>
                  </a:lnTo>
                  <a:lnTo>
                    <a:pt x="1547" y="1293"/>
                  </a:lnTo>
                  <a:lnTo>
                    <a:pt x="1533" y="1291"/>
                  </a:lnTo>
                  <a:lnTo>
                    <a:pt x="1535" y="1289"/>
                  </a:lnTo>
                  <a:lnTo>
                    <a:pt x="1543" y="1285"/>
                  </a:lnTo>
                  <a:lnTo>
                    <a:pt x="1547" y="1282"/>
                  </a:lnTo>
                  <a:lnTo>
                    <a:pt x="1550" y="1276"/>
                  </a:lnTo>
                  <a:lnTo>
                    <a:pt x="1554" y="1274"/>
                  </a:lnTo>
                  <a:lnTo>
                    <a:pt x="1572" y="1272"/>
                  </a:lnTo>
                  <a:lnTo>
                    <a:pt x="1587" y="1274"/>
                  </a:lnTo>
                  <a:lnTo>
                    <a:pt x="1600" y="1278"/>
                  </a:lnTo>
                  <a:lnTo>
                    <a:pt x="1600" y="1274"/>
                  </a:lnTo>
                  <a:lnTo>
                    <a:pt x="1606" y="1272"/>
                  </a:lnTo>
                  <a:lnTo>
                    <a:pt x="1608" y="1270"/>
                  </a:lnTo>
                  <a:lnTo>
                    <a:pt x="1602" y="1268"/>
                  </a:lnTo>
                  <a:lnTo>
                    <a:pt x="1589" y="1266"/>
                  </a:lnTo>
                  <a:lnTo>
                    <a:pt x="1587" y="1260"/>
                  </a:lnTo>
                  <a:lnTo>
                    <a:pt x="1585" y="1259"/>
                  </a:lnTo>
                  <a:lnTo>
                    <a:pt x="1608" y="1262"/>
                  </a:lnTo>
                  <a:lnTo>
                    <a:pt x="1620" y="1262"/>
                  </a:lnTo>
                  <a:lnTo>
                    <a:pt x="1623" y="1259"/>
                  </a:lnTo>
                  <a:lnTo>
                    <a:pt x="1629" y="1251"/>
                  </a:lnTo>
                  <a:lnTo>
                    <a:pt x="1637" y="1243"/>
                  </a:lnTo>
                  <a:lnTo>
                    <a:pt x="1652" y="1234"/>
                  </a:lnTo>
                  <a:lnTo>
                    <a:pt x="1666" y="1226"/>
                  </a:lnTo>
                  <a:lnTo>
                    <a:pt x="1673" y="1224"/>
                  </a:lnTo>
                  <a:lnTo>
                    <a:pt x="1679" y="1226"/>
                  </a:lnTo>
                  <a:lnTo>
                    <a:pt x="1700" y="1224"/>
                  </a:lnTo>
                  <a:lnTo>
                    <a:pt x="1733" y="1220"/>
                  </a:lnTo>
                  <a:lnTo>
                    <a:pt x="1750" y="1216"/>
                  </a:lnTo>
                  <a:lnTo>
                    <a:pt x="1752" y="1214"/>
                  </a:lnTo>
                  <a:lnTo>
                    <a:pt x="1754" y="1210"/>
                  </a:lnTo>
                  <a:lnTo>
                    <a:pt x="1758" y="1209"/>
                  </a:lnTo>
                  <a:lnTo>
                    <a:pt x="1767" y="1203"/>
                  </a:lnTo>
                  <a:lnTo>
                    <a:pt x="1777" y="1193"/>
                  </a:lnTo>
                  <a:lnTo>
                    <a:pt x="1781" y="1185"/>
                  </a:lnTo>
                  <a:lnTo>
                    <a:pt x="1785" y="1170"/>
                  </a:lnTo>
                  <a:lnTo>
                    <a:pt x="1788" y="1168"/>
                  </a:lnTo>
                  <a:lnTo>
                    <a:pt x="1794" y="1151"/>
                  </a:lnTo>
                  <a:lnTo>
                    <a:pt x="1796" y="1149"/>
                  </a:lnTo>
                  <a:lnTo>
                    <a:pt x="1800" y="1149"/>
                  </a:lnTo>
                  <a:lnTo>
                    <a:pt x="1804" y="1155"/>
                  </a:lnTo>
                  <a:lnTo>
                    <a:pt x="1806" y="1159"/>
                  </a:lnTo>
                  <a:lnTo>
                    <a:pt x="1810" y="1153"/>
                  </a:lnTo>
                  <a:lnTo>
                    <a:pt x="1817" y="1149"/>
                  </a:lnTo>
                  <a:lnTo>
                    <a:pt x="1827" y="1153"/>
                  </a:lnTo>
                  <a:lnTo>
                    <a:pt x="1833" y="1159"/>
                  </a:lnTo>
                  <a:lnTo>
                    <a:pt x="1834" y="1170"/>
                  </a:lnTo>
                  <a:lnTo>
                    <a:pt x="1834" y="1205"/>
                  </a:lnTo>
                  <a:lnTo>
                    <a:pt x="1836" y="1203"/>
                  </a:lnTo>
                  <a:lnTo>
                    <a:pt x="1842" y="1203"/>
                  </a:lnTo>
                  <a:lnTo>
                    <a:pt x="1844" y="1207"/>
                  </a:lnTo>
                  <a:lnTo>
                    <a:pt x="1844" y="1220"/>
                  </a:lnTo>
                  <a:lnTo>
                    <a:pt x="1848" y="1224"/>
                  </a:lnTo>
                  <a:lnTo>
                    <a:pt x="1848" y="1226"/>
                  </a:lnTo>
                  <a:lnTo>
                    <a:pt x="1846" y="1228"/>
                  </a:lnTo>
                  <a:lnTo>
                    <a:pt x="1850" y="1230"/>
                  </a:lnTo>
                  <a:lnTo>
                    <a:pt x="1856" y="1234"/>
                  </a:lnTo>
                  <a:lnTo>
                    <a:pt x="1858" y="1235"/>
                  </a:lnTo>
                  <a:lnTo>
                    <a:pt x="1867" y="1235"/>
                  </a:lnTo>
                  <a:lnTo>
                    <a:pt x="1875" y="1232"/>
                  </a:lnTo>
                  <a:lnTo>
                    <a:pt x="1881" y="1232"/>
                  </a:lnTo>
                  <a:lnTo>
                    <a:pt x="1877" y="1224"/>
                  </a:lnTo>
                  <a:lnTo>
                    <a:pt x="1877" y="1220"/>
                  </a:lnTo>
                  <a:lnTo>
                    <a:pt x="1881" y="1220"/>
                  </a:lnTo>
                  <a:lnTo>
                    <a:pt x="1884" y="1228"/>
                  </a:lnTo>
                  <a:lnTo>
                    <a:pt x="1904" y="1209"/>
                  </a:lnTo>
                  <a:lnTo>
                    <a:pt x="1911" y="1197"/>
                  </a:lnTo>
                  <a:lnTo>
                    <a:pt x="1911" y="1201"/>
                  </a:lnTo>
                  <a:lnTo>
                    <a:pt x="1913" y="1199"/>
                  </a:lnTo>
                  <a:lnTo>
                    <a:pt x="1919" y="1205"/>
                  </a:lnTo>
                  <a:lnTo>
                    <a:pt x="1911" y="1205"/>
                  </a:lnTo>
                  <a:lnTo>
                    <a:pt x="1909" y="1212"/>
                  </a:lnTo>
                  <a:lnTo>
                    <a:pt x="1909" y="1216"/>
                  </a:lnTo>
                  <a:lnTo>
                    <a:pt x="1907" y="1224"/>
                  </a:lnTo>
                  <a:lnTo>
                    <a:pt x="1917" y="1222"/>
                  </a:lnTo>
                  <a:lnTo>
                    <a:pt x="1929" y="1218"/>
                  </a:lnTo>
                  <a:lnTo>
                    <a:pt x="1938" y="1216"/>
                  </a:lnTo>
                  <a:lnTo>
                    <a:pt x="1940" y="1218"/>
                  </a:lnTo>
                  <a:lnTo>
                    <a:pt x="1944" y="1220"/>
                  </a:lnTo>
                  <a:lnTo>
                    <a:pt x="1942" y="1224"/>
                  </a:lnTo>
                  <a:lnTo>
                    <a:pt x="1936" y="1226"/>
                  </a:lnTo>
                  <a:lnTo>
                    <a:pt x="1936" y="1230"/>
                  </a:lnTo>
                  <a:lnTo>
                    <a:pt x="1934" y="1235"/>
                  </a:lnTo>
                  <a:lnTo>
                    <a:pt x="1917" y="1232"/>
                  </a:lnTo>
                  <a:lnTo>
                    <a:pt x="1911" y="1232"/>
                  </a:lnTo>
                  <a:lnTo>
                    <a:pt x="1896" y="1239"/>
                  </a:lnTo>
                  <a:lnTo>
                    <a:pt x="1896" y="1247"/>
                  </a:lnTo>
                  <a:lnTo>
                    <a:pt x="1884" y="1247"/>
                  </a:lnTo>
                  <a:lnTo>
                    <a:pt x="1875" y="1260"/>
                  </a:lnTo>
                  <a:lnTo>
                    <a:pt x="1873" y="1272"/>
                  </a:lnTo>
                  <a:lnTo>
                    <a:pt x="1888" y="1282"/>
                  </a:lnTo>
                  <a:lnTo>
                    <a:pt x="1892" y="1289"/>
                  </a:lnTo>
                  <a:lnTo>
                    <a:pt x="1898" y="1289"/>
                  </a:lnTo>
                  <a:lnTo>
                    <a:pt x="1900" y="1285"/>
                  </a:lnTo>
                  <a:lnTo>
                    <a:pt x="1904" y="1285"/>
                  </a:lnTo>
                  <a:lnTo>
                    <a:pt x="1904" y="1287"/>
                  </a:lnTo>
                  <a:lnTo>
                    <a:pt x="1905" y="1289"/>
                  </a:lnTo>
                  <a:lnTo>
                    <a:pt x="1907" y="1293"/>
                  </a:lnTo>
                  <a:lnTo>
                    <a:pt x="1923" y="1282"/>
                  </a:lnTo>
                  <a:lnTo>
                    <a:pt x="1925" y="1274"/>
                  </a:lnTo>
                  <a:lnTo>
                    <a:pt x="1925" y="1268"/>
                  </a:lnTo>
                  <a:lnTo>
                    <a:pt x="1927" y="1262"/>
                  </a:lnTo>
                  <a:lnTo>
                    <a:pt x="1932" y="1257"/>
                  </a:lnTo>
                  <a:lnTo>
                    <a:pt x="1936" y="1260"/>
                  </a:lnTo>
                  <a:lnTo>
                    <a:pt x="1942" y="1262"/>
                  </a:lnTo>
                  <a:lnTo>
                    <a:pt x="1942" y="1259"/>
                  </a:lnTo>
                  <a:lnTo>
                    <a:pt x="1944" y="1253"/>
                  </a:lnTo>
                  <a:lnTo>
                    <a:pt x="1946" y="1251"/>
                  </a:lnTo>
                  <a:lnTo>
                    <a:pt x="1952" y="1249"/>
                  </a:lnTo>
                  <a:lnTo>
                    <a:pt x="1959" y="1251"/>
                  </a:lnTo>
                  <a:lnTo>
                    <a:pt x="1965" y="1251"/>
                  </a:lnTo>
                  <a:lnTo>
                    <a:pt x="1965" y="1247"/>
                  </a:lnTo>
                  <a:lnTo>
                    <a:pt x="1973" y="1243"/>
                  </a:lnTo>
                  <a:lnTo>
                    <a:pt x="1982" y="1237"/>
                  </a:lnTo>
                  <a:lnTo>
                    <a:pt x="1988" y="1232"/>
                  </a:lnTo>
                  <a:lnTo>
                    <a:pt x="1988" y="1224"/>
                  </a:lnTo>
                  <a:lnTo>
                    <a:pt x="1996" y="1224"/>
                  </a:lnTo>
                  <a:lnTo>
                    <a:pt x="1992" y="1216"/>
                  </a:lnTo>
                  <a:lnTo>
                    <a:pt x="1988" y="1201"/>
                  </a:lnTo>
                  <a:lnTo>
                    <a:pt x="1978" y="1209"/>
                  </a:lnTo>
                  <a:lnTo>
                    <a:pt x="1967" y="1214"/>
                  </a:lnTo>
                  <a:lnTo>
                    <a:pt x="1953" y="1212"/>
                  </a:lnTo>
                  <a:lnTo>
                    <a:pt x="1946" y="1205"/>
                  </a:lnTo>
                  <a:lnTo>
                    <a:pt x="1940" y="1205"/>
                  </a:lnTo>
                  <a:lnTo>
                    <a:pt x="1938" y="1207"/>
                  </a:lnTo>
                  <a:lnTo>
                    <a:pt x="1934" y="1209"/>
                  </a:lnTo>
                  <a:lnTo>
                    <a:pt x="1934" y="1205"/>
                  </a:lnTo>
                  <a:lnTo>
                    <a:pt x="1930" y="1201"/>
                  </a:lnTo>
                  <a:lnTo>
                    <a:pt x="1938" y="1201"/>
                  </a:lnTo>
                  <a:lnTo>
                    <a:pt x="1938" y="1197"/>
                  </a:lnTo>
                  <a:lnTo>
                    <a:pt x="1942" y="1193"/>
                  </a:lnTo>
                  <a:lnTo>
                    <a:pt x="1932" y="1189"/>
                  </a:lnTo>
                  <a:lnTo>
                    <a:pt x="1923" y="1187"/>
                  </a:lnTo>
                  <a:lnTo>
                    <a:pt x="1915" y="1185"/>
                  </a:lnTo>
                  <a:lnTo>
                    <a:pt x="1915" y="1178"/>
                  </a:lnTo>
                  <a:lnTo>
                    <a:pt x="1917" y="1170"/>
                  </a:lnTo>
                  <a:lnTo>
                    <a:pt x="1915" y="1166"/>
                  </a:lnTo>
                  <a:lnTo>
                    <a:pt x="1919" y="1166"/>
                  </a:lnTo>
                  <a:lnTo>
                    <a:pt x="1919" y="1159"/>
                  </a:lnTo>
                  <a:lnTo>
                    <a:pt x="1915" y="1159"/>
                  </a:lnTo>
                  <a:lnTo>
                    <a:pt x="1911" y="1161"/>
                  </a:lnTo>
                  <a:lnTo>
                    <a:pt x="1911" y="1162"/>
                  </a:lnTo>
                  <a:lnTo>
                    <a:pt x="1907" y="1162"/>
                  </a:lnTo>
                  <a:lnTo>
                    <a:pt x="1911" y="1155"/>
                  </a:lnTo>
                  <a:lnTo>
                    <a:pt x="1911" y="1147"/>
                  </a:lnTo>
                  <a:lnTo>
                    <a:pt x="1915" y="1139"/>
                  </a:lnTo>
                  <a:lnTo>
                    <a:pt x="1915" y="1136"/>
                  </a:lnTo>
                  <a:lnTo>
                    <a:pt x="1917" y="1132"/>
                  </a:lnTo>
                  <a:lnTo>
                    <a:pt x="1915" y="1128"/>
                  </a:lnTo>
                  <a:lnTo>
                    <a:pt x="1904" y="1130"/>
                  </a:lnTo>
                  <a:lnTo>
                    <a:pt x="1884" y="1132"/>
                  </a:lnTo>
                  <a:lnTo>
                    <a:pt x="1881" y="1126"/>
                  </a:lnTo>
                  <a:lnTo>
                    <a:pt x="1879" y="1122"/>
                  </a:lnTo>
                  <a:lnTo>
                    <a:pt x="1877" y="1116"/>
                  </a:lnTo>
                  <a:lnTo>
                    <a:pt x="1882" y="1116"/>
                  </a:lnTo>
                  <a:lnTo>
                    <a:pt x="1884" y="1112"/>
                  </a:lnTo>
                  <a:lnTo>
                    <a:pt x="1888" y="1112"/>
                  </a:lnTo>
                  <a:lnTo>
                    <a:pt x="1896" y="1124"/>
                  </a:lnTo>
                  <a:lnTo>
                    <a:pt x="1898" y="1122"/>
                  </a:lnTo>
                  <a:lnTo>
                    <a:pt x="1902" y="1120"/>
                  </a:lnTo>
                  <a:lnTo>
                    <a:pt x="1907" y="1120"/>
                  </a:lnTo>
                  <a:lnTo>
                    <a:pt x="1909" y="1114"/>
                  </a:lnTo>
                  <a:lnTo>
                    <a:pt x="1909" y="1109"/>
                  </a:lnTo>
                  <a:lnTo>
                    <a:pt x="1911" y="1105"/>
                  </a:lnTo>
                  <a:lnTo>
                    <a:pt x="1923" y="1105"/>
                  </a:lnTo>
                  <a:lnTo>
                    <a:pt x="1923" y="1097"/>
                  </a:lnTo>
                  <a:lnTo>
                    <a:pt x="1921" y="1091"/>
                  </a:lnTo>
                  <a:lnTo>
                    <a:pt x="1923" y="1086"/>
                  </a:lnTo>
                  <a:lnTo>
                    <a:pt x="1925" y="1087"/>
                  </a:lnTo>
                  <a:lnTo>
                    <a:pt x="1930" y="1082"/>
                  </a:lnTo>
                  <a:lnTo>
                    <a:pt x="1925" y="1078"/>
                  </a:lnTo>
                  <a:lnTo>
                    <a:pt x="1921" y="1074"/>
                  </a:lnTo>
                  <a:lnTo>
                    <a:pt x="1919" y="1070"/>
                  </a:lnTo>
                  <a:lnTo>
                    <a:pt x="1919" y="1066"/>
                  </a:lnTo>
                  <a:lnTo>
                    <a:pt x="1900" y="1062"/>
                  </a:lnTo>
                  <a:lnTo>
                    <a:pt x="1884" y="1064"/>
                  </a:lnTo>
                  <a:lnTo>
                    <a:pt x="1869" y="1070"/>
                  </a:lnTo>
                  <a:lnTo>
                    <a:pt x="1854" y="1078"/>
                  </a:lnTo>
                  <a:lnTo>
                    <a:pt x="1821" y="1099"/>
                  </a:lnTo>
                  <a:lnTo>
                    <a:pt x="1792" y="1126"/>
                  </a:lnTo>
                  <a:lnTo>
                    <a:pt x="1769" y="1155"/>
                  </a:lnTo>
                  <a:lnTo>
                    <a:pt x="1773" y="1147"/>
                  </a:lnTo>
                  <a:lnTo>
                    <a:pt x="1781" y="1136"/>
                  </a:lnTo>
                  <a:lnTo>
                    <a:pt x="1783" y="1128"/>
                  </a:lnTo>
                  <a:lnTo>
                    <a:pt x="1787" y="1122"/>
                  </a:lnTo>
                  <a:lnTo>
                    <a:pt x="1788" y="1116"/>
                  </a:lnTo>
                  <a:lnTo>
                    <a:pt x="1781" y="1116"/>
                  </a:lnTo>
                  <a:lnTo>
                    <a:pt x="1781" y="1112"/>
                  </a:lnTo>
                  <a:lnTo>
                    <a:pt x="1783" y="1111"/>
                  </a:lnTo>
                  <a:lnTo>
                    <a:pt x="1788" y="1109"/>
                  </a:lnTo>
                  <a:lnTo>
                    <a:pt x="1792" y="1109"/>
                  </a:lnTo>
                  <a:lnTo>
                    <a:pt x="1798" y="1101"/>
                  </a:lnTo>
                  <a:lnTo>
                    <a:pt x="1802" y="1093"/>
                  </a:lnTo>
                  <a:lnTo>
                    <a:pt x="1808" y="1086"/>
                  </a:lnTo>
                  <a:lnTo>
                    <a:pt x="1819" y="1086"/>
                  </a:lnTo>
                  <a:lnTo>
                    <a:pt x="1819" y="1074"/>
                  </a:lnTo>
                  <a:lnTo>
                    <a:pt x="1831" y="1074"/>
                  </a:lnTo>
                  <a:lnTo>
                    <a:pt x="1850" y="1051"/>
                  </a:lnTo>
                  <a:lnTo>
                    <a:pt x="1852" y="1047"/>
                  </a:lnTo>
                  <a:lnTo>
                    <a:pt x="1854" y="1047"/>
                  </a:lnTo>
                  <a:lnTo>
                    <a:pt x="1861" y="1039"/>
                  </a:lnTo>
                  <a:lnTo>
                    <a:pt x="1865" y="1034"/>
                  </a:lnTo>
                  <a:lnTo>
                    <a:pt x="1869" y="1032"/>
                  </a:lnTo>
                  <a:lnTo>
                    <a:pt x="1902" y="1030"/>
                  </a:lnTo>
                  <a:lnTo>
                    <a:pt x="1930" y="1032"/>
                  </a:lnTo>
                  <a:lnTo>
                    <a:pt x="1953" y="1032"/>
                  </a:lnTo>
                  <a:lnTo>
                    <a:pt x="1957" y="1028"/>
                  </a:lnTo>
                  <a:lnTo>
                    <a:pt x="1959" y="1024"/>
                  </a:lnTo>
                  <a:lnTo>
                    <a:pt x="1969" y="1024"/>
                  </a:lnTo>
                  <a:lnTo>
                    <a:pt x="1971" y="1026"/>
                  </a:lnTo>
                  <a:lnTo>
                    <a:pt x="1973" y="1032"/>
                  </a:lnTo>
                  <a:lnTo>
                    <a:pt x="1980" y="1032"/>
                  </a:lnTo>
                  <a:lnTo>
                    <a:pt x="1982" y="1030"/>
                  </a:lnTo>
                  <a:lnTo>
                    <a:pt x="1984" y="1026"/>
                  </a:lnTo>
                  <a:lnTo>
                    <a:pt x="1988" y="1024"/>
                  </a:lnTo>
                  <a:lnTo>
                    <a:pt x="1990" y="1026"/>
                  </a:lnTo>
                  <a:lnTo>
                    <a:pt x="1994" y="1032"/>
                  </a:lnTo>
                  <a:lnTo>
                    <a:pt x="1996" y="1036"/>
                  </a:lnTo>
                  <a:lnTo>
                    <a:pt x="2007" y="1036"/>
                  </a:lnTo>
                  <a:lnTo>
                    <a:pt x="2007" y="1028"/>
                  </a:lnTo>
                  <a:lnTo>
                    <a:pt x="2015" y="1028"/>
                  </a:lnTo>
                  <a:lnTo>
                    <a:pt x="2019" y="1032"/>
                  </a:lnTo>
                  <a:lnTo>
                    <a:pt x="2026" y="1032"/>
                  </a:lnTo>
                  <a:lnTo>
                    <a:pt x="2026" y="1024"/>
                  </a:lnTo>
                  <a:lnTo>
                    <a:pt x="2042" y="1024"/>
                  </a:lnTo>
                  <a:lnTo>
                    <a:pt x="2044" y="1020"/>
                  </a:lnTo>
                  <a:lnTo>
                    <a:pt x="2044" y="1016"/>
                  </a:lnTo>
                  <a:lnTo>
                    <a:pt x="2046" y="1013"/>
                  </a:lnTo>
                  <a:lnTo>
                    <a:pt x="2051" y="1011"/>
                  </a:lnTo>
                  <a:lnTo>
                    <a:pt x="2059" y="1009"/>
                  </a:lnTo>
                  <a:lnTo>
                    <a:pt x="2065" y="1005"/>
                  </a:lnTo>
                  <a:lnTo>
                    <a:pt x="2065" y="989"/>
                  </a:lnTo>
                  <a:lnTo>
                    <a:pt x="2069" y="982"/>
                  </a:lnTo>
                  <a:lnTo>
                    <a:pt x="2078" y="978"/>
                  </a:lnTo>
                  <a:lnTo>
                    <a:pt x="2092" y="974"/>
                  </a:lnTo>
                  <a:lnTo>
                    <a:pt x="2103" y="970"/>
                  </a:lnTo>
                  <a:lnTo>
                    <a:pt x="2101" y="972"/>
                  </a:lnTo>
                  <a:lnTo>
                    <a:pt x="2107" y="974"/>
                  </a:lnTo>
                  <a:lnTo>
                    <a:pt x="2111" y="974"/>
                  </a:lnTo>
                  <a:lnTo>
                    <a:pt x="2120" y="966"/>
                  </a:lnTo>
                  <a:lnTo>
                    <a:pt x="2134" y="955"/>
                  </a:lnTo>
                  <a:lnTo>
                    <a:pt x="2142" y="947"/>
                  </a:lnTo>
                  <a:lnTo>
                    <a:pt x="2138" y="909"/>
                  </a:lnTo>
                  <a:lnTo>
                    <a:pt x="2134" y="909"/>
                  </a:lnTo>
                  <a:lnTo>
                    <a:pt x="2132" y="913"/>
                  </a:lnTo>
                  <a:lnTo>
                    <a:pt x="2126" y="913"/>
                  </a:lnTo>
                  <a:lnTo>
                    <a:pt x="2117" y="905"/>
                  </a:lnTo>
                  <a:lnTo>
                    <a:pt x="2105" y="895"/>
                  </a:lnTo>
                  <a:lnTo>
                    <a:pt x="2084" y="893"/>
                  </a:lnTo>
                  <a:lnTo>
                    <a:pt x="2084" y="895"/>
                  </a:lnTo>
                  <a:lnTo>
                    <a:pt x="2086" y="899"/>
                  </a:lnTo>
                  <a:lnTo>
                    <a:pt x="2088" y="901"/>
                  </a:lnTo>
                  <a:lnTo>
                    <a:pt x="2080" y="903"/>
                  </a:lnTo>
                  <a:lnTo>
                    <a:pt x="2074" y="903"/>
                  </a:lnTo>
                  <a:lnTo>
                    <a:pt x="2069" y="905"/>
                  </a:lnTo>
                  <a:lnTo>
                    <a:pt x="2057" y="911"/>
                  </a:lnTo>
                  <a:lnTo>
                    <a:pt x="2048" y="915"/>
                  </a:lnTo>
                  <a:lnTo>
                    <a:pt x="2034" y="920"/>
                  </a:lnTo>
                  <a:lnTo>
                    <a:pt x="2034" y="928"/>
                  </a:lnTo>
                  <a:lnTo>
                    <a:pt x="2026" y="926"/>
                  </a:lnTo>
                  <a:lnTo>
                    <a:pt x="2024" y="920"/>
                  </a:lnTo>
                  <a:lnTo>
                    <a:pt x="2023" y="913"/>
                  </a:lnTo>
                  <a:lnTo>
                    <a:pt x="2046" y="913"/>
                  </a:lnTo>
                  <a:lnTo>
                    <a:pt x="2053" y="907"/>
                  </a:lnTo>
                  <a:lnTo>
                    <a:pt x="2061" y="899"/>
                  </a:lnTo>
                  <a:lnTo>
                    <a:pt x="2069" y="893"/>
                  </a:lnTo>
                  <a:lnTo>
                    <a:pt x="2076" y="891"/>
                  </a:lnTo>
                  <a:lnTo>
                    <a:pt x="2084" y="891"/>
                  </a:lnTo>
                  <a:lnTo>
                    <a:pt x="2092" y="890"/>
                  </a:lnTo>
                  <a:lnTo>
                    <a:pt x="2096" y="886"/>
                  </a:lnTo>
                  <a:lnTo>
                    <a:pt x="2099" y="878"/>
                  </a:lnTo>
                  <a:lnTo>
                    <a:pt x="2103" y="874"/>
                  </a:lnTo>
                  <a:lnTo>
                    <a:pt x="2101" y="874"/>
                  </a:lnTo>
                  <a:lnTo>
                    <a:pt x="2092" y="878"/>
                  </a:lnTo>
                  <a:lnTo>
                    <a:pt x="2088" y="870"/>
                  </a:lnTo>
                  <a:lnTo>
                    <a:pt x="2092" y="868"/>
                  </a:lnTo>
                  <a:lnTo>
                    <a:pt x="2088" y="865"/>
                  </a:lnTo>
                  <a:lnTo>
                    <a:pt x="2084" y="863"/>
                  </a:lnTo>
                  <a:lnTo>
                    <a:pt x="2084" y="865"/>
                  </a:lnTo>
                  <a:lnTo>
                    <a:pt x="2082" y="868"/>
                  </a:lnTo>
                  <a:lnTo>
                    <a:pt x="2076" y="870"/>
                  </a:lnTo>
                  <a:lnTo>
                    <a:pt x="2069" y="866"/>
                  </a:lnTo>
                  <a:lnTo>
                    <a:pt x="2067" y="861"/>
                  </a:lnTo>
                  <a:lnTo>
                    <a:pt x="2065" y="851"/>
                  </a:lnTo>
                  <a:lnTo>
                    <a:pt x="2051" y="855"/>
                  </a:lnTo>
                  <a:lnTo>
                    <a:pt x="2042" y="855"/>
                  </a:lnTo>
                  <a:lnTo>
                    <a:pt x="2023" y="851"/>
                  </a:lnTo>
                  <a:lnTo>
                    <a:pt x="2023" y="845"/>
                  </a:lnTo>
                  <a:lnTo>
                    <a:pt x="2024" y="840"/>
                  </a:lnTo>
                  <a:lnTo>
                    <a:pt x="2023" y="830"/>
                  </a:lnTo>
                  <a:lnTo>
                    <a:pt x="2019" y="830"/>
                  </a:lnTo>
                  <a:lnTo>
                    <a:pt x="2007" y="817"/>
                  </a:lnTo>
                  <a:lnTo>
                    <a:pt x="1996" y="817"/>
                  </a:lnTo>
                  <a:lnTo>
                    <a:pt x="1988" y="797"/>
                  </a:lnTo>
                  <a:lnTo>
                    <a:pt x="1986" y="799"/>
                  </a:lnTo>
                  <a:lnTo>
                    <a:pt x="1982" y="801"/>
                  </a:lnTo>
                  <a:lnTo>
                    <a:pt x="1980" y="801"/>
                  </a:lnTo>
                  <a:lnTo>
                    <a:pt x="1982" y="797"/>
                  </a:lnTo>
                  <a:lnTo>
                    <a:pt x="1982" y="790"/>
                  </a:lnTo>
                  <a:lnTo>
                    <a:pt x="1984" y="786"/>
                  </a:lnTo>
                  <a:lnTo>
                    <a:pt x="1980" y="786"/>
                  </a:lnTo>
                  <a:lnTo>
                    <a:pt x="1977" y="784"/>
                  </a:lnTo>
                  <a:lnTo>
                    <a:pt x="1977" y="782"/>
                  </a:lnTo>
                  <a:lnTo>
                    <a:pt x="2003" y="782"/>
                  </a:lnTo>
                  <a:lnTo>
                    <a:pt x="2003" y="770"/>
                  </a:lnTo>
                  <a:lnTo>
                    <a:pt x="1998" y="768"/>
                  </a:lnTo>
                  <a:lnTo>
                    <a:pt x="1990" y="765"/>
                  </a:lnTo>
                  <a:lnTo>
                    <a:pt x="1984" y="763"/>
                  </a:lnTo>
                  <a:lnTo>
                    <a:pt x="1984" y="743"/>
                  </a:lnTo>
                  <a:lnTo>
                    <a:pt x="1980" y="743"/>
                  </a:lnTo>
                  <a:lnTo>
                    <a:pt x="1975" y="742"/>
                  </a:lnTo>
                  <a:lnTo>
                    <a:pt x="1969" y="734"/>
                  </a:lnTo>
                  <a:lnTo>
                    <a:pt x="1965" y="728"/>
                  </a:lnTo>
                  <a:lnTo>
                    <a:pt x="1969" y="720"/>
                  </a:lnTo>
                  <a:lnTo>
                    <a:pt x="1969" y="717"/>
                  </a:lnTo>
                  <a:lnTo>
                    <a:pt x="1942" y="717"/>
                  </a:lnTo>
                  <a:lnTo>
                    <a:pt x="1953" y="709"/>
                  </a:lnTo>
                  <a:lnTo>
                    <a:pt x="1961" y="705"/>
                  </a:lnTo>
                  <a:lnTo>
                    <a:pt x="1950" y="682"/>
                  </a:lnTo>
                  <a:lnTo>
                    <a:pt x="1944" y="682"/>
                  </a:lnTo>
                  <a:lnTo>
                    <a:pt x="1938" y="684"/>
                  </a:lnTo>
                  <a:lnTo>
                    <a:pt x="1934" y="682"/>
                  </a:lnTo>
                  <a:lnTo>
                    <a:pt x="1932" y="680"/>
                  </a:lnTo>
                  <a:lnTo>
                    <a:pt x="1932" y="678"/>
                  </a:lnTo>
                  <a:lnTo>
                    <a:pt x="1930" y="674"/>
                  </a:lnTo>
                  <a:lnTo>
                    <a:pt x="1930" y="663"/>
                  </a:lnTo>
                  <a:lnTo>
                    <a:pt x="1929" y="659"/>
                  </a:lnTo>
                  <a:lnTo>
                    <a:pt x="1929" y="653"/>
                  </a:lnTo>
                  <a:lnTo>
                    <a:pt x="1930" y="644"/>
                  </a:lnTo>
                  <a:lnTo>
                    <a:pt x="1923" y="640"/>
                  </a:lnTo>
                  <a:lnTo>
                    <a:pt x="1923" y="634"/>
                  </a:lnTo>
                  <a:lnTo>
                    <a:pt x="1925" y="628"/>
                  </a:lnTo>
                  <a:lnTo>
                    <a:pt x="1927" y="624"/>
                  </a:lnTo>
                  <a:lnTo>
                    <a:pt x="1923" y="626"/>
                  </a:lnTo>
                  <a:lnTo>
                    <a:pt x="1919" y="624"/>
                  </a:lnTo>
                  <a:lnTo>
                    <a:pt x="1915" y="624"/>
                  </a:lnTo>
                  <a:lnTo>
                    <a:pt x="1905" y="644"/>
                  </a:lnTo>
                  <a:lnTo>
                    <a:pt x="1900" y="657"/>
                  </a:lnTo>
                  <a:lnTo>
                    <a:pt x="1896" y="674"/>
                  </a:lnTo>
                  <a:lnTo>
                    <a:pt x="1892" y="674"/>
                  </a:lnTo>
                  <a:lnTo>
                    <a:pt x="1892" y="663"/>
                  </a:lnTo>
                  <a:lnTo>
                    <a:pt x="1888" y="667"/>
                  </a:lnTo>
                  <a:lnTo>
                    <a:pt x="1881" y="670"/>
                  </a:lnTo>
                  <a:lnTo>
                    <a:pt x="1881" y="682"/>
                  </a:lnTo>
                  <a:lnTo>
                    <a:pt x="1879" y="680"/>
                  </a:lnTo>
                  <a:lnTo>
                    <a:pt x="1875" y="678"/>
                  </a:lnTo>
                  <a:lnTo>
                    <a:pt x="1873" y="678"/>
                  </a:lnTo>
                  <a:lnTo>
                    <a:pt x="1871" y="684"/>
                  </a:lnTo>
                  <a:lnTo>
                    <a:pt x="1871" y="688"/>
                  </a:lnTo>
                  <a:lnTo>
                    <a:pt x="1869" y="694"/>
                  </a:lnTo>
                  <a:lnTo>
                    <a:pt x="1863" y="697"/>
                  </a:lnTo>
                  <a:lnTo>
                    <a:pt x="1856" y="701"/>
                  </a:lnTo>
                  <a:lnTo>
                    <a:pt x="1850" y="705"/>
                  </a:lnTo>
                  <a:lnTo>
                    <a:pt x="1844" y="701"/>
                  </a:lnTo>
                  <a:lnTo>
                    <a:pt x="1840" y="695"/>
                  </a:lnTo>
                  <a:lnTo>
                    <a:pt x="1834" y="690"/>
                  </a:lnTo>
                  <a:lnTo>
                    <a:pt x="1833" y="694"/>
                  </a:lnTo>
                  <a:lnTo>
                    <a:pt x="1829" y="697"/>
                  </a:lnTo>
                  <a:lnTo>
                    <a:pt x="1823" y="697"/>
                  </a:lnTo>
                  <a:lnTo>
                    <a:pt x="1821" y="694"/>
                  </a:lnTo>
                  <a:lnTo>
                    <a:pt x="1819" y="684"/>
                  </a:lnTo>
                  <a:lnTo>
                    <a:pt x="1819" y="678"/>
                  </a:lnTo>
                  <a:lnTo>
                    <a:pt x="1800" y="678"/>
                  </a:lnTo>
                  <a:lnTo>
                    <a:pt x="1785" y="670"/>
                  </a:lnTo>
                  <a:lnTo>
                    <a:pt x="1785" y="644"/>
                  </a:lnTo>
                  <a:lnTo>
                    <a:pt x="1781" y="628"/>
                  </a:lnTo>
                  <a:lnTo>
                    <a:pt x="1785" y="628"/>
                  </a:lnTo>
                  <a:lnTo>
                    <a:pt x="1790" y="626"/>
                  </a:lnTo>
                  <a:lnTo>
                    <a:pt x="1792" y="624"/>
                  </a:lnTo>
                  <a:lnTo>
                    <a:pt x="1792" y="620"/>
                  </a:lnTo>
                  <a:lnTo>
                    <a:pt x="1785" y="620"/>
                  </a:lnTo>
                  <a:lnTo>
                    <a:pt x="1790" y="613"/>
                  </a:lnTo>
                  <a:lnTo>
                    <a:pt x="1794" y="603"/>
                  </a:lnTo>
                  <a:lnTo>
                    <a:pt x="1800" y="594"/>
                  </a:lnTo>
                  <a:lnTo>
                    <a:pt x="1794" y="597"/>
                  </a:lnTo>
                  <a:lnTo>
                    <a:pt x="1790" y="599"/>
                  </a:lnTo>
                  <a:lnTo>
                    <a:pt x="1788" y="601"/>
                  </a:lnTo>
                  <a:lnTo>
                    <a:pt x="1783" y="601"/>
                  </a:lnTo>
                  <a:lnTo>
                    <a:pt x="1777" y="599"/>
                  </a:lnTo>
                  <a:lnTo>
                    <a:pt x="1769" y="597"/>
                  </a:lnTo>
                  <a:lnTo>
                    <a:pt x="1769" y="590"/>
                  </a:lnTo>
                  <a:lnTo>
                    <a:pt x="1773" y="590"/>
                  </a:lnTo>
                  <a:lnTo>
                    <a:pt x="1775" y="588"/>
                  </a:lnTo>
                  <a:lnTo>
                    <a:pt x="1777" y="584"/>
                  </a:lnTo>
                  <a:lnTo>
                    <a:pt x="1777" y="582"/>
                  </a:lnTo>
                  <a:lnTo>
                    <a:pt x="1763" y="582"/>
                  </a:lnTo>
                  <a:lnTo>
                    <a:pt x="1750" y="584"/>
                  </a:lnTo>
                  <a:lnTo>
                    <a:pt x="1739" y="582"/>
                  </a:lnTo>
                  <a:lnTo>
                    <a:pt x="1739" y="571"/>
                  </a:lnTo>
                  <a:lnTo>
                    <a:pt x="1731" y="571"/>
                  </a:lnTo>
                  <a:lnTo>
                    <a:pt x="1731" y="565"/>
                  </a:lnTo>
                  <a:lnTo>
                    <a:pt x="1721" y="553"/>
                  </a:lnTo>
                  <a:lnTo>
                    <a:pt x="1706" y="542"/>
                  </a:lnTo>
                  <a:lnTo>
                    <a:pt x="1692" y="532"/>
                  </a:lnTo>
                  <a:lnTo>
                    <a:pt x="1687" y="534"/>
                  </a:lnTo>
                  <a:lnTo>
                    <a:pt x="1683" y="536"/>
                  </a:lnTo>
                  <a:lnTo>
                    <a:pt x="1677" y="536"/>
                  </a:lnTo>
                  <a:lnTo>
                    <a:pt x="1675" y="540"/>
                  </a:lnTo>
                  <a:lnTo>
                    <a:pt x="1671" y="546"/>
                  </a:lnTo>
                  <a:lnTo>
                    <a:pt x="1669" y="547"/>
                  </a:lnTo>
                  <a:lnTo>
                    <a:pt x="1664" y="549"/>
                  </a:lnTo>
                  <a:lnTo>
                    <a:pt x="1656" y="547"/>
                  </a:lnTo>
                  <a:lnTo>
                    <a:pt x="1650" y="547"/>
                  </a:lnTo>
                  <a:lnTo>
                    <a:pt x="1650" y="555"/>
                  </a:lnTo>
                  <a:lnTo>
                    <a:pt x="1637" y="555"/>
                  </a:lnTo>
                  <a:lnTo>
                    <a:pt x="1621" y="551"/>
                  </a:lnTo>
                  <a:lnTo>
                    <a:pt x="1608" y="547"/>
                  </a:lnTo>
                  <a:lnTo>
                    <a:pt x="1596" y="549"/>
                  </a:lnTo>
                  <a:lnTo>
                    <a:pt x="1589" y="551"/>
                  </a:lnTo>
                  <a:lnTo>
                    <a:pt x="1581" y="551"/>
                  </a:lnTo>
                  <a:lnTo>
                    <a:pt x="1577" y="565"/>
                  </a:lnTo>
                  <a:lnTo>
                    <a:pt x="1585" y="565"/>
                  </a:lnTo>
                  <a:lnTo>
                    <a:pt x="1593" y="567"/>
                  </a:lnTo>
                  <a:lnTo>
                    <a:pt x="1593" y="574"/>
                  </a:lnTo>
                  <a:lnTo>
                    <a:pt x="1585" y="574"/>
                  </a:lnTo>
                  <a:lnTo>
                    <a:pt x="1585" y="578"/>
                  </a:lnTo>
                  <a:lnTo>
                    <a:pt x="1589" y="580"/>
                  </a:lnTo>
                  <a:lnTo>
                    <a:pt x="1589" y="586"/>
                  </a:lnTo>
                  <a:lnTo>
                    <a:pt x="1585" y="590"/>
                  </a:lnTo>
                  <a:lnTo>
                    <a:pt x="1577" y="601"/>
                  </a:lnTo>
                  <a:lnTo>
                    <a:pt x="1573" y="601"/>
                  </a:lnTo>
                  <a:lnTo>
                    <a:pt x="1575" y="607"/>
                  </a:lnTo>
                  <a:lnTo>
                    <a:pt x="1577" y="609"/>
                  </a:lnTo>
                  <a:lnTo>
                    <a:pt x="1589" y="609"/>
                  </a:lnTo>
                  <a:lnTo>
                    <a:pt x="1587" y="622"/>
                  </a:lnTo>
                  <a:lnTo>
                    <a:pt x="1587" y="630"/>
                  </a:lnTo>
                  <a:lnTo>
                    <a:pt x="1596" y="640"/>
                  </a:lnTo>
                  <a:lnTo>
                    <a:pt x="1596" y="644"/>
                  </a:lnTo>
                  <a:lnTo>
                    <a:pt x="1595" y="647"/>
                  </a:lnTo>
                  <a:lnTo>
                    <a:pt x="1593" y="647"/>
                  </a:lnTo>
                  <a:lnTo>
                    <a:pt x="1591" y="653"/>
                  </a:lnTo>
                  <a:lnTo>
                    <a:pt x="1589" y="655"/>
                  </a:lnTo>
                  <a:lnTo>
                    <a:pt x="1585" y="653"/>
                  </a:lnTo>
                  <a:lnTo>
                    <a:pt x="1581" y="653"/>
                  </a:lnTo>
                  <a:lnTo>
                    <a:pt x="1577" y="651"/>
                  </a:lnTo>
                  <a:lnTo>
                    <a:pt x="1581" y="659"/>
                  </a:lnTo>
                  <a:lnTo>
                    <a:pt x="1585" y="661"/>
                  </a:lnTo>
                  <a:lnTo>
                    <a:pt x="1585" y="670"/>
                  </a:lnTo>
                  <a:lnTo>
                    <a:pt x="1577" y="672"/>
                  </a:lnTo>
                  <a:lnTo>
                    <a:pt x="1570" y="672"/>
                  </a:lnTo>
                  <a:lnTo>
                    <a:pt x="1562" y="674"/>
                  </a:lnTo>
                  <a:lnTo>
                    <a:pt x="1562" y="697"/>
                  </a:lnTo>
                  <a:lnTo>
                    <a:pt x="1577" y="701"/>
                  </a:lnTo>
                  <a:lnTo>
                    <a:pt x="1585" y="705"/>
                  </a:lnTo>
                  <a:lnTo>
                    <a:pt x="1591" y="717"/>
                  </a:lnTo>
                  <a:lnTo>
                    <a:pt x="1595" y="734"/>
                  </a:lnTo>
                  <a:lnTo>
                    <a:pt x="1600" y="747"/>
                  </a:lnTo>
                  <a:lnTo>
                    <a:pt x="1604" y="751"/>
                  </a:lnTo>
                  <a:lnTo>
                    <a:pt x="1612" y="755"/>
                  </a:lnTo>
                  <a:lnTo>
                    <a:pt x="1616" y="759"/>
                  </a:lnTo>
                  <a:lnTo>
                    <a:pt x="1616" y="768"/>
                  </a:lnTo>
                  <a:lnTo>
                    <a:pt x="1612" y="782"/>
                  </a:lnTo>
                  <a:lnTo>
                    <a:pt x="1608" y="797"/>
                  </a:lnTo>
                  <a:lnTo>
                    <a:pt x="1610" y="795"/>
                  </a:lnTo>
                  <a:lnTo>
                    <a:pt x="1612" y="792"/>
                  </a:lnTo>
                  <a:lnTo>
                    <a:pt x="1616" y="790"/>
                  </a:lnTo>
                  <a:lnTo>
                    <a:pt x="1618" y="793"/>
                  </a:lnTo>
                  <a:lnTo>
                    <a:pt x="1618" y="801"/>
                  </a:lnTo>
                  <a:lnTo>
                    <a:pt x="1620" y="805"/>
                  </a:lnTo>
                  <a:lnTo>
                    <a:pt x="1608" y="805"/>
                  </a:lnTo>
                  <a:lnTo>
                    <a:pt x="1600" y="824"/>
                  </a:lnTo>
                  <a:lnTo>
                    <a:pt x="1596" y="830"/>
                  </a:lnTo>
                  <a:lnTo>
                    <a:pt x="1583" y="845"/>
                  </a:lnTo>
                  <a:lnTo>
                    <a:pt x="1566" y="857"/>
                  </a:lnTo>
                  <a:lnTo>
                    <a:pt x="1547" y="866"/>
                  </a:lnTo>
                  <a:lnTo>
                    <a:pt x="1554" y="909"/>
                  </a:lnTo>
                  <a:lnTo>
                    <a:pt x="1560" y="945"/>
                  </a:lnTo>
                  <a:lnTo>
                    <a:pt x="1554" y="986"/>
                  </a:lnTo>
                  <a:lnTo>
                    <a:pt x="1543" y="986"/>
                  </a:lnTo>
                  <a:lnTo>
                    <a:pt x="1537" y="993"/>
                  </a:lnTo>
                  <a:lnTo>
                    <a:pt x="1531" y="997"/>
                  </a:lnTo>
                  <a:lnTo>
                    <a:pt x="1516" y="993"/>
                  </a:lnTo>
                  <a:lnTo>
                    <a:pt x="1508" y="986"/>
                  </a:lnTo>
                  <a:lnTo>
                    <a:pt x="1495" y="974"/>
                  </a:lnTo>
                  <a:lnTo>
                    <a:pt x="1489" y="966"/>
                  </a:lnTo>
                  <a:lnTo>
                    <a:pt x="1489" y="963"/>
                  </a:lnTo>
                  <a:lnTo>
                    <a:pt x="1491" y="955"/>
                  </a:lnTo>
                  <a:lnTo>
                    <a:pt x="1489" y="947"/>
                  </a:lnTo>
                  <a:lnTo>
                    <a:pt x="1485" y="943"/>
                  </a:lnTo>
                  <a:lnTo>
                    <a:pt x="1477" y="941"/>
                  </a:lnTo>
                  <a:lnTo>
                    <a:pt x="1474" y="940"/>
                  </a:lnTo>
                  <a:lnTo>
                    <a:pt x="1474" y="920"/>
                  </a:lnTo>
                  <a:lnTo>
                    <a:pt x="1468" y="916"/>
                  </a:lnTo>
                  <a:lnTo>
                    <a:pt x="1472" y="911"/>
                  </a:lnTo>
                  <a:lnTo>
                    <a:pt x="1474" y="909"/>
                  </a:lnTo>
                  <a:lnTo>
                    <a:pt x="1470" y="905"/>
                  </a:lnTo>
                  <a:lnTo>
                    <a:pt x="1470" y="901"/>
                  </a:lnTo>
                  <a:lnTo>
                    <a:pt x="1474" y="897"/>
                  </a:lnTo>
                  <a:lnTo>
                    <a:pt x="1476" y="890"/>
                  </a:lnTo>
                  <a:lnTo>
                    <a:pt x="1476" y="880"/>
                  </a:lnTo>
                  <a:lnTo>
                    <a:pt x="1477" y="874"/>
                  </a:lnTo>
                  <a:lnTo>
                    <a:pt x="1476" y="872"/>
                  </a:lnTo>
                  <a:lnTo>
                    <a:pt x="1472" y="866"/>
                  </a:lnTo>
                  <a:lnTo>
                    <a:pt x="1474" y="863"/>
                  </a:lnTo>
                  <a:lnTo>
                    <a:pt x="1476" y="863"/>
                  </a:lnTo>
                  <a:lnTo>
                    <a:pt x="1476" y="855"/>
                  </a:lnTo>
                  <a:lnTo>
                    <a:pt x="1474" y="851"/>
                  </a:lnTo>
                  <a:lnTo>
                    <a:pt x="1454" y="845"/>
                  </a:lnTo>
                  <a:lnTo>
                    <a:pt x="1431" y="847"/>
                  </a:lnTo>
                  <a:lnTo>
                    <a:pt x="1412" y="847"/>
                  </a:lnTo>
                  <a:lnTo>
                    <a:pt x="1405" y="841"/>
                  </a:lnTo>
                  <a:lnTo>
                    <a:pt x="1393" y="832"/>
                  </a:lnTo>
                  <a:lnTo>
                    <a:pt x="1385" y="826"/>
                  </a:lnTo>
                  <a:lnTo>
                    <a:pt x="1372" y="822"/>
                  </a:lnTo>
                  <a:lnTo>
                    <a:pt x="1353" y="817"/>
                  </a:lnTo>
                  <a:lnTo>
                    <a:pt x="1343" y="813"/>
                  </a:lnTo>
                  <a:lnTo>
                    <a:pt x="1339" y="805"/>
                  </a:lnTo>
                  <a:lnTo>
                    <a:pt x="1339" y="795"/>
                  </a:lnTo>
                  <a:lnTo>
                    <a:pt x="1335" y="786"/>
                  </a:lnTo>
                  <a:lnTo>
                    <a:pt x="1330" y="784"/>
                  </a:lnTo>
                  <a:lnTo>
                    <a:pt x="1324" y="784"/>
                  </a:lnTo>
                  <a:lnTo>
                    <a:pt x="1316" y="782"/>
                  </a:lnTo>
                  <a:lnTo>
                    <a:pt x="1311" y="778"/>
                  </a:lnTo>
                  <a:lnTo>
                    <a:pt x="1305" y="770"/>
                  </a:lnTo>
                  <a:lnTo>
                    <a:pt x="1299" y="767"/>
                  </a:lnTo>
                  <a:lnTo>
                    <a:pt x="1284" y="767"/>
                  </a:lnTo>
                  <a:lnTo>
                    <a:pt x="1272" y="759"/>
                  </a:lnTo>
                  <a:lnTo>
                    <a:pt x="1268" y="755"/>
                  </a:lnTo>
                  <a:lnTo>
                    <a:pt x="1253" y="753"/>
                  </a:lnTo>
                  <a:lnTo>
                    <a:pt x="1241" y="757"/>
                  </a:lnTo>
                  <a:lnTo>
                    <a:pt x="1228" y="763"/>
                  </a:lnTo>
                  <a:lnTo>
                    <a:pt x="1222" y="740"/>
                  </a:lnTo>
                  <a:lnTo>
                    <a:pt x="1213" y="715"/>
                  </a:lnTo>
                  <a:lnTo>
                    <a:pt x="1201" y="690"/>
                  </a:lnTo>
                  <a:lnTo>
                    <a:pt x="1180" y="692"/>
                  </a:lnTo>
                  <a:lnTo>
                    <a:pt x="1172" y="692"/>
                  </a:lnTo>
                  <a:lnTo>
                    <a:pt x="1163" y="674"/>
                  </a:lnTo>
                  <a:lnTo>
                    <a:pt x="1155" y="667"/>
                  </a:lnTo>
                  <a:lnTo>
                    <a:pt x="1155" y="659"/>
                  </a:lnTo>
                  <a:lnTo>
                    <a:pt x="1159" y="636"/>
                  </a:lnTo>
                  <a:lnTo>
                    <a:pt x="1167" y="632"/>
                  </a:lnTo>
                  <a:lnTo>
                    <a:pt x="1170" y="628"/>
                  </a:lnTo>
                  <a:lnTo>
                    <a:pt x="1170" y="622"/>
                  </a:lnTo>
                  <a:lnTo>
                    <a:pt x="1165" y="619"/>
                  </a:lnTo>
                  <a:lnTo>
                    <a:pt x="1167" y="613"/>
                  </a:lnTo>
                  <a:lnTo>
                    <a:pt x="1178" y="613"/>
                  </a:lnTo>
                  <a:lnTo>
                    <a:pt x="1178" y="594"/>
                  </a:lnTo>
                  <a:lnTo>
                    <a:pt x="1190" y="586"/>
                  </a:lnTo>
                  <a:lnTo>
                    <a:pt x="1193" y="578"/>
                  </a:lnTo>
                  <a:lnTo>
                    <a:pt x="1193" y="574"/>
                  </a:lnTo>
                  <a:lnTo>
                    <a:pt x="1199" y="574"/>
                  </a:lnTo>
                  <a:lnTo>
                    <a:pt x="1205" y="576"/>
                  </a:lnTo>
                  <a:lnTo>
                    <a:pt x="1209" y="574"/>
                  </a:lnTo>
                  <a:lnTo>
                    <a:pt x="1211" y="569"/>
                  </a:lnTo>
                  <a:lnTo>
                    <a:pt x="1209" y="563"/>
                  </a:lnTo>
                  <a:lnTo>
                    <a:pt x="1209" y="555"/>
                  </a:lnTo>
                  <a:lnTo>
                    <a:pt x="1213" y="553"/>
                  </a:lnTo>
                  <a:lnTo>
                    <a:pt x="1215" y="553"/>
                  </a:lnTo>
                  <a:lnTo>
                    <a:pt x="1216" y="547"/>
                  </a:lnTo>
                  <a:lnTo>
                    <a:pt x="1220" y="551"/>
                  </a:lnTo>
                  <a:lnTo>
                    <a:pt x="1226" y="553"/>
                  </a:lnTo>
                  <a:lnTo>
                    <a:pt x="1232" y="551"/>
                  </a:lnTo>
                  <a:lnTo>
                    <a:pt x="1232" y="549"/>
                  </a:lnTo>
                  <a:lnTo>
                    <a:pt x="1226" y="546"/>
                  </a:lnTo>
                  <a:lnTo>
                    <a:pt x="1224" y="544"/>
                  </a:lnTo>
                  <a:lnTo>
                    <a:pt x="1232" y="542"/>
                  </a:lnTo>
                  <a:lnTo>
                    <a:pt x="1236" y="540"/>
                  </a:lnTo>
                  <a:lnTo>
                    <a:pt x="1239" y="536"/>
                  </a:lnTo>
                  <a:lnTo>
                    <a:pt x="1236" y="536"/>
                  </a:lnTo>
                  <a:lnTo>
                    <a:pt x="1232" y="534"/>
                  </a:lnTo>
                  <a:lnTo>
                    <a:pt x="1232" y="532"/>
                  </a:lnTo>
                  <a:lnTo>
                    <a:pt x="1239" y="532"/>
                  </a:lnTo>
                  <a:lnTo>
                    <a:pt x="1245" y="536"/>
                  </a:lnTo>
                  <a:lnTo>
                    <a:pt x="1253" y="536"/>
                  </a:lnTo>
                  <a:lnTo>
                    <a:pt x="1257" y="534"/>
                  </a:lnTo>
                  <a:lnTo>
                    <a:pt x="1263" y="528"/>
                  </a:lnTo>
                  <a:lnTo>
                    <a:pt x="1268" y="524"/>
                  </a:lnTo>
                  <a:lnTo>
                    <a:pt x="1268" y="521"/>
                  </a:lnTo>
                  <a:lnTo>
                    <a:pt x="1272" y="513"/>
                  </a:lnTo>
                  <a:lnTo>
                    <a:pt x="1266" y="511"/>
                  </a:lnTo>
                  <a:lnTo>
                    <a:pt x="1261" y="505"/>
                  </a:lnTo>
                  <a:lnTo>
                    <a:pt x="1261" y="498"/>
                  </a:lnTo>
                  <a:lnTo>
                    <a:pt x="1266" y="499"/>
                  </a:lnTo>
                  <a:lnTo>
                    <a:pt x="1270" y="501"/>
                  </a:lnTo>
                  <a:lnTo>
                    <a:pt x="1276" y="501"/>
                  </a:lnTo>
                  <a:lnTo>
                    <a:pt x="1278" y="492"/>
                  </a:lnTo>
                  <a:lnTo>
                    <a:pt x="1278" y="482"/>
                  </a:lnTo>
                  <a:lnTo>
                    <a:pt x="1280" y="471"/>
                  </a:lnTo>
                  <a:lnTo>
                    <a:pt x="1295" y="471"/>
                  </a:lnTo>
                  <a:lnTo>
                    <a:pt x="1295" y="465"/>
                  </a:lnTo>
                  <a:lnTo>
                    <a:pt x="1299" y="463"/>
                  </a:lnTo>
                  <a:lnTo>
                    <a:pt x="1311" y="467"/>
                  </a:lnTo>
                  <a:lnTo>
                    <a:pt x="1314" y="473"/>
                  </a:lnTo>
                  <a:lnTo>
                    <a:pt x="1335" y="463"/>
                  </a:lnTo>
                  <a:lnTo>
                    <a:pt x="1343" y="463"/>
                  </a:lnTo>
                  <a:lnTo>
                    <a:pt x="1347" y="459"/>
                  </a:lnTo>
                  <a:lnTo>
                    <a:pt x="1347" y="455"/>
                  </a:lnTo>
                  <a:lnTo>
                    <a:pt x="1343" y="444"/>
                  </a:lnTo>
                  <a:lnTo>
                    <a:pt x="1347" y="442"/>
                  </a:lnTo>
                  <a:lnTo>
                    <a:pt x="1347" y="436"/>
                  </a:lnTo>
                  <a:lnTo>
                    <a:pt x="1353" y="438"/>
                  </a:lnTo>
                  <a:lnTo>
                    <a:pt x="1353" y="432"/>
                  </a:lnTo>
                  <a:lnTo>
                    <a:pt x="1351" y="428"/>
                  </a:lnTo>
                  <a:lnTo>
                    <a:pt x="1326" y="428"/>
                  </a:lnTo>
                  <a:lnTo>
                    <a:pt x="1303" y="426"/>
                  </a:lnTo>
                  <a:lnTo>
                    <a:pt x="1272" y="426"/>
                  </a:lnTo>
                  <a:lnTo>
                    <a:pt x="1289" y="421"/>
                  </a:lnTo>
                  <a:lnTo>
                    <a:pt x="1291" y="415"/>
                  </a:lnTo>
                  <a:lnTo>
                    <a:pt x="1295" y="401"/>
                  </a:lnTo>
                  <a:lnTo>
                    <a:pt x="1299" y="403"/>
                  </a:lnTo>
                  <a:lnTo>
                    <a:pt x="1299" y="409"/>
                  </a:lnTo>
                  <a:lnTo>
                    <a:pt x="1324" y="411"/>
                  </a:lnTo>
                  <a:lnTo>
                    <a:pt x="1343" y="417"/>
                  </a:lnTo>
                  <a:lnTo>
                    <a:pt x="1362" y="428"/>
                  </a:lnTo>
                  <a:lnTo>
                    <a:pt x="1362" y="419"/>
                  </a:lnTo>
                  <a:lnTo>
                    <a:pt x="1366" y="415"/>
                  </a:lnTo>
                  <a:lnTo>
                    <a:pt x="1370" y="413"/>
                  </a:lnTo>
                  <a:lnTo>
                    <a:pt x="1374" y="409"/>
                  </a:lnTo>
                  <a:lnTo>
                    <a:pt x="1370" y="400"/>
                  </a:lnTo>
                  <a:lnTo>
                    <a:pt x="1368" y="392"/>
                  </a:lnTo>
                  <a:lnTo>
                    <a:pt x="1366" y="382"/>
                  </a:lnTo>
                  <a:lnTo>
                    <a:pt x="1374" y="382"/>
                  </a:lnTo>
                  <a:lnTo>
                    <a:pt x="1383" y="380"/>
                  </a:lnTo>
                  <a:lnTo>
                    <a:pt x="1389" y="380"/>
                  </a:lnTo>
                  <a:lnTo>
                    <a:pt x="1397" y="386"/>
                  </a:lnTo>
                  <a:lnTo>
                    <a:pt x="1403" y="394"/>
                  </a:lnTo>
                  <a:lnTo>
                    <a:pt x="1416" y="400"/>
                  </a:lnTo>
                  <a:lnTo>
                    <a:pt x="1430" y="396"/>
                  </a:lnTo>
                  <a:lnTo>
                    <a:pt x="1428" y="390"/>
                  </a:lnTo>
                  <a:lnTo>
                    <a:pt x="1416" y="382"/>
                  </a:lnTo>
                  <a:lnTo>
                    <a:pt x="1416" y="375"/>
                  </a:lnTo>
                  <a:lnTo>
                    <a:pt x="1422" y="376"/>
                  </a:lnTo>
                  <a:lnTo>
                    <a:pt x="1424" y="373"/>
                  </a:lnTo>
                  <a:lnTo>
                    <a:pt x="1428" y="373"/>
                  </a:lnTo>
                  <a:lnTo>
                    <a:pt x="1428" y="380"/>
                  </a:lnTo>
                  <a:lnTo>
                    <a:pt x="1439" y="384"/>
                  </a:lnTo>
                  <a:lnTo>
                    <a:pt x="1443" y="388"/>
                  </a:lnTo>
                  <a:lnTo>
                    <a:pt x="1447" y="380"/>
                  </a:lnTo>
                  <a:lnTo>
                    <a:pt x="1453" y="373"/>
                  </a:lnTo>
                  <a:lnTo>
                    <a:pt x="1458" y="367"/>
                  </a:lnTo>
                  <a:lnTo>
                    <a:pt x="1470" y="367"/>
                  </a:lnTo>
                  <a:lnTo>
                    <a:pt x="1474" y="359"/>
                  </a:lnTo>
                  <a:lnTo>
                    <a:pt x="1489" y="353"/>
                  </a:lnTo>
                  <a:lnTo>
                    <a:pt x="1501" y="351"/>
                  </a:lnTo>
                  <a:lnTo>
                    <a:pt x="1516" y="344"/>
                  </a:lnTo>
                  <a:lnTo>
                    <a:pt x="1516" y="326"/>
                  </a:lnTo>
                  <a:lnTo>
                    <a:pt x="1499" y="319"/>
                  </a:lnTo>
                  <a:lnTo>
                    <a:pt x="1483" y="307"/>
                  </a:lnTo>
                  <a:lnTo>
                    <a:pt x="1481" y="288"/>
                  </a:lnTo>
                  <a:lnTo>
                    <a:pt x="1483" y="286"/>
                  </a:lnTo>
                  <a:lnTo>
                    <a:pt x="1485" y="282"/>
                  </a:lnTo>
                  <a:lnTo>
                    <a:pt x="1485" y="280"/>
                  </a:lnTo>
                  <a:lnTo>
                    <a:pt x="1493" y="280"/>
                  </a:lnTo>
                  <a:lnTo>
                    <a:pt x="1495" y="275"/>
                  </a:lnTo>
                  <a:lnTo>
                    <a:pt x="1497" y="271"/>
                  </a:lnTo>
                  <a:lnTo>
                    <a:pt x="1487" y="269"/>
                  </a:lnTo>
                  <a:lnTo>
                    <a:pt x="1495" y="257"/>
                  </a:lnTo>
                  <a:lnTo>
                    <a:pt x="1501" y="250"/>
                  </a:lnTo>
                  <a:lnTo>
                    <a:pt x="1501" y="244"/>
                  </a:lnTo>
                  <a:lnTo>
                    <a:pt x="1497" y="240"/>
                  </a:lnTo>
                  <a:lnTo>
                    <a:pt x="1497" y="236"/>
                  </a:lnTo>
                  <a:lnTo>
                    <a:pt x="1491" y="238"/>
                  </a:lnTo>
                  <a:lnTo>
                    <a:pt x="1489" y="242"/>
                  </a:lnTo>
                  <a:lnTo>
                    <a:pt x="1485" y="244"/>
                  </a:lnTo>
                  <a:lnTo>
                    <a:pt x="1481" y="244"/>
                  </a:lnTo>
                  <a:lnTo>
                    <a:pt x="1477" y="242"/>
                  </a:lnTo>
                  <a:lnTo>
                    <a:pt x="1474" y="242"/>
                  </a:lnTo>
                  <a:lnTo>
                    <a:pt x="1472" y="236"/>
                  </a:lnTo>
                  <a:lnTo>
                    <a:pt x="1468" y="223"/>
                  </a:lnTo>
                  <a:lnTo>
                    <a:pt x="1466" y="215"/>
                  </a:lnTo>
                  <a:lnTo>
                    <a:pt x="1443" y="215"/>
                  </a:lnTo>
                  <a:lnTo>
                    <a:pt x="1426" y="213"/>
                  </a:lnTo>
                  <a:lnTo>
                    <a:pt x="1401" y="209"/>
                  </a:lnTo>
                  <a:lnTo>
                    <a:pt x="1412" y="244"/>
                  </a:lnTo>
                  <a:lnTo>
                    <a:pt x="1420" y="261"/>
                  </a:lnTo>
                  <a:lnTo>
                    <a:pt x="1416" y="263"/>
                  </a:lnTo>
                  <a:lnTo>
                    <a:pt x="1416" y="269"/>
                  </a:lnTo>
                  <a:lnTo>
                    <a:pt x="1412" y="267"/>
                  </a:lnTo>
                  <a:lnTo>
                    <a:pt x="1405" y="267"/>
                  </a:lnTo>
                  <a:lnTo>
                    <a:pt x="1401" y="269"/>
                  </a:lnTo>
                  <a:lnTo>
                    <a:pt x="1399" y="277"/>
                  </a:lnTo>
                  <a:lnTo>
                    <a:pt x="1397" y="292"/>
                  </a:lnTo>
                  <a:lnTo>
                    <a:pt x="1397" y="300"/>
                  </a:lnTo>
                  <a:lnTo>
                    <a:pt x="1389" y="300"/>
                  </a:lnTo>
                  <a:lnTo>
                    <a:pt x="1382" y="317"/>
                  </a:lnTo>
                  <a:lnTo>
                    <a:pt x="1374" y="330"/>
                  </a:lnTo>
                  <a:lnTo>
                    <a:pt x="1362" y="344"/>
                  </a:lnTo>
                  <a:lnTo>
                    <a:pt x="1364" y="346"/>
                  </a:lnTo>
                  <a:lnTo>
                    <a:pt x="1357" y="346"/>
                  </a:lnTo>
                  <a:lnTo>
                    <a:pt x="1347" y="344"/>
                  </a:lnTo>
                  <a:lnTo>
                    <a:pt x="1343" y="340"/>
                  </a:lnTo>
                  <a:lnTo>
                    <a:pt x="1341" y="332"/>
                  </a:lnTo>
                  <a:lnTo>
                    <a:pt x="1339" y="326"/>
                  </a:lnTo>
                  <a:lnTo>
                    <a:pt x="1335" y="323"/>
                  </a:lnTo>
                  <a:lnTo>
                    <a:pt x="1328" y="319"/>
                  </a:lnTo>
                  <a:lnTo>
                    <a:pt x="1324" y="313"/>
                  </a:lnTo>
                  <a:lnTo>
                    <a:pt x="1318" y="303"/>
                  </a:lnTo>
                  <a:lnTo>
                    <a:pt x="1316" y="300"/>
                  </a:lnTo>
                  <a:lnTo>
                    <a:pt x="1324" y="288"/>
                  </a:lnTo>
                  <a:lnTo>
                    <a:pt x="1332" y="275"/>
                  </a:lnTo>
                  <a:lnTo>
                    <a:pt x="1335" y="261"/>
                  </a:lnTo>
                  <a:lnTo>
                    <a:pt x="1337" y="259"/>
                  </a:lnTo>
                  <a:lnTo>
                    <a:pt x="1341" y="257"/>
                  </a:lnTo>
                  <a:lnTo>
                    <a:pt x="1339" y="257"/>
                  </a:lnTo>
                  <a:lnTo>
                    <a:pt x="1334" y="252"/>
                  </a:lnTo>
                  <a:lnTo>
                    <a:pt x="1330" y="242"/>
                  </a:lnTo>
                  <a:lnTo>
                    <a:pt x="1328" y="234"/>
                  </a:lnTo>
                  <a:lnTo>
                    <a:pt x="1312" y="238"/>
                  </a:lnTo>
                  <a:lnTo>
                    <a:pt x="1305" y="242"/>
                  </a:lnTo>
                  <a:lnTo>
                    <a:pt x="1305" y="265"/>
                  </a:lnTo>
                  <a:lnTo>
                    <a:pt x="1303" y="280"/>
                  </a:lnTo>
                  <a:lnTo>
                    <a:pt x="1293" y="280"/>
                  </a:lnTo>
                  <a:lnTo>
                    <a:pt x="1291" y="284"/>
                  </a:lnTo>
                  <a:lnTo>
                    <a:pt x="1291" y="296"/>
                  </a:lnTo>
                  <a:lnTo>
                    <a:pt x="1287" y="296"/>
                  </a:lnTo>
                  <a:lnTo>
                    <a:pt x="1284" y="294"/>
                  </a:lnTo>
                  <a:lnTo>
                    <a:pt x="1280" y="296"/>
                  </a:lnTo>
                  <a:lnTo>
                    <a:pt x="1280" y="290"/>
                  </a:lnTo>
                  <a:lnTo>
                    <a:pt x="1284" y="286"/>
                  </a:lnTo>
                  <a:lnTo>
                    <a:pt x="1284" y="284"/>
                  </a:lnTo>
                  <a:lnTo>
                    <a:pt x="1276" y="269"/>
                  </a:lnTo>
                  <a:lnTo>
                    <a:pt x="1272" y="252"/>
                  </a:lnTo>
                  <a:lnTo>
                    <a:pt x="1268" y="242"/>
                  </a:lnTo>
                  <a:lnTo>
                    <a:pt x="1259" y="236"/>
                  </a:lnTo>
                  <a:lnTo>
                    <a:pt x="1251" y="236"/>
                  </a:lnTo>
                  <a:lnTo>
                    <a:pt x="1239" y="234"/>
                  </a:lnTo>
                  <a:lnTo>
                    <a:pt x="1228" y="217"/>
                  </a:lnTo>
                  <a:lnTo>
                    <a:pt x="1247" y="198"/>
                  </a:lnTo>
                  <a:lnTo>
                    <a:pt x="1249" y="194"/>
                  </a:lnTo>
                  <a:lnTo>
                    <a:pt x="1243" y="192"/>
                  </a:lnTo>
                  <a:lnTo>
                    <a:pt x="1239" y="192"/>
                  </a:lnTo>
                  <a:lnTo>
                    <a:pt x="1239" y="194"/>
                  </a:lnTo>
                  <a:lnTo>
                    <a:pt x="1238" y="198"/>
                  </a:lnTo>
                  <a:lnTo>
                    <a:pt x="1232" y="198"/>
                  </a:lnTo>
                  <a:lnTo>
                    <a:pt x="1234" y="194"/>
                  </a:lnTo>
                  <a:lnTo>
                    <a:pt x="1236" y="186"/>
                  </a:lnTo>
                  <a:lnTo>
                    <a:pt x="1236" y="180"/>
                  </a:lnTo>
                  <a:lnTo>
                    <a:pt x="1251" y="184"/>
                  </a:lnTo>
                  <a:lnTo>
                    <a:pt x="1257" y="188"/>
                  </a:lnTo>
                  <a:lnTo>
                    <a:pt x="1257" y="182"/>
                  </a:lnTo>
                  <a:lnTo>
                    <a:pt x="1259" y="179"/>
                  </a:lnTo>
                  <a:lnTo>
                    <a:pt x="1261" y="177"/>
                  </a:lnTo>
                  <a:lnTo>
                    <a:pt x="1255" y="175"/>
                  </a:lnTo>
                  <a:lnTo>
                    <a:pt x="1251" y="177"/>
                  </a:lnTo>
                  <a:lnTo>
                    <a:pt x="1251" y="169"/>
                  </a:lnTo>
                  <a:lnTo>
                    <a:pt x="1247" y="167"/>
                  </a:lnTo>
                  <a:lnTo>
                    <a:pt x="1241" y="167"/>
                  </a:lnTo>
                  <a:lnTo>
                    <a:pt x="1236" y="165"/>
                  </a:lnTo>
                  <a:lnTo>
                    <a:pt x="1228" y="154"/>
                  </a:lnTo>
                  <a:lnTo>
                    <a:pt x="1224" y="150"/>
                  </a:lnTo>
                  <a:lnTo>
                    <a:pt x="1215" y="146"/>
                  </a:lnTo>
                  <a:lnTo>
                    <a:pt x="1205" y="144"/>
                  </a:lnTo>
                  <a:lnTo>
                    <a:pt x="1197" y="142"/>
                  </a:lnTo>
                  <a:lnTo>
                    <a:pt x="1197" y="134"/>
                  </a:lnTo>
                  <a:lnTo>
                    <a:pt x="1192" y="130"/>
                  </a:lnTo>
                  <a:lnTo>
                    <a:pt x="1186" y="129"/>
                  </a:lnTo>
                  <a:lnTo>
                    <a:pt x="1178" y="127"/>
                  </a:lnTo>
                  <a:lnTo>
                    <a:pt x="1178" y="119"/>
                  </a:lnTo>
                  <a:lnTo>
                    <a:pt x="1176" y="121"/>
                  </a:lnTo>
                  <a:lnTo>
                    <a:pt x="1172" y="123"/>
                  </a:lnTo>
                  <a:lnTo>
                    <a:pt x="1170" y="123"/>
                  </a:lnTo>
                  <a:lnTo>
                    <a:pt x="1174" y="115"/>
                  </a:lnTo>
                  <a:lnTo>
                    <a:pt x="1174" y="107"/>
                  </a:lnTo>
                  <a:lnTo>
                    <a:pt x="1178" y="100"/>
                  </a:lnTo>
                  <a:lnTo>
                    <a:pt x="1186" y="100"/>
                  </a:lnTo>
                  <a:lnTo>
                    <a:pt x="1186" y="90"/>
                  </a:lnTo>
                  <a:lnTo>
                    <a:pt x="1184" y="86"/>
                  </a:lnTo>
                  <a:lnTo>
                    <a:pt x="1178" y="80"/>
                  </a:lnTo>
                  <a:lnTo>
                    <a:pt x="1186" y="73"/>
                  </a:lnTo>
                  <a:lnTo>
                    <a:pt x="1203" y="69"/>
                  </a:lnTo>
                  <a:lnTo>
                    <a:pt x="1218" y="67"/>
                  </a:lnTo>
                  <a:lnTo>
                    <a:pt x="1232" y="65"/>
                  </a:lnTo>
                  <a:lnTo>
                    <a:pt x="1241" y="63"/>
                  </a:lnTo>
                  <a:lnTo>
                    <a:pt x="1247" y="63"/>
                  </a:lnTo>
                  <a:lnTo>
                    <a:pt x="1253" y="61"/>
                  </a:lnTo>
                  <a:lnTo>
                    <a:pt x="1261" y="50"/>
                  </a:lnTo>
                  <a:lnTo>
                    <a:pt x="1270" y="31"/>
                  </a:lnTo>
                  <a:lnTo>
                    <a:pt x="1276" y="15"/>
                  </a:lnTo>
                  <a:lnTo>
                    <a:pt x="1261" y="11"/>
                  </a:lnTo>
                  <a:lnTo>
                    <a:pt x="1247" y="11"/>
                  </a:lnTo>
                  <a:lnTo>
                    <a:pt x="1238" y="13"/>
                  </a:lnTo>
                  <a:lnTo>
                    <a:pt x="1232" y="15"/>
                  </a:lnTo>
                  <a:lnTo>
                    <a:pt x="1232" y="7"/>
                  </a:lnTo>
                  <a:lnTo>
                    <a:pt x="1218" y="2"/>
                  </a:lnTo>
                  <a:lnTo>
                    <a:pt x="1203" y="0"/>
                  </a:lnTo>
                  <a:lnTo>
                    <a:pt x="1186" y="0"/>
                  </a:lnTo>
                  <a:lnTo>
                    <a:pt x="1184" y="6"/>
                  </a:lnTo>
                  <a:lnTo>
                    <a:pt x="1182" y="7"/>
                  </a:lnTo>
                  <a:lnTo>
                    <a:pt x="1151" y="7"/>
                  </a:lnTo>
                  <a:lnTo>
                    <a:pt x="1149" y="19"/>
                  </a:lnTo>
                  <a:lnTo>
                    <a:pt x="1144" y="23"/>
                  </a:lnTo>
                  <a:lnTo>
                    <a:pt x="1147" y="50"/>
                  </a:lnTo>
                  <a:lnTo>
                    <a:pt x="1147" y="57"/>
                  </a:lnTo>
                  <a:lnTo>
                    <a:pt x="1151" y="61"/>
                  </a:lnTo>
                  <a:lnTo>
                    <a:pt x="1159" y="73"/>
                  </a:lnTo>
                  <a:lnTo>
                    <a:pt x="1157" y="75"/>
                  </a:lnTo>
                  <a:lnTo>
                    <a:pt x="1153" y="77"/>
                  </a:lnTo>
                  <a:lnTo>
                    <a:pt x="1151" y="80"/>
                  </a:lnTo>
                  <a:lnTo>
                    <a:pt x="1155" y="82"/>
                  </a:lnTo>
                  <a:lnTo>
                    <a:pt x="1159" y="86"/>
                  </a:lnTo>
                  <a:lnTo>
                    <a:pt x="1163" y="88"/>
                  </a:lnTo>
                  <a:lnTo>
                    <a:pt x="1163" y="111"/>
                  </a:lnTo>
                  <a:lnTo>
                    <a:pt x="1159" y="115"/>
                  </a:lnTo>
                  <a:lnTo>
                    <a:pt x="1151" y="119"/>
                  </a:lnTo>
                  <a:lnTo>
                    <a:pt x="1147" y="123"/>
                  </a:lnTo>
                  <a:lnTo>
                    <a:pt x="1147" y="134"/>
                  </a:lnTo>
                  <a:lnTo>
                    <a:pt x="1155" y="134"/>
                  </a:lnTo>
                  <a:lnTo>
                    <a:pt x="1155" y="142"/>
                  </a:lnTo>
                  <a:lnTo>
                    <a:pt x="1147" y="140"/>
                  </a:lnTo>
                  <a:lnTo>
                    <a:pt x="1144" y="138"/>
                  </a:lnTo>
                  <a:lnTo>
                    <a:pt x="1140" y="134"/>
                  </a:lnTo>
                  <a:lnTo>
                    <a:pt x="1134" y="150"/>
                  </a:lnTo>
                  <a:lnTo>
                    <a:pt x="1130" y="165"/>
                  </a:lnTo>
                  <a:lnTo>
                    <a:pt x="1136" y="180"/>
                  </a:lnTo>
                  <a:lnTo>
                    <a:pt x="1124" y="180"/>
                  </a:lnTo>
                  <a:lnTo>
                    <a:pt x="1124" y="182"/>
                  </a:lnTo>
                  <a:lnTo>
                    <a:pt x="1122" y="184"/>
                  </a:lnTo>
                  <a:lnTo>
                    <a:pt x="1120" y="188"/>
                  </a:lnTo>
                  <a:lnTo>
                    <a:pt x="1136" y="200"/>
                  </a:lnTo>
                  <a:lnTo>
                    <a:pt x="1144" y="207"/>
                  </a:lnTo>
                  <a:lnTo>
                    <a:pt x="1136" y="209"/>
                  </a:lnTo>
                  <a:lnTo>
                    <a:pt x="1136" y="217"/>
                  </a:lnTo>
                  <a:lnTo>
                    <a:pt x="1147" y="217"/>
                  </a:lnTo>
                  <a:lnTo>
                    <a:pt x="1145" y="221"/>
                  </a:lnTo>
                  <a:lnTo>
                    <a:pt x="1149" y="223"/>
                  </a:lnTo>
                  <a:lnTo>
                    <a:pt x="1151" y="223"/>
                  </a:lnTo>
                  <a:lnTo>
                    <a:pt x="1149" y="217"/>
                  </a:lnTo>
                  <a:lnTo>
                    <a:pt x="1149" y="211"/>
                  </a:lnTo>
                  <a:lnTo>
                    <a:pt x="1151" y="207"/>
                  </a:lnTo>
                  <a:lnTo>
                    <a:pt x="1155" y="205"/>
                  </a:lnTo>
                  <a:lnTo>
                    <a:pt x="1159" y="207"/>
                  </a:lnTo>
                  <a:lnTo>
                    <a:pt x="1163" y="207"/>
                  </a:lnTo>
                  <a:lnTo>
                    <a:pt x="1178" y="225"/>
                  </a:lnTo>
                  <a:lnTo>
                    <a:pt x="1192" y="225"/>
                  </a:lnTo>
                  <a:lnTo>
                    <a:pt x="1216" y="215"/>
                  </a:lnTo>
                  <a:lnTo>
                    <a:pt x="1216" y="223"/>
                  </a:lnTo>
                  <a:lnTo>
                    <a:pt x="1207" y="225"/>
                  </a:lnTo>
                  <a:lnTo>
                    <a:pt x="1205" y="227"/>
                  </a:lnTo>
                  <a:lnTo>
                    <a:pt x="1201" y="227"/>
                  </a:lnTo>
                  <a:lnTo>
                    <a:pt x="1199" y="230"/>
                  </a:lnTo>
                  <a:lnTo>
                    <a:pt x="1201" y="238"/>
                  </a:lnTo>
                  <a:lnTo>
                    <a:pt x="1201" y="244"/>
                  </a:lnTo>
                  <a:lnTo>
                    <a:pt x="1197" y="244"/>
                  </a:lnTo>
                  <a:lnTo>
                    <a:pt x="1192" y="242"/>
                  </a:lnTo>
                  <a:lnTo>
                    <a:pt x="1178" y="242"/>
                  </a:lnTo>
                  <a:lnTo>
                    <a:pt x="1176" y="252"/>
                  </a:lnTo>
                  <a:lnTo>
                    <a:pt x="1176" y="259"/>
                  </a:lnTo>
                  <a:lnTo>
                    <a:pt x="1174" y="271"/>
                  </a:lnTo>
                  <a:lnTo>
                    <a:pt x="1182" y="271"/>
                  </a:lnTo>
                  <a:lnTo>
                    <a:pt x="1188" y="269"/>
                  </a:lnTo>
                  <a:lnTo>
                    <a:pt x="1193" y="269"/>
                  </a:lnTo>
                  <a:lnTo>
                    <a:pt x="1193" y="271"/>
                  </a:lnTo>
                  <a:lnTo>
                    <a:pt x="1195" y="277"/>
                  </a:lnTo>
                  <a:lnTo>
                    <a:pt x="1197" y="280"/>
                  </a:lnTo>
                  <a:lnTo>
                    <a:pt x="1184" y="280"/>
                  </a:lnTo>
                  <a:lnTo>
                    <a:pt x="1178" y="284"/>
                  </a:lnTo>
                  <a:lnTo>
                    <a:pt x="1178" y="288"/>
                  </a:lnTo>
                  <a:lnTo>
                    <a:pt x="1155" y="303"/>
                  </a:lnTo>
                  <a:lnTo>
                    <a:pt x="1140" y="326"/>
                  </a:lnTo>
                  <a:lnTo>
                    <a:pt x="1151" y="348"/>
                  </a:lnTo>
                  <a:lnTo>
                    <a:pt x="1151" y="350"/>
                  </a:lnTo>
                  <a:lnTo>
                    <a:pt x="1149" y="353"/>
                  </a:lnTo>
                  <a:lnTo>
                    <a:pt x="1147" y="355"/>
                  </a:lnTo>
                  <a:lnTo>
                    <a:pt x="1142" y="353"/>
                  </a:lnTo>
                  <a:lnTo>
                    <a:pt x="1134" y="348"/>
                  </a:lnTo>
                  <a:lnTo>
                    <a:pt x="1128" y="344"/>
                  </a:lnTo>
                  <a:lnTo>
                    <a:pt x="1117" y="330"/>
                  </a:lnTo>
                  <a:lnTo>
                    <a:pt x="1113" y="313"/>
                  </a:lnTo>
                  <a:lnTo>
                    <a:pt x="1113" y="292"/>
                  </a:lnTo>
                  <a:lnTo>
                    <a:pt x="1109" y="292"/>
                  </a:lnTo>
                  <a:lnTo>
                    <a:pt x="1105" y="296"/>
                  </a:lnTo>
                  <a:lnTo>
                    <a:pt x="1107" y="298"/>
                  </a:lnTo>
                  <a:lnTo>
                    <a:pt x="1103" y="300"/>
                  </a:lnTo>
                  <a:lnTo>
                    <a:pt x="1101" y="300"/>
                  </a:lnTo>
                  <a:lnTo>
                    <a:pt x="1078" y="277"/>
                  </a:lnTo>
                  <a:lnTo>
                    <a:pt x="1074" y="284"/>
                  </a:lnTo>
                  <a:lnTo>
                    <a:pt x="1069" y="298"/>
                  </a:lnTo>
                  <a:lnTo>
                    <a:pt x="1074" y="311"/>
                  </a:lnTo>
                  <a:lnTo>
                    <a:pt x="1059" y="315"/>
                  </a:lnTo>
                  <a:lnTo>
                    <a:pt x="1046" y="317"/>
                  </a:lnTo>
                  <a:lnTo>
                    <a:pt x="1028" y="315"/>
                  </a:lnTo>
                  <a:lnTo>
                    <a:pt x="1025" y="307"/>
                  </a:lnTo>
                  <a:lnTo>
                    <a:pt x="1011" y="311"/>
                  </a:lnTo>
                  <a:lnTo>
                    <a:pt x="1001" y="317"/>
                  </a:lnTo>
                  <a:lnTo>
                    <a:pt x="990" y="321"/>
                  </a:lnTo>
                  <a:lnTo>
                    <a:pt x="986" y="315"/>
                  </a:lnTo>
                  <a:lnTo>
                    <a:pt x="978" y="313"/>
                  </a:lnTo>
                  <a:lnTo>
                    <a:pt x="971" y="315"/>
                  </a:lnTo>
                  <a:lnTo>
                    <a:pt x="959" y="311"/>
                  </a:lnTo>
                  <a:lnTo>
                    <a:pt x="955" y="305"/>
                  </a:lnTo>
                  <a:lnTo>
                    <a:pt x="950" y="300"/>
                  </a:lnTo>
                  <a:lnTo>
                    <a:pt x="944" y="296"/>
                  </a:lnTo>
                  <a:lnTo>
                    <a:pt x="940" y="296"/>
                  </a:lnTo>
                  <a:lnTo>
                    <a:pt x="932" y="303"/>
                  </a:lnTo>
                  <a:lnTo>
                    <a:pt x="932" y="300"/>
                  </a:lnTo>
                  <a:lnTo>
                    <a:pt x="929" y="303"/>
                  </a:lnTo>
                  <a:lnTo>
                    <a:pt x="921" y="303"/>
                  </a:lnTo>
                  <a:lnTo>
                    <a:pt x="925" y="298"/>
                  </a:lnTo>
                  <a:lnTo>
                    <a:pt x="925" y="292"/>
                  </a:lnTo>
                  <a:lnTo>
                    <a:pt x="917" y="288"/>
                  </a:lnTo>
                  <a:lnTo>
                    <a:pt x="913" y="288"/>
                  </a:lnTo>
                  <a:lnTo>
                    <a:pt x="909" y="290"/>
                  </a:lnTo>
                  <a:lnTo>
                    <a:pt x="907" y="292"/>
                  </a:lnTo>
                  <a:lnTo>
                    <a:pt x="902" y="296"/>
                  </a:lnTo>
                  <a:lnTo>
                    <a:pt x="890" y="261"/>
                  </a:lnTo>
                  <a:lnTo>
                    <a:pt x="844" y="261"/>
                  </a:lnTo>
                  <a:lnTo>
                    <a:pt x="821" y="265"/>
                  </a:lnTo>
                  <a:lnTo>
                    <a:pt x="810" y="300"/>
                  </a:lnTo>
                  <a:lnTo>
                    <a:pt x="817" y="296"/>
                  </a:lnTo>
                  <a:lnTo>
                    <a:pt x="821" y="296"/>
                  </a:lnTo>
                  <a:lnTo>
                    <a:pt x="819" y="298"/>
                  </a:lnTo>
                  <a:lnTo>
                    <a:pt x="825" y="298"/>
                  </a:lnTo>
                  <a:lnTo>
                    <a:pt x="829" y="300"/>
                  </a:lnTo>
                  <a:lnTo>
                    <a:pt x="825" y="288"/>
                  </a:lnTo>
                  <a:lnTo>
                    <a:pt x="831" y="288"/>
                  </a:lnTo>
                  <a:lnTo>
                    <a:pt x="835" y="290"/>
                  </a:lnTo>
                  <a:lnTo>
                    <a:pt x="840" y="292"/>
                  </a:lnTo>
                  <a:lnTo>
                    <a:pt x="842" y="288"/>
                  </a:lnTo>
                  <a:lnTo>
                    <a:pt x="846" y="282"/>
                  </a:lnTo>
                  <a:lnTo>
                    <a:pt x="848" y="280"/>
                  </a:lnTo>
                  <a:lnTo>
                    <a:pt x="854" y="280"/>
                  </a:lnTo>
                  <a:lnTo>
                    <a:pt x="859" y="282"/>
                  </a:lnTo>
                  <a:lnTo>
                    <a:pt x="867" y="284"/>
                  </a:lnTo>
                  <a:lnTo>
                    <a:pt x="850" y="294"/>
                  </a:lnTo>
                  <a:lnTo>
                    <a:pt x="835" y="307"/>
                  </a:lnTo>
                  <a:lnTo>
                    <a:pt x="817" y="319"/>
                  </a:lnTo>
                  <a:lnTo>
                    <a:pt x="819" y="325"/>
                  </a:lnTo>
                  <a:lnTo>
                    <a:pt x="823" y="328"/>
                  </a:lnTo>
                  <a:lnTo>
                    <a:pt x="825" y="332"/>
                  </a:lnTo>
                  <a:lnTo>
                    <a:pt x="823" y="338"/>
                  </a:lnTo>
                  <a:lnTo>
                    <a:pt x="821" y="340"/>
                  </a:lnTo>
                  <a:lnTo>
                    <a:pt x="821" y="344"/>
                  </a:lnTo>
                  <a:lnTo>
                    <a:pt x="827" y="350"/>
                  </a:lnTo>
                  <a:lnTo>
                    <a:pt x="829" y="353"/>
                  </a:lnTo>
                  <a:lnTo>
                    <a:pt x="833" y="353"/>
                  </a:lnTo>
                  <a:lnTo>
                    <a:pt x="829" y="357"/>
                  </a:lnTo>
                  <a:lnTo>
                    <a:pt x="825" y="355"/>
                  </a:lnTo>
                  <a:lnTo>
                    <a:pt x="823" y="359"/>
                  </a:lnTo>
                  <a:lnTo>
                    <a:pt x="823" y="365"/>
                  </a:lnTo>
                  <a:lnTo>
                    <a:pt x="821" y="367"/>
                  </a:lnTo>
                  <a:lnTo>
                    <a:pt x="813" y="363"/>
                  </a:lnTo>
                  <a:lnTo>
                    <a:pt x="810" y="359"/>
                  </a:lnTo>
                  <a:lnTo>
                    <a:pt x="808" y="346"/>
                  </a:lnTo>
                  <a:lnTo>
                    <a:pt x="806" y="330"/>
                  </a:lnTo>
                  <a:lnTo>
                    <a:pt x="802" y="332"/>
                  </a:lnTo>
                  <a:lnTo>
                    <a:pt x="800" y="338"/>
                  </a:lnTo>
                  <a:lnTo>
                    <a:pt x="798" y="340"/>
                  </a:lnTo>
                  <a:lnTo>
                    <a:pt x="798" y="344"/>
                  </a:lnTo>
                  <a:lnTo>
                    <a:pt x="796" y="336"/>
                  </a:lnTo>
                  <a:lnTo>
                    <a:pt x="792" y="325"/>
                  </a:lnTo>
                  <a:lnTo>
                    <a:pt x="790" y="315"/>
                  </a:lnTo>
                  <a:lnTo>
                    <a:pt x="775" y="315"/>
                  </a:lnTo>
                  <a:lnTo>
                    <a:pt x="771" y="309"/>
                  </a:lnTo>
                  <a:lnTo>
                    <a:pt x="769" y="305"/>
                  </a:lnTo>
                  <a:lnTo>
                    <a:pt x="767" y="300"/>
                  </a:lnTo>
                  <a:lnTo>
                    <a:pt x="762" y="303"/>
                  </a:lnTo>
                  <a:lnTo>
                    <a:pt x="754" y="311"/>
                  </a:lnTo>
                  <a:lnTo>
                    <a:pt x="748" y="315"/>
                  </a:lnTo>
                  <a:lnTo>
                    <a:pt x="744" y="315"/>
                  </a:lnTo>
                  <a:lnTo>
                    <a:pt x="746" y="313"/>
                  </a:lnTo>
                  <a:lnTo>
                    <a:pt x="744" y="311"/>
                  </a:lnTo>
                  <a:lnTo>
                    <a:pt x="723" y="313"/>
                  </a:lnTo>
                  <a:lnTo>
                    <a:pt x="694" y="321"/>
                  </a:lnTo>
                  <a:lnTo>
                    <a:pt x="668" y="321"/>
                  </a:lnTo>
                  <a:lnTo>
                    <a:pt x="662" y="315"/>
                  </a:lnTo>
                  <a:lnTo>
                    <a:pt x="660" y="303"/>
                  </a:lnTo>
                  <a:lnTo>
                    <a:pt x="668" y="300"/>
                  </a:lnTo>
                  <a:lnTo>
                    <a:pt x="666" y="296"/>
                  </a:lnTo>
                  <a:lnTo>
                    <a:pt x="664" y="294"/>
                  </a:lnTo>
                  <a:lnTo>
                    <a:pt x="664" y="292"/>
                  </a:lnTo>
                  <a:lnTo>
                    <a:pt x="687" y="292"/>
                  </a:lnTo>
                  <a:lnTo>
                    <a:pt x="679" y="280"/>
                  </a:lnTo>
                  <a:lnTo>
                    <a:pt x="666" y="267"/>
                  </a:lnTo>
                  <a:lnTo>
                    <a:pt x="656" y="261"/>
                  </a:lnTo>
                  <a:lnTo>
                    <a:pt x="641" y="261"/>
                  </a:lnTo>
                  <a:lnTo>
                    <a:pt x="637" y="269"/>
                  </a:lnTo>
                  <a:lnTo>
                    <a:pt x="621" y="271"/>
                  </a:lnTo>
                  <a:lnTo>
                    <a:pt x="616" y="269"/>
                  </a:lnTo>
                  <a:lnTo>
                    <a:pt x="606" y="263"/>
                  </a:lnTo>
                  <a:lnTo>
                    <a:pt x="602" y="261"/>
                  </a:lnTo>
                  <a:lnTo>
                    <a:pt x="593" y="259"/>
                  </a:lnTo>
                  <a:lnTo>
                    <a:pt x="583" y="259"/>
                  </a:lnTo>
                  <a:lnTo>
                    <a:pt x="575" y="257"/>
                  </a:lnTo>
                  <a:lnTo>
                    <a:pt x="573" y="253"/>
                  </a:lnTo>
                  <a:lnTo>
                    <a:pt x="573" y="248"/>
                  </a:lnTo>
                  <a:lnTo>
                    <a:pt x="572" y="244"/>
                  </a:lnTo>
                  <a:lnTo>
                    <a:pt x="566" y="244"/>
                  </a:lnTo>
                  <a:lnTo>
                    <a:pt x="564" y="248"/>
                  </a:lnTo>
                  <a:lnTo>
                    <a:pt x="560" y="250"/>
                  </a:lnTo>
                  <a:lnTo>
                    <a:pt x="552" y="242"/>
                  </a:lnTo>
                  <a:lnTo>
                    <a:pt x="529" y="230"/>
                  </a:lnTo>
                  <a:lnTo>
                    <a:pt x="501" y="219"/>
                  </a:lnTo>
                  <a:lnTo>
                    <a:pt x="472" y="217"/>
                  </a:lnTo>
                  <a:lnTo>
                    <a:pt x="472" y="227"/>
                  </a:lnTo>
                  <a:lnTo>
                    <a:pt x="464" y="230"/>
                  </a:lnTo>
                  <a:lnTo>
                    <a:pt x="456" y="232"/>
                  </a:lnTo>
                  <a:lnTo>
                    <a:pt x="449" y="236"/>
                  </a:lnTo>
                  <a:lnTo>
                    <a:pt x="445" y="223"/>
                  </a:lnTo>
                  <a:lnTo>
                    <a:pt x="443" y="209"/>
                  </a:lnTo>
                  <a:lnTo>
                    <a:pt x="441" y="198"/>
                  </a:lnTo>
                  <a:lnTo>
                    <a:pt x="439" y="203"/>
                  </a:lnTo>
                  <a:lnTo>
                    <a:pt x="437" y="203"/>
                  </a:lnTo>
                  <a:lnTo>
                    <a:pt x="433" y="207"/>
                  </a:lnTo>
                  <a:lnTo>
                    <a:pt x="435" y="213"/>
                  </a:lnTo>
                  <a:lnTo>
                    <a:pt x="433" y="228"/>
                  </a:lnTo>
                  <a:lnTo>
                    <a:pt x="430" y="242"/>
                  </a:lnTo>
                  <a:lnTo>
                    <a:pt x="422" y="242"/>
                  </a:lnTo>
                  <a:lnTo>
                    <a:pt x="408" y="230"/>
                  </a:lnTo>
                  <a:lnTo>
                    <a:pt x="389" y="215"/>
                  </a:lnTo>
                  <a:lnTo>
                    <a:pt x="380" y="203"/>
                  </a:lnTo>
                  <a:lnTo>
                    <a:pt x="380" y="196"/>
                  </a:lnTo>
                  <a:lnTo>
                    <a:pt x="372" y="196"/>
                  </a:lnTo>
                  <a:lnTo>
                    <a:pt x="372" y="192"/>
                  </a:lnTo>
                  <a:lnTo>
                    <a:pt x="357" y="182"/>
                  </a:lnTo>
                  <a:lnTo>
                    <a:pt x="343" y="169"/>
                  </a:lnTo>
                  <a:lnTo>
                    <a:pt x="330" y="157"/>
                  </a:lnTo>
                  <a:lnTo>
                    <a:pt x="330" y="161"/>
                  </a:lnTo>
                  <a:lnTo>
                    <a:pt x="326" y="177"/>
                  </a:lnTo>
                  <a:lnTo>
                    <a:pt x="330" y="179"/>
                  </a:lnTo>
                  <a:lnTo>
                    <a:pt x="330" y="182"/>
                  </a:lnTo>
                  <a:lnTo>
                    <a:pt x="326" y="184"/>
                  </a:lnTo>
                  <a:lnTo>
                    <a:pt x="322" y="192"/>
                  </a:lnTo>
                  <a:lnTo>
                    <a:pt x="318" y="203"/>
                  </a:lnTo>
                  <a:lnTo>
                    <a:pt x="314" y="209"/>
                  </a:lnTo>
                  <a:lnTo>
                    <a:pt x="311" y="209"/>
                  </a:lnTo>
                  <a:lnTo>
                    <a:pt x="305" y="207"/>
                  </a:lnTo>
                  <a:lnTo>
                    <a:pt x="299" y="207"/>
                  </a:lnTo>
                  <a:lnTo>
                    <a:pt x="288" y="213"/>
                  </a:lnTo>
                  <a:lnTo>
                    <a:pt x="282" y="225"/>
                  </a:lnTo>
                  <a:lnTo>
                    <a:pt x="276" y="242"/>
                  </a:lnTo>
                  <a:lnTo>
                    <a:pt x="272" y="242"/>
                  </a:lnTo>
                  <a:lnTo>
                    <a:pt x="274" y="238"/>
                  </a:lnTo>
                  <a:lnTo>
                    <a:pt x="270" y="236"/>
                  </a:lnTo>
                  <a:lnTo>
                    <a:pt x="268" y="234"/>
                  </a:lnTo>
                  <a:lnTo>
                    <a:pt x="261" y="238"/>
                  </a:lnTo>
                  <a:lnTo>
                    <a:pt x="257" y="242"/>
                  </a:lnTo>
                  <a:lnTo>
                    <a:pt x="257" y="234"/>
                  </a:lnTo>
                  <a:lnTo>
                    <a:pt x="249" y="236"/>
                  </a:lnTo>
                  <a:lnTo>
                    <a:pt x="240" y="242"/>
                  </a:lnTo>
                  <a:lnTo>
                    <a:pt x="234" y="244"/>
                  </a:lnTo>
                  <a:lnTo>
                    <a:pt x="226" y="269"/>
                  </a:lnTo>
                  <a:lnTo>
                    <a:pt x="220" y="271"/>
                  </a:lnTo>
                  <a:lnTo>
                    <a:pt x="211" y="271"/>
                  </a:lnTo>
                  <a:lnTo>
                    <a:pt x="209" y="269"/>
                  </a:lnTo>
                  <a:lnTo>
                    <a:pt x="211" y="267"/>
                  </a:lnTo>
                  <a:lnTo>
                    <a:pt x="207" y="269"/>
                  </a:lnTo>
                  <a:lnTo>
                    <a:pt x="215" y="255"/>
                  </a:lnTo>
                  <a:lnTo>
                    <a:pt x="226" y="232"/>
                  </a:lnTo>
                  <a:lnTo>
                    <a:pt x="234" y="223"/>
                  </a:lnTo>
                  <a:lnTo>
                    <a:pt x="247" y="217"/>
                  </a:lnTo>
                  <a:lnTo>
                    <a:pt x="263" y="215"/>
                  </a:lnTo>
                  <a:lnTo>
                    <a:pt x="276" y="209"/>
                  </a:lnTo>
                  <a:lnTo>
                    <a:pt x="295" y="196"/>
                  </a:lnTo>
                  <a:lnTo>
                    <a:pt x="289" y="190"/>
                  </a:lnTo>
                  <a:lnTo>
                    <a:pt x="264" y="188"/>
                  </a:lnTo>
                  <a:lnTo>
                    <a:pt x="261" y="196"/>
                  </a:lnTo>
                  <a:lnTo>
                    <a:pt x="259" y="202"/>
                  </a:lnTo>
                  <a:lnTo>
                    <a:pt x="257" y="209"/>
                  </a:lnTo>
                  <a:lnTo>
                    <a:pt x="253" y="207"/>
                  </a:lnTo>
                  <a:lnTo>
                    <a:pt x="249" y="203"/>
                  </a:lnTo>
                  <a:lnTo>
                    <a:pt x="245" y="203"/>
                  </a:lnTo>
                  <a:lnTo>
                    <a:pt x="236" y="205"/>
                  </a:lnTo>
                  <a:lnTo>
                    <a:pt x="218" y="211"/>
                  </a:lnTo>
                  <a:lnTo>
                    <a:pt x="211" y="215"/>
                  </a:lnTo>
                  <a:lnTo>
                    <a:pt x="209" y="219"/>
                  </a:lnTo>
                  <a:lnTo>
                    <a:pt x="209" y="225"/>
                  </a:lnTo>
                  <a:lnTo>
                    <a:pt x="207" y="230"/>
                  </a:lnTo>
                  <a:lnTo>
                    <a:pt x="201" y="230"/>
                  </a:lnTo>
                  <a:lnTo>
                    <a:pt x="195" y="232"/>
                  </a:lnTo>
                  <a:lnTo>
                    <a:pt x="192" y="234"/>
                  </a:lnTo>
                  <a:lnTo>
                    <a:pt x="192" y="223"/>
                  </a:lnTo>
                  <a:lnTo>
                    <a:pt x="182" y="217"/>
                  </a:lnTo>
                  <a:lnTo>
                    <a:pt x="176" y="215"/>
                  </a:lnTo>
                  <a:lnTo>
                    <a:pt x="174" y="223"/>
                  </a:lnTo>
                  <a:lnTo>
                    <a:pt x="174" y="230"/>
                  </a:lnTo>
                  <a:lnTo>
                    <a:pt x="172" y="236"/>
                  </a:lnTo>
                  <a:lnTo>
                    <a:pt x="170" y="238"/>
                  </a:lnTo>
                  <a:lnTo>
                    <a:pt x="169" y="236"/>
                  </a:lnTo>
                  <a:lnTo>
                    <a:pt x="169" y="234"/>
                  </a:lnTo>
                  <a:lnTo>
                    <a:pt x="161" y="234"/>
                  </a:lnTo>
                  <a:lnTo>
                    <a:pt x="161" y="244"/>
                  </a:lnTo>
                  <a:lnTo>
                    <a:pt x="145" y="244"/>
                  </a:lnTo>
                  <a:lnTo>
                    <a:pt x="138" y="242"/>
                  </a:lnTo>
                  <a:lnTo>
                    <a:pt x="138" y="248"/>
                  </a:lnTo>
                  <a:lnTo>
                    <a:pt x="142" y="250"/>
                  </a:lnTo>
                  <a:lnTo>
                    <a:pt x="142" y="253"/>
                  </a:lnTo>
                  <a:lnTo>
                    <a:pt x="145" y="253"/>
                  </a:lnTo>
                  <a:lnTo>
                    <a:pt x="153" y="261"/>
                  </a:lnTo>
                  <a:lnTo>
                    <a:pt x="149" y="265"/>
                  </a:lnTo>
                  <a:lnTo>
                    <a:pt x="142" y="265"/>
                  </a:lnTo>
                  <a:lnTo>
                    <a:pt x="140" y="255"/>
                  </a:lnTo>
                  <a:lnTo>
                    <a:pt x="138" y="253"/>
                  </a:lnTo>
                  <a:lnTo>
                    <a:pt x="132" y="250"/>
                  </a:lnTo>
                  <a:lnTo>
                    <a:pt x="119" y="250"/>
                  </a:lnTo>
                  <a:lnTo>
                    <a:pt x="115" y="242"/>
                  </a:lnTo>
                  <a:lnTo>
                    <a:pt x="97" y="234"/>
                  </a:lnTo>
                  <a:lnTo>
                    <a:pt x="76" y="227"/>
                  </a:lnTo>
                  <a:lnTo>
                    <a:pt x="61" y="217"/>
                  </a:lnTo>
                  <a:lnTo>
                    <a:pt x="59" y="215"/>
                  </a:lnTo>
                  <a:lnTo>
                    <a:pt x="59" y="211"/>
                  </a:lnTo>
                  <a:lnTo>
                    <a:pt x="57" y="209"/>
                  </a:lnTo>
                  <a:lnTo>
                    <a:pt x="46" y="209"/>
                  </a:lnTo>
                  <a:lnTo>
                    <a:pt x="34" y="213"/>
                  </a:lnTo>
                  <a:lnTo>
                    <a:pt x="23" y="215"/>
                  </a:lnTo>
                  <a:lnTo>
                    <a:pt x="15" y="213"/>
                  </a:lnTo>
                  <a:lnTo>
                    <a:pt x="0" y="205"/>
                  </a:lnTo>
                  <a:lnTo>
                    <a:pt x="9" y="613"/>
                  </a:lnTo>
                  <a:lnTo>
                    <a:pt x="13" y="611"/>
                  </a:lnTo>
                  <a:lnTo>
                    <a:pt x="23" y="607"/>
                  </a:lnTo>
                  <a:lnTo>
                    <a:pt x="30" y="605"/>
                  </a:lnTo>
                  <a:lnTo>
                    <a:pt x="36" y="611"/>
                  </a:lnTo>
                  <a:lnTo>
                    <a:pt x="44" y="613"/>
                  </a:lnTo>
                  <a:lnTo>
                    <a:pt x="48" y="613"/>
                  </a:lnTo>
                  <a:lnTo>
                    <a:pt x="59" y="605"/>
                  </a:lnTo>
                  <a:lnTo>
                    <a:pt x="61" y="611"/>
                  </a:lnTo>
                  <a:lnTo>
                    <a:pt x="61" y="622"/>
                  </a:lnTo>
                  <a:lnTo>
                    <a:pt x="63" y="628"/>
                  </a:lnTo>
                  <a:lnTo>
                    <a:pt x="69" y="640"/>
                  </a:lnTo>
                  <a:lnTo>
                    <a:pt x="78" y="647"/>
                  </a:lnTo>
                  <a:lnTo>
                    <a:pt x="92" y="657"/>
                  </a:lnTo>
                  <a:lnTo>
                    <a:pt x="99" y="667"/>
                  </a:lnTo>
                  <a:lnTo>
                    <a:pt x="101" y="674"/>
                  </a:lnTo>
                  <a:lnTo>
                    <a:pt x="103" y="678"/>
                  </a:lnTo>
                  <a:lnTo>
                    <a:pt x="111" y="672"/>
                  </a:lnTo>
                  <a:lnTo>
                    <a:pt x="121" y="669"/>
                  </a:lnTo>
                  <a:lnTo>
                    <a:pt x="128" y="665"/>
                  </a:lnTo>
                  <a:lnTo>
                    <a:pt x="134" y="659"/>
                  </a:lnTo>
                  <a:lnTo>
                    <a:pt x="134" y="651"/>
                  </a:lnTo>
                  <a:lnTo>
                    <a:pt x="132" y="647"/>
                  </a:lnTo>
                  <a:lnTo>
                    <a:pt x="134" y="644"/>
                  </a:lnTo>
                  <a:lnTo>
                    <a:pt x="142" y="642"/>
                  </a:lnTo>
                  <a:lnTo>
                    <a:pt x="151" y="640"/>
                  </a:lnTo>
                  <a:lnTo>
                    <a:pt x="157" y="644"/>
                  </a:lnTo>
                  <a:lnTo>
                    <a:pt x="165" y="649"/>
                  </a:lnTo>
                  <a:lnTo>
                    <a:pt x="172" y="653"/>
                  </a:lnTo>
                  <a:lnTo>
                    <a:pt x="176" y="659"/>
                  </a:lnTo>
                  <a:lnTo>
                    <a:pt x="176" y="665"/>
                  </a:lnTo>
                  <a:lnTo>
                    <a:pt x="178" y="670"/>
                  </a:lnTo>
                  <a:lnTo>
                    <a:pt x="186" y="674"/>
                  </a:lnTo>
                  <a:lnTo>
                    <a:pt x="195" y="678"/>
                  </a:lnTo>
                  <a:lnTo>
                    <a:pt x="203" y="686"/>
                  </a:lnTo>
                  <a:lnTo>
                    <a:pt x="209" y="694"/>
                  </a:lnTo>
                  <a:lnTo>
                    <a:pt x="232" y="717"/>
                  </a:lnTo>
                  <a:lnTo>
                    <a:pt x="241" y="728"/>
                  </a:lnTo>
                  <a:lnTo>
                    <a:pt x="247" y="738"/>
                  </a:lnTo>
                  <a:lnTo>
                    <a:pt x="251" y="747"/>
                  </a:lnTo>
                  <a:lnTo>
                    <a:pt x="259" y="755"/>
                  </a:lnTo>
                  <a:lnTo>
                    <a:pt x="264" y="763"/>
                  </a:lnTo>
                  <a:lnTo>
                    <a:pt x="266" y="774"/>
                  </a:lnTo>
                  <a:lnTo>
                    <a:pt x="272" y="784"/>
                  </a:lnTo>
                  <a:lnTo>
                    <a:pt x="291" y="793"/>
                  </a:lnTo>
                  <a:lnTo>
                    <a:pt x="297" y="797"/>
                  </a:lnTo>
                  <a:lnTo>
                    <a:pt x="301" y="797"/>
                  </a:lnTo>
                  <a:lnTo>
                    <a:pt x="305" y="803"/>
                  </a:lnTo>
                  <a:lnTo>
                    <a:pt x="307" y="807"/>
                  </a:lnTo>
                  <a:lnTo>
                    <a:pt x="309" y="805"/>
                  </a:lnTo>
                  <a:lnTo>
                    <a:pt x="314" y="807"/>
                  </a:lnTo>
                  <a:lnTo>
                    <a:pt x="318" y="811"/>
                  </a:lnTo>
                  <a:lnTo>
                    <a:pt x="318" y="818"/>
                  </a:lnTo>
                  <a:lnTo>
                    <a:pt x="320" y="824"/>
                  </a:lnTo>
                  <a:lnTo>
                    <a:pt x="322" y="826"/>
                  </a:lnTo>
                  <a:lnTo>
                    <a:pt x="318" y="832"/>
                  </a:lnTo>
                  <a:lnTo>
                    <a:pt x="318" y="849"/>
                  </a:lnTo>
                  <a:lnTo>
                    <a:pt x="316" y="851"/>
                  </a:lnTo>
                  <a:lnTo>
                    <a:pt x="314" y="855"/>
                  </a:lnTo>
                  <a:lnTo>
                    <a:pt x="311" y="859"/>
                  </a:lnTo>
                  <a:lnTo>
                    <a:pt x="311" y="863"/>
                  </a:lnTo>
                  <a:lnTo>
                    <a:pt x="297" y="876"/>
                  </a:lnTo>
                  <a:lnTo>
                    <a:pt x="295" y="876"/>
                  </a:lnTo>
                  <a:lnTo>
                    <a:pt x="295" y="874"/>
                  </a:lnTo>
                  <a:lnTo>
                    <a:pt x="295" y="882"/>
                  </a:lnTo>
                  <a:lnTo>
                    <a:pt x="291" y="882"/>
                  </a:lnTo>
                  <a:lnTo>
                    <a:pt x="291" y="886"/>
                  </a:lnTo>
                  <a:lnTo>
                    <a:pt x="289" y="891"/>
                  </a:lnTo>
                  <a:lnTo>
                    <a:pt x="288" y="893"/>
                  </a:lnTo>
                  <a:lnTo>
                    <a:pt x="299" y="897"/>
                  </a:lnTo>
                  <a:lnTo>
                    <a:pt x="299" y="928"/>
                  </a:lnTo>
                  <a:lnTo>
                    <a:pt x="303" y="930"/>
                  </a:lnTo>
                  <a:lnTo>
                    <a:pt x="307" y="934"/>
                  </a:lnTo>
                  <a:lnTo>
                    <a:pt x="311" y="936"/>
                  </a:lnTo>
                  <a:lnTo>
                    <a:pt x="305" y="940"/>
                  </a:lnTo>
                  <a:lnTo>
                    <a:pt x="314" y="940"/>
                  </a:lnTo>
                  <a:lnTo>
                    <a:pt x="318" y="932"/>
                  </a:lnTo>
                  <a:lnTo>
                    <a:pt x="314" y="932"/>
                  </a:lnTo>
                  <a:lnTo>
                    <a:pt x="314" y="928"/>
                  </a:lnTo>
                  <a:lnTo>
                    <a:pt x="320" y="928"/>
                  </a:lnTo>
                  <a:lnTo>
                    <a:pt x="324" y="926"/>
                  </a:lnTo>
                  <a:lnTo>
                    <a:pt x="330" y="924"/>
                  </a:lnTo>
                  <a:lnTo>
                    <a:pt x="328" y="930"/>
                  </a:lnTo>
                  <a:lnTo>
                    <a:pt x="328" y="936"/>
                  </a:lnTo>
                  <a:lnTo>
                    <a:pt x="326" y="943"/>
                  </a:lnTo>
                  <a:lnTo>
                    <a:pt x="318" y="943"/>
                  </a:lnTo>
                  <a:lnTo>
                    <a:pt x="318" y="949"/>
                  </a:lnTo>
                  <a:lnTo>
                    <a:pt x="322" y="951"/>
                  </a:lnTo>
                  <a:lnTo>
                    <a:pt x="322" y="955"/>
                  </a:lnTo>
                  <a:lnTo>
                    <a:pt x="326" y="957"/>
                  </a:lnTo>
                  <a:lnTo>
                    <a:pt x="326" y="966"/>
                  </a:lnTo>
                  <a:lnTo>
                    <a:pt x="330" y="966"/>
                  </a:lnTo>
                  <a:lnTo>
                    <a:pt x="330" y="959"/>
                  </a:lnTo>
                  <a:lnTo>
                    <a:pt x="339" y="963"/>
                  </a:lnTo>
                  <a:lnTo>
                    <a:pt x="357" y="974"/>
                  </a:lnTo>
                  <a:lnTo>
                    <a:pt x="357" y="1020"/>
                  </a:lnTo>
                  <a:lnTo>
                    <a:pt x="353" y="1020"/>
                  </a:lnTo>
                  <a:lnTo>
                    <a:pt x="345" y="1018"/>
                  </a:lnTo>
                  <a:lnTo>
                    <a:pt x="341" y="1020"/>
                  </a:lnTo>
                  <a:lnTo>
                    <a:pt x="345" y="1032"/>
                  </a:lnTo>
                  <a:lnTo>
                    <a:pt x="347" y="1039"/>
                  </a:lnTo>
                  <a:lnTo>
                    <a:pt x="349" y="1051"/>
                  </a:lnTo>
                  <a:lnTo>
                    <a:pt x="372" y="1047"/>
                  </a:lnTo>
                  <a:lnTo>
                    <a:pt x="387" y="1051"/>
                  </a:lnTo>
                  <a:lnTo>
                    <a:pt x="387" y="1062"/>
                  </a:lnTo>
                  <a:lnTo>
                    <a:pt x="383" y="1066"/>
                  </a:lnTo>
                  <a:lnTo>
                    <a:pt x="391" y="1064"/>
                  </a:lnTo>
                  <a:lnTo>
                    <a:pt x="395" y="1062"/>
                  </a:lnTo>
                  <a:lnTo>
                    <a:pt x="399" y="1062"/>
                  </a:lnTo>
                  <a:lnTo>
                    <a:pt x="407" y="1066"/>
                  </a:lnTo>
                  <a:lnTo>
                    <a:pt x="422" y="1082"/>
                  </a:lnTo>
                  <a:lnTo>
                    <a:pt x="422" y="1076"/>
                  </a:lnTo>
                  <a:lnTo>
                    <a:pt x="426" y="1078"/>
                  </a:lnTo>
                  <a:lnTo>
                    <a:pt x="428" y="1086"/>
                  </a:lnTo>
                  <a:lnTo>
                    <a:pt x="428" y="1095"/>
                  </a:lnTo>
                  <a:lnTo>
                    <a:pt x="433" y="1101"/>
                  </a:lnTo>
                  <a:lnTo>
                    <a:pt x="449" y="1105"/>
                  </a:lnTo>
                  <a:lnTo>
                    <a:pt x="481" y="1105"/>
                  </a:lnTo>
                  <a:lnTo>
                    <a:pt x="474" y="1095"/>
                  </a:lnTo>
                  <a:lnTo>
                    <a:pt x="464" y="1080"/>
                  </a:lnTo>
                  <a:lnTo>
                    <a:pt x="456" y="1070"/>
                  </a:lnTo>
                  <a:lnTo>
                    <a:pt x="447" y="1066"/>
                  </a:lnTo>
                  <a:lnTo>
                    <a:pt x="435" y="1062"/>
                  </a:lnTo>
                  <a:lnTo>
                    <a:pt x="426" y="1059"/>
                  </a:lnTo>
                  <a:lnTo>
                    <a:pt x="414" y="1043"/>
                  </a:lnTo>
                  <a:lnTo>
                    <a:pt x="416" y="1041"/>
                  </a:lnTo>
                  <a:lnTo>
                    <a:pt x="418" y="1038"/>
                  </a:lnTo>
                  <a:lnTo>
                    <a:pt x="418" y="1036"/>
                  </a:lnTo>
                  <a:lnTo>
                    <a:pt x="391" y="1032"/>
                  </a:lnTo>
                  <a:lnTo>
                    <a:pt x="399" y="1030"/>
                  </a:lnTo>
                  <a:lnTo>
                    <a:pt x="412" y="1028"/>
                  </a:lnTo>
                  <a:lnTo>
                    <a:pt x="418" y="1028"/>
                  </a:lnTo>
                  <a:lnTo>
                    <a:pt x="414" y="1028"/>
                  </a:lnTo>
                  <a:lnTo>
                    <a:pt x="422" y="1022"/>
                  </a:lnTo>
                  <a:lnTo>
                    <a:pt x="426" y="1020"/>
                  </a:lnTo>
                  <a:lnTo>
                    <a:pt x="431" y="1036"/>
                  </a:lnTo>
                  <a:lnTo>
                    <a:pt x="435" y="1038"/>
                  </a:lnTo>
                  <a:lnTo>
                    <a:pt x="453" y="1043"/>
                  </a:lnTo>
                  <a:lnTo>
                    <a:pt x="456" y="1051"/>
                  </a:lnTo>
                  <a:lnTo>
                    <a:pt x="454" y="1053"/>
                  </a:lnTo>
                  <a:lnTo>
                    <a:pt x="451" y="1055"/>
                  </a:lnTo>
                  <a:lnTo>
                    <a:pt x="453" y="1059"/>
                  </a:lnTo>
                  <a:lnTo>
                    <a:pt x="458" y="1059"/>
                  </a:lnTo>
                  <a:lnTo>
                    <a:pt x="464" y="1055"/>
                  </a:lnTo>
                  <a:lnTo>
                    <a:pt x="468" y="1051"/>
                  </a:lnTo>
                  <a:lnTo>
                    <a:pt x="468" y="1055"/>
                  </a:lnTo>
                  <a:lnTo>
                    <a:pt x="464" y="1062"/>
                  </a:lnTo>
                  <a:lnTo>
                    <a:pt x="474" y="1068"/>
                  </a:lnTo>
                  <a:lnTo>
                    <a:pt x="481" y="1074"/>
                  </a:lnTo>
                  <a:lnTo>
                    <a:pt x="487" y="1082"/>
                  </a:lnTo>
                  <a:lnTo>
                    <a:pt x="1161" y="1084"/>
                  </a:lnTo>
                  <a:lnTo>
                    <a:pt x="1161" y="1082"/>
                  </a:lnTo>
                  <a:lnTo>
                    <a:pt x="1163" y="1076"/>
                  </a:lnTo>
                  <a:lnTo>
                    <a:pt x="1167" y="1072"/>
                  </a:lnTo>
                  <a:lnTo>
                    <a:pt x="1172" y="1078"/>
                  </a:lnTo>
                  <a:lnTo>
                    <a:pt x="1178" y="1095"/>
                  </a:lnTo>
                  <a:lnTo>
                    <a:pt x="1180" y="1095"/>
                  </a:lnTo>
                  <a:lnTo>
                    <a:pt x="1184" y="1097"/>
                  </a:lnTo>
                  <a:lnTo>
                    <a:pt x="1199" y="1101"/>
                  </a:lnTo>
                  <a:lnTo>
                    <a:pt x="1205" y="1103"/>
                  </a:lnTo>
                  <a:lnTo>
                    <a:pt x="1207" y="1103"/>
                  </a:lnTo>
                  <a:lnTo>
                    <a:pt x="1211" y="1097"/>
                  </a:lnTo>
                  <a:lnTo>
                    <a:pt x="1216" y="1095"/>
                  </a:lnTo>
                  <a:lnTo>
                    <a:pt x="1220" y="1095"/>
                  </a:lnTo>
                  <a:lnTo>
                    <a:pt x="1226" y="1101"/>
                  </a:lnTo>
                  <a:lnTo>
                    <a:pt x="1232" y="1105"/>
                  </a:lnTo>
                  <a:lnTo>
                    <a:pt x="1239" y="1107"/>
                  </a:lnTo>
                  <a:lnTo>
                    <a:pt x="1243" y="1107"/>
                  </a:lnTo>
                  <a:lnTo>
                    <a:pt x="1247" y="1109"/>
                  </a:lnTo>
                  <a:lnTo>
                    <a:pt x="1251" y="1109"/>
                  </a:lnTo>
                  <a:lnTo>
                    <a:pt x="1257" y="1107"/>
                  </a:lnTo>
                  <a:lnTo>
                    <a:pt x="1261" y="1109"/>
                  </a:lnTo>
                  <a:lnTo>
                    <a:pt x="1276" y="1109"/>
                  </a:lnTo>
                  <a:lnTo>
                    <a:pt x="1280" y="1111"/>
                  </a:lnTo>
                  <a:lnTo>
                    <a:pt x="1284" y="1114"/>
                  </a:lnTo>
                  <a:lnTo>
                    <a:pt x="1287" y="1114"/>
                  </a:lnTo>
                  <a:lnTo>
                    <a:pt x="1291" y="1116"/>
                  </a:lnTo>
                  <a:lnTo>
                    <a:pt x="1297" y="1118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6" name="Freeform 251"/>
            <p:cNvSpPr>
              <a:spLocks/>
            </p:cNvSpPr>
            <p:nvPr/>
          </p:nvSpPr>
          <p:spPr bwMode="gray">
            <a:xfrm>
              <a:off x="1950" y="1639"/>
              <a:ext cx="64" cy="52"/>
            </a:xfrm>
            <a:custGeom>
              <a:avLst/>
              <a:gdLst>
                <a:gd name="T0" fmla="*/ 23 w 127"/>
                <a:gd name="T1" fmla="*/ 0 h 104"/>
                <a:gd name="T2" fmla="*/ 21 w 127"/>
                <a:gd name="T3" fmla="*/ 17 h 104"/>
                <a:gd name="T4" fmla="*/ 21 w 127"/>
                <a:gd name="T5" fmla="*/ 34 h 104"/>
                <a:gd name="T6" fmla="*/ 23 w 127"/>
                <a:gd name="T7" fmla="*/ 59 h 104"/>
                <a:gd name="T8" fmla="*/ 16 w 127"/>
                <a:gd name="T9" fmla="*/ 61 h 104"/>
                <a:gd name="T10" fmla="*/ 8 w 127"/>
                <a:gd name="T11" fmla="*/ 65 h 104"/>
                <a:gd name="T12" fmla="*/ 0 w 127"/>
                <a:gd name="T13" fmla="*/ 67 h 104"/>
                <a:gd name="T14" fmla="*/ 0 w 127"/>
                <a:gd name="T15" fmla="*/ 86 h 104"/>
                <a:gd name="T16" fmla="*/ 6 w 127"/>
                <a:gd name="T17" fmla="*/ 86 h 104"/>
                <a:gd name="T18" fmla="*/ 10 w 127"/>
                <a:gd name="T19" fmla="*/ 84 h 104"/>
                <a:gd name="T20" fmla="*/ 12 w 127"/>
                <a:gd name="T21" fmla="*/ 83 h 104"/>
                <a:gd name="T22" fmla="*/ 23 w 127"/>
                <a:gd name="T23" fmla="*/ 83 h 104"/>
                <a:gd name="T24" fmla="*/ 23 w 127"/>
                <a:gd name="T25" fmla="*/ 102 h 104"/>
                <a:gd name="T26" fmla="*/ 29 w 127"/>
                <a:gd name="T27" fmla="*/ 104 h 104"/>
                <a:gd name="T28" fmla="*/ 37 w 127"/>
                <a:gd name="T29" fmla="*/ 102 h 104"/>
                <a:gd name="T30" fmla="*/ 43 w 127"/>
                <a:gd name="T31" fmla="*/ 102 h 104"/>
                <a:gd name="T32" fmla="*/ 46 w 127"/>
                <a:gd name="T33" fmla="*/ 96 h 104"/>
                <a:gd name="T34" fmla="*/ 52 w 127"/>
                <a:gd name="T35" fmla="*/ 88 h 104"/>
                <a:gd name="T36" fmla="*/ 54 w 127"/>
                <a:gd name="T37" fmla="*/ 83 h 104"/>
                <a:gd name="T38" fmla="*/ 54 w 127"/>
                <a:gd name="T39" fmla="*/ 67 h 104"/>
                <a:gd name="T40" fmla="*/ 56 w 127"/>
                <a:gd name="T41" fmla="*/ 54 h 104"/>
                <a:gd name="T42" fmla="*/ 73 w 127"/>
                <a:gd name="T43" fmla="*/ 48 h 104"/>
                <a:gd name="T44" fmla="*/ 75 w 127"/>
                <a:gd name="T45" fmla="*/ 52 h 104"/>
                <a:gd name="T46" fmla="*/ 77 w 127"/>
                <a:gd name="T47" fmla="*/ 59 h 104"/>
                <a:gd name="T48" fmla="*/ 79 w 127"/>
                <a:gd name="T49" fmla="*/ 63 h 104"/>
                <a:gd name="T50" fmla="*/ 77 w 127"/>
                <a:gd name="T51" fmla="*/ 69 h 104"/>
                <a:gd name="T52" fmla="*/ 73 w 127"/>
                <a:gd name="T53" fmla="*/ 75 h 104"/>
                <a:gd name="T54" fmla="*/ 89 w 127"/>
                <a:gd name="T55" fmla="*/ 81 h 104"/>
                <a:gd name="T56" fmla="*/ 104 w 127"/>
                <a:gd name="T57" fmla="*/ 83 h 104"/>
                <a:gd name="T58" fmla="*/ 119 w 127"/>
                <a:gd name="T59" fmla="*/ 86 h 104"/>
                <a:gd name="T60" fmla="*/ 123 w 127"/>
                <a:gd name="T61" fmla="*/ 75 h 104"/>
                <a:gd name="T62" fmla="*/ 127 w 127"/>
                <a:gd name="T63" fmla="*/ 71 h 104"/>
                <a:gd name="T64" fmla="*/ 119 w 127"/>
                <a:gd name="T65" fmla="*/ 59 h 104"/>
                <a:gd name="T66" fmla="*/ 114 w 127"/>
                <a:gd name="T67" fmla="*/ 61 h 104"/>
                <a:gd name="T68" fmla="*/ 106 w 127"/>
                <a:gd name="T69" fmla="*/ 65 h 104"/>
                <a:gd name="T70" fmla="*/ 100 w 127"/>
                <a:gd name="T71" fmla="*/ 67 h 104"/>
                <a:gd name="T72" fmla="*/ 100 w 127"/>
                <a:gd name="T73" fmla="*/ 59 h 104"/>
                <a:gd name="T74" fmla="*/ 87 w 127"/>
                <a:gd name="T75" fmla="*/ 40 h 104"/>
                <a:gd name="T76" fmla="*/ 66 w 127"/>
                <a:gd name="T77" fmla="*/ 21 h 104"/>
                <a:gd name="T78" fmla="*/ 43 w 127"/>
                <a:gd name="T79" fmla="*/ 13 h 104"/>
                <a:gd name="T80" fmla="*/ 41 w 127"/>
                <a:gd name="T81" fmla="*/ 17 h 104"/>
                <a:gd name="T82" fmla="*/ 39 w 127"/>
                <a:gd name="T83" fmla="*/ 19 h 104"/>
                <a:gd name="T84" fmla="*/ 35 w 127"/>
                <a:gd name="T85" fmla="*/ 21 h 104"/>
                <a:gd name="T86" fmla="*/ 35 w 127"/>
                <a:gd name="T87" fmla="*/ 11 h 104"/>
                <a:gd name="T88" fmla="*/ 39 w 127"/>
                <a:gd name="T89" fmla="*/ 4 h 104"/>
                <a:gd name="T90" fmla="*/ 29 w 127"/>
                <a:gd name="T91" fmla="*/ 0 h 104"/>
                <a:gd name="T92" fmla="*/ 23 w 127"/>
                <a:gd name="T93" fmla="*/ 0 h 10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27"/>
                <a:gd name="T142" fmla="*/ 0 h 104"/>
                <a:gd name="T143" fmla="*/ 127 w 127"/>
                <a:gd name="T144" fmla="*/ 104 h 10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27" h="104">
                  <a:moveTo>
                    <a:pt x="23" y="0"/>
                  </a:moveTo>
                  <a:lnTo>
                    <a:pt x="21" y="17"/>
                  </a:lnTo>
                  <a:lnTo>
                    <a:pt x="21" y="34"/>
                  </a:lnTo>
                  <a:lnTo>
                    <a:pt x="23" y="59"/>
                  </a:lnTo>
                  <a:lnTo>
                    <a:pt x="16" y="61"/>
                  </a:lnTo>
                  <a:lnTo>
                    <a:pt x="8" y="65"/>
                  </a:lnTo>
                  <a:lnTo>
                    <a:pt x="0" y="67"/>
                  </a:lnTo>
                  <a:lnTo>
                    <a:pt x="0" y="86"/>
                  </a:lnTo>
                  <a:lnTo>
                    <a:pt x="6" y="86"/>
                  </a:lnTo>
                  <a:lnTo>
                    <a:pt x="10" y="84"/>
                  </a:lnTo>
                  <a:lnTo>
                    <a:pt x="12" y="83"/>
                  </a:lnTo>
                  <a:lnTo>
                    <a:pt x="23" y="83"/>
                  </a:lnTo>
                  <a:lnTo>
                    <a:pt x="23" y="102"/>
                  </a:lnTo>
                  <a:lnTo>
                    <a:pt x="29" y="104"/>
                  </a:lnTo>
                  <a:lnTo>
                    <a:pt x="37" y="102"/>
                  </a:lnTo>
                  <a:lnTo>
                    <a:pt x="43" y="102"/>
                  </a:lnTo>
                  <a:lnTo>
                    <a:pt x="46" y="96"/>
                  </a:lnTo>
                  <a:lnTo>
                    <a:pt x="52" y="88"/>
                  </a:lnTo>
                  <a:lnTo>
                    <a:pt x="54" y="83"/>
                  </a:lnTo>
                  <a:lnTo>
                    <a:pt x="54" y="67"/>
                  </a:lnTo>
                  <a:lnTo>
                    <a:pt x="56" y="54"/>
                  </a:lnTo>
                  <a:lnTo>
                    <a:pt x="73" y="48"/>
                  </a:lnTo>
                  <a:lnTo>
                    <a:pt x="75" y="52"/>
                  </a:lnTo>
                  <a:lnTo>
                    <a:pt x="77" y="59"/>
                  </a:lnTo>
                  <a:lnTo>
                    <a:pt x="79" y="63"/>
                  </a:lnTo>
                  <a:lnTo>
                    <a:pt x="77" y="69"/>
                  </a:lnTo>
                  <a:lnTo>
                    <a:pt x="73" y="75"/>
                  </a:lnTo>
                  <a:lnTo>
                    <a:pt x="89" y="81"/>
                  </a:lnTo>
                  <a:lnTo>
                    <a:pt x="104" y="83"/>
                  </a:lnTo>
                  <a:lnTo>
                    <a:pt x="119" y="86"/>
                  </a:lnTo>
                  <a:lnTo>
                    <a:pt x="123" y="75"/>
                  </a:lnTo>
                  <a:lnTo>
                    <a:pt x="127" y="71"/>
                  </a:lnTo>
                  <a:lnTo>
                    <a:pt x="119" y="59"/>
                  </a:lnTo>
                  <a:lnTo>
                    <a:pt x="114" y="61"/>
                  </a:lnTo>
                  <a:lnTo>
                    <a:pt x="106" y="65"/>
                  </a:lnTo>
                  <a:lnTo>
                    <a:pt x="100" y="67"/>
                  </a:lnTo>
                  <a:lnTo>
                    <a:pt x="100" y="59"/>
                  </a:lnTo>
                  <a:lnTo>
                    <a:pt x="87" y="40"/>
                  </a:lnTo>
                  <a:lnTo>
                    <a:pt x="66" y="21"/>
                  </a:lnTo>
                  <a:lnTo>
                    <a:pt x="43" y="13"/>
                  </a:lnTo>
                  <a:lnTo>
                    <a:pt x="41" y="17"/>
                  </a:lnTo>
                  <a:lnTo>
                    <a:pt x="39" y="19"/>
                  </a:lnTo>
                  <a:lnTo>
                    <a:pt x="35" y="21"/>
                  </a:lnTo>
                  <a:lnTo>
                    <a:pt x="35" y="11"/>
                  </a:lnTo>
                  <a:lnTo>
                    <a:pt x="39" y="4"/>
                  </a:lnTo>
                  <a:lnTo>
                    <a:pt x="29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7" name="Freeform 252"/>
            <p:cNvSpPr>
              <a:spLocks/>
            </p:cNvSpPr>
            <p:nvPr/>
          </p:nvSpPr>
          <p:spPr bwMode="gray">
            <a:xfrm>
              <a:off x="2294" y="1920"/>
              <a:ext cx="93" cy="93"/>
            </a:xfrm>
            <a:custGeom>
              <a:avLst/>
              <a:gdLst>
                <a:gd name="T0" fmla="*/ 64 w 187"/>
                <a:gd name="T1" fmla="*/ 17 h 184"/>
                <a:gd name="T2" fmla="*/ 48 w 187"/>
                <a:gd name="T3" fmla="*/ 29 h 184"/>
                <a:gd name="T4" fmla="*/ 45 w 187"/>
                <a:gd name="T5" fmla="*/ 61 h 184"/>
                <a:gd name="T6" fmla="*/ 43 w 187"/>
                <a:gd name="T7" fmla="*/ 92 h 184"/>
                <a:gd name="T8" fmla="*/ 39 w 187"/>
                <a:gd name="T9" fmla="*/ 108 h 184"/>
                <a:gd name="T10" fmla="*/ 23 w 187"/>
                <a:gd name="T11" fmla="*/ 100 h 184"/>
                <a:gd name="T12" fmla="*/ 20 w 187"/>
                <a:gd name="T13" fmla="*/ 111 h 184"/>
                <a:gd name="T14" fmla="*/ 12 w 187"/>
                <a:gd name="T15" fmla="*/ 115 h 184"/>
                <a:gd name="T16" fmla="*/ 0 w 187"/>
                <a:gd name="T17" fmla="*/ 148 h 184"/>
                <a:gd name="T18" fmla="*/ 18 w 187"/>
                <a:gd name="T19" fmla="*/ 152 h 184"/>
                <a:gd name="T20" fmla="*/ 50 w 187"/>
                <a:gd name="T21" fmla="*/ 152 h 184"/>
                <a:gd name="T22" fmla="*/ 71 w 187"/>
                <a:gd name="T23" fmla="*/ 148 h 184"/>
                <a:gd name="T24" fmla="*/ 81 w 187"/>
                <a:gd name="T25" fmla="*/ 154 h 184"/>
                <a:gd name="T26" fmla="*/ 112 w 187"/>
                <a:gd name="T27" fmla="*/ 150 h 184"/>
                <a:gd name="T28" fmla="*/ 119 w 187"/>
                <a:gd name="T29" fmla="*/ 163 h 184"/>
                <a:gd name="T30" fmla="*/ 112 w 187"/>
                <a:gd name="T31" fmla="*/ 171 h 184"/>
                <a:gd name="T32" fmla="*/ 119 w 187"/>
                <a:gd name="T33" fmla="*/ 177 h 184"/>
                <a:gd name="T34" fmla="*/ 142 w 187"/>
                <a:gd name="T35" fmla="*/ 146 h 184"/>
                <a:gd name="T36" fmla="*/ 154 w 187"/>
                <a:gd name="T37" fmla="*/ 154 h 184"/>
                <a:gd name="T38" fmla="*/ 150 w 187"/>
                <a:gd name="T39" fmla="*/ 165 h 184"/>
                <a:gd name="T40" fmla="*/ 156 w 187"/>
                <a:gd name="T41" fmla="*/ 177 h 184"/>
                <a:gd name="T42" fmla="*/ 166 w 187"/>
                <a:gd name="T43" fmla="*/ 181 h 184"/>
                <a:gd name="T44" fmla="*/ 179 w 187"/>
                <a:gd name="T45" fmla="*/ 175 h 184"/>
                <a:gd name="T46" fmla="*/ 185 w 187"/>
                <a:gd name="T47" fmla="*/ 148 h 184"/>
                <a:gd name="T48" fmla="*/ 173 w 187"/>
                <a:gd name="T49" fmla="*/ 158 h 184"/>
                <a:gd name="T50" fmla="*/ 187 w 187"/>
                <a:gd name="T51" fmla="*/ 136 h 184"/>
                <a:gd name="T52" fmla="*/ 169 w 187"/>
                <a:gd name="T53" fmla="*/ 158 h 184"/>
                <a:gd name="T54" fmla="*/ 166 w 187"/>
                <a:gd name="T55" fmla="*/ 146 h 184"/>
                <a:gd name="T56" fmla="*/ 158 w 187"/>
                <a:gd name="T57" fmla="*/ 134 h 184"/>
                <a:gd name="T58" fmla="*/ 169 w 187"/>
                <a:gd name="T59" fmla="*/ 119 h 184"/>
                <a:gd name="T60" fmla="*/ 144 w 187"/>
                <a:gd name="T61" fmla="*/ 127 h 184"/>
                <a:gd name="T62" fmla="*/ 142 w 187"/>
                <a:gd name="T63" fmla="*/ 115 h 184"/>
                <a:gd name="T64" fmla="*/ 135 w 187"/>
                <a:gd name="T65" fmla="*/ 109 h 184"/>
                <a:gd name="T66" fmla="*/ 139 w 187"/>
                <a:gd name="T67" fmla="*/ 96 h 184"/>
                <a:gd name="T68" fmla="*/ 131 w 187"/>
                <a:gd name="T69" fmla="*/ 84 h 184"/>
                <a:gd name="T70" fmla="*/ 108 w 187"/>
                <a:gd name="T71" fmla="*/ 86 h 184"/>
                <a:gd name="T72" fmla="*/ 96 w 187"/>
                <a:gd name="T73" fmla="*/ 94 h 184"/>
                <a:gd name="T74" fmla="*/ 89 w 187"/>
                <a:gd name="T75" fmla="*/ 75 h 184"/>
                <a:gd name="T76" fmla="*/ 73 w 187"/>
                <a:gd name="T77" fmla="*/ 67 h 184"/>
                <a:gd name="T78" fmla="*/ 62 w 187"/>
                <a:gd name="T79" fmla="*/ 60 h 184"/>
                <a:gd name="T80" fmla="*/ 75 w 187"/>
                <a:gd name="T81" fmla="*/ 44 h 184"/>
                <a:gd name="T82" fmla="*/ 75 w 187"/>
                <a:gd name="T83" fmla="*/ 29 h 184"/>
                <a:gd name="T84" fmla="*/ 85 w 187"/>
                <a:gd name="T85" fmla="*/ 25 h 184"/>
                <a:gd name="T86" fmla="*/ 89 w 187"/>
                <a:gd name="T87" fmla="*/ 11 h 184"/>
                <a:gd name="T88" fmla="*/ 93 w 187"/>
                <a:gd name="T89" fmla="*/ 4 h 184"/>
                <a:gd name="T90" fmla="*/ 81 w 187"/>
                <a:gd name="T91" fmla="*/ 2 h 18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87"/>
                <a:gd name="T139" fmla="*/ 0 h 184"/>
                <a:gd name="T140" fmla="*/ 187 w 187"/>
                <a:gd name="T141" fmla="*/ 184 h 18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87" h="184">
                  <a:moveTo>
                    <a:pt x="77" y="0"/>
                  </a:moveTo>
                  <a:lnTo>
                    <a:pt x="68" y="8"/>
                  </a:lnTo>
                  <a:lnTo>
                    <a:pt x="64" y="17"/>
                  </a:lnTo>
                  <a:lnTo>
                    <a:pt x="62" y="23"/>
                  </a:lnTo>
                  <a:lnTo>
                    <a:pt x="50" y="23"/>
                  </a:lnTo>
                  <a:lnTo>
                    <a:pt x="48" y="29"/>
                  </a:lnTo>
                  <a:lnTo>
                    <a:pt x="50" y="36"/>
                  </a:lnTo>
                  <a:lnTo>
                    <a:pt x="50" y="42"/>
                  </a:lnTo>
                  <a:lnTo>
                    <a:pt x="45" y="61"/>
                  </a:lnTo>
                  <a:lnTo>
                    <a:pt x="37" y="77"/>
                  </a:lnTo>
                  <a:lnTo>
                    <a:pt x="31" y="92"/>
                  </a:lnTo>
                  <a:lnTo>
                    <a:pt x="43" y="92"/>
                  </a:lnTo>
                  <a:lnTo>
                    <a:pt x="43" y="100"/>
                  </a:lnTo>
                  <a:lnTo>
                    <a:pt x="39" y="100"/>
                  </a:lnTo>
                  <a:lnTo>
                    <a:pt x="39" y="108"/>
                  </a:lnTo>
                  <a:lnTo>
                    <a:pt x="33" y="104"/>
                  </a:lnTo>
                  <a:lnTo>
                    <a:pt x="31" y="100"/>
                  </a:lnTo>
                  <a:lnTo>
                    <a:pt x="23" y="100"/>
                  </a:lnTo>
                  <a:lnTo>
                    <a:pt x="23" y="104"/>
                  </a:lnTo>
                  <a:lnTo>
                    <a:pt x="22" y="113"/>
                  </a:lnTo>
                  <a:lnTo>
                    <a:pt x="20" y="111"/>
                  </a:lnTo>
                  <a:lnTo>
                    <a:pt x="16" y="111"/>
                  </a:lnTo>
                  <a:lnTo>
                    <a:pt x="16" y="113"/>
                  </a:lnTo>
                  <a:lnTo>
                    <a:pt x="12" y="115"/>
                  </a:lnTo>
                  <a:lnTo>
                    <a:pt x="20" y="123"/>
                  </a:lnTo>
                  <a:lnTo>
                    <a:pt x="10" y="134"/>
                  </a:lnTo>
                  <a:lnTo>
                    <a:pt x="0" y="148"/>
                  </a:lnTo>
                  <a:lnTo>
                    <a:pt x="8" y="158"/>
                  </a:lnTo>
                  <a:lnTo>
                    <a:pt x="12" y="156"/>
                  </a:lnTo>
                  <a:lnTo>
                    <a:pt x="18" y="152"/>
                  </a:lnTo>
                  <a:lnTo>
                    <a:pt x="20" y="150"/>
                  </a:lnTo>
                  <a:lnTo>
                    <a:pt x="35" y="150"/>
                  </a:lnTo>
                  <a:lnTo>
                    <a:pt x="50" y="152"/>
                  </a:lnTo>
                  <a:lnTo>
                    <a:pt x="62" y="154"/>
                  </a:lnTo>
                  <a:lnTo>
                    <a:pt x="70" y="152"/>
                  </a:lnTo>
                  <a:lnTo>
                    <a:pt x="71" y="148"/>
                  </a:lnTo>
                  <a:lnTo>
                    <a:pt x="77" y="146"/>
                  </a:lnTo>
                  <a:lnTo>
                    <a:pt x="77" y="152"/>
                  </a:lnTo>
                  <a:lnTo>
                    <a:pt x="81" y="154"/>
                  </a:lnTo>
                  <a:lnTo>
                    <a:pt x="104" y="146"/>
                  </a:lnTo>
                  <a:lnTo>
                    <a:pt x="114" y="146"/>
                  </a:lnTo>
                  <a:lnTo>
                    <a:pt x="112" y="150"/>
                  </a:lnTo>
                  <a:lnTo>
                    <a:pt x="112" y="158"/>
                  </a:lnTo>
                  <a:lnTo>
                    <a:pt x="116" y="159"/>
                  </a:lnTo>
                  <a:lnTo>
                    <a:pt x="119" y="163"/>
                  </a:lnTo>
                  <a:lnTo>
                    <a:pt x="116" y="169"/>
                  </a:lnTo>
                  <a:lnTo>
                    <a:pt x="114" y="171"/>
                  </a:lnTo>
                  <a:lnTo>
                    <a:pt x="112" y="171"/>
                  </a:lnTo>
                  <a:lnTo>
                    <a:pt x="108" y="173"/>
                  </a:lnTo>
                  <a:lnTo>
                    <a:pt x="114" y="179"/>
                  </a:lnTo>
                  <a:lnTo>
                    <a:pt x="119" y="177"/>
                  </a:lnTo>
                  <a:lnTo>
                    <a:pt x="127" y="167"/>
                  </a:lnTo>
                  <a:lnTo>
                    <a:pt x="135" y="156"/>
                  </a:lnTo>
                  <a:lnTo>
                    <a:pt x="142" y="146"/>
                  </a:lnTo>
                  <a:lnTo>
                    <a:pt x="144" y="148"/>
                  </a:lnTo>
                  <a:lnTo>
                    <a:pt x="150" y="152"/>
                  </a:lnTo>
                  <a:lnTo>
                    <a:pt x="154" y="154"/>
                  </a:lnTo>
                  <a:lnTo>
                    <a:pt x="154" y="158"/>
                  </a:lnTo>
                  <a:lnTo>
                    <a:pt x="152" y="165"/>
                  </a:lnTo>
                  <a:lnTo>
                    <a:pt x="150" y="165"/>
                  </a:lnTo>
                  <a:lnTo>
                    <a:pt x="148" y="169"/>
                  </a:lnTo>
                  <a:lnTo>
                    <a:pt x="154" y="181"/>
                  </a:lnTo>
                  <a:lnTo>
                    <a:pt x="156" y="177"/>
                  </a:lnTo>
                  <a:lnTo>
                    <a:pt x="158" y="169"/>
                  </a:lnTo>
                  <a:lnTo>
                    <a:pt x="166" y="169"/>
                  </a:lnTo>
                  <a:lnTo>
                    <a:pt x="166" y="181"/>
                  </a:lnTo>
                  <a:lnTo>
                    <a:pt x="177" y="184"/>
                  </a:lnTo>
                  <a:lnTo>
                    <a:pt x="177" y="179"/>
                  </a:lnTo>
                  <a:lnTo>
                    <a:pt x="179" y="175"/>
                  </a:lnTo>
                  <a:lnTo>
                    <a:pt x="181" y="169"/>
                  </a:lnTo>
                  <a:lnTo>
                    <a:pt x="185" y="152"/>
                  </a:lnTo>
                  <a:lnTo>
                    <a:pt x="185" y="148"/>
                  </a:lnTo>
                  <a:lnTo>
                    <a:pt x="181" y="154"/>
                  </a:lnTo>
                  <a:lnTo>
                    <a:pt x="181" y="161"/>
                  </a:lnTo>
                  <a:lnTo>
                    <a:pt x="173" y="158"/>
                  </a:lnTo>
                  <a:lnTo>
                    <a:pt x="175" y="152"/>
                  </a:lnTo>
                  <a:lnTo>
                    <a:pt x="181" y="146"/>
                  </a:lnTo>
                  <a:lnTo>
                    <a:pt x="187" y="136"/>
                  </a:lnTo>
                  <a:lnTo>
                    <a:pt x="177" y="136"/>
                  </a:lnTo>
                  <a:lnTo>
                    <a:pt x="169" y="146"/>
                  </a:lnTo>
                  <a:lnTo>
                    <a:pt x="169" y="158"/>
                  </a:lnTo>
                  <a:lnTo>
                    <a:pt x="158" y="154"/>
                  </a:lnTo>
                  <a:lnTo>
                    <a:pt x="156" y="152"/>
                  </a:lnTo>
                  <a:lnTo>
                    <a:pt x="166" y="146"/>
                  </a:lnTo>
                  <a:lnTo>
                    <a:pt x="164" y="142"/>
                  </a:lnTo>
                  <a:lnTo>
                    <a:pt x="160" y="136"/>
                  </a:lnTo>
                  <a:lnTo>
                    <a:pt x="158" y="134"/>
                  </a:lnTo>
                  <a:lnTo>
                    <a:pt x="162" y="129"/>
                  </a:lnTo>
                  <a:lnTo>
                    <a:pt x="166" y="125"/>
                  </a:lnTo>
                  <a:lnTo>
                    <a:pt x="169" y="119"/>
                  </a:lnTo>
                  <a:lnTo>
                    <a:pt x="160" y="121"/>
                  </a:lnTo>
                  <a:lnTo>
                    <a:pt x="148" y="125"/>
                  </a:lnTo>
                  <a:lnTo>
                    <a:pt x="144" y="127"/>
                  </a:lnTo>
                  <a:lnTo>
                    <a:pt x="142" y="127"/>
                  </a:lnTo>
                  <a:lnTo>
                    <a:pt x="146" y="115"/>
                  </a:lnTo>
                  <a:lnTo>
                    <a:pt x="142" y="115"/>
                  </a:lnTo>
                  <a:lnTo>
                    <a:pt x="139" y="119"/>
                  </a:lnTo>
                  <a:lnTo>
                    <a:pt x="139" y="115"/>
                  </a:lnTo>
                  <a:lnTo>
                    <a:pt x="135" y="109"/>
                  </a:lnTo>
                  <a:lnTo>
                    <a:pt x="131" y="108"/>
                  </a:lnTo>
                  <a:lnTo>
                    <a:pt x="139" y="108"/>
                  </a:lnTo>
                  <a:lnTo>
                    <a:pt x="139" y="96"/>
                  </a:lnTo>
                  <a:lnTo>
                    <a:pt x="141" y="90"/>
                  </a:lnTo>
                  <a:lnTo>
                    <a:pt x="135" y="84"/>
                  </a:lnTo>
                  <a:lnTo>
                    <a:pt x="131" y="84"/>
                  </a:lnTo>
                  <a:lnTo>
                    <a:pt x="131" y="92"/>
                  </a:lnTo>
                  <a:lnTo>
                    <a:pt x="116" y="84"/>
                  </a:lnTo>
                  <a:lnTo>
                    <a:pt x="108" y="86"/>
                  </a:lnTo>
                  <a:lnTo>
                    <a:pt x="108" y="92"/>
                  </a:lnTo>
                  <a:lnTo>
                    <a:pt x="104" y="96"/>
                  </a:lnTo>
                  <a:lnTo>
                    <a:pt x="96" y="94"/>
                  </a:lnTo>
                  <a:lnTo>
                    <a:pt x="77" y="88"/>
                  </a:lnTo>
                  <a:lnTo>
                    <a:pt x="87" y="81"/>
                  </a:lnTo>
                  <a:lnTo>
                    <a:pt x="89" y="75"/>
                  </a:lnTo>
                  <a:lnTo>
                    <a:pt x="77" y="69"/>
                  </a:lnTo>
                  <a:lnTo>
                    <a:pt x="77" y="61"/>
                  </a:lnTo>
                  <a:lnTo>
                    <a:pt x="73" y="67"/>
                  </a:lnTo>
                  <a:lnTo>
                    <a:pt x="68" y="75"/>
                  </a:lnTo>
                  <a:lnTo>
                    <a:pt x="62" y="81"/>
                  </a:lnTo>
                  <a:lnTo>
                    <a:pt x="62" y="60"/>
                  </a:lnTo>
                  <a:lnTo>
                    <a:pt x="66" y="50"/>
                  </a:lnTo>
                  <a:lnTo>
                    <a:pt x="70" y="48"/>
                  </a:lnTo>
                  <a:lnTo>
                    <a:pt x="75" y="44"/>
                  </a:lnTo>
                  <a:lnTo>
                    <a:pt x="77" y="42"/>
                  </a:lnTo>
                  <a:lnTo>
                    <a:pt x="77" y="36"/>
                  </a:lnTo>
                  <a:lnTo>
                    <a:pt x="75" y="29"/>
                  </a:lnTo>
                  <a:lnTo>
                    <a:pt x="73" y="27"/>
                  </a:lnTo>
                  <a:lnTo>
                    <a:pt x="79" y="25"/>
                  </a:lnTo>
                  <a:lnTo>
                    <a:pt x="85" y="25"/>
                  </a:lnTo>
                  <a:lnTo>
                    <a:pt x="89" y="23"/>
                  </a:lnTo>
                  <a:lnTo>
                    <a:pt x="81" y="11"/>
                  </a:lnTo>
                  <a:lnTo>
                    <a:pt x="89" y="11"/>
                  </a:lnTo>
                  <a:lnTo>
                    <a:pt x="89" y="10"/>
                  </a:lnTo>
                  <a:lnTo>
                    <a:pt x="91" y="6"/>
                  </a:lnTo>
                  <a:lnTo>
                    <a:pt x="93" y="4"/>
                  </a:lnTo>
                  <a:lnTo>
                    <a:pt x="96" y="4"/>
                  </a:lnTo>
                  <a:lnTo>
                    <a:pt x="85" y="4"/>
                  </a:lnTo>
                  <a:lnTo>
                    <a:pt x="81" y="2"/>
                  </a:lnTo>
                  <a:lnTo>
                    <a:pt x="81" y="0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8" name="Freeform 253"/>
            <p:cNvSpPr>
              <a:spLocks/>
            </p:cNvSpPr>
            <p:nvPr/>
          </p:nvSpPr>
          <p:spPr bwMode="gray">
            <a:xfrm>
              <a:off x="2228" y="1955"/>
              <a:ext cx="33" cy="18"/>
            </a:xfrm>
            <a:custGeom>
              <a:avLst/>
              <a:gdLst>
                <a:gd name="T0" fmla="*/ 0 w 65"/>
                <a:gd name="T1" fmla="*/ 0 h 37"/>
                <a:gd name="T2" fmla="*/ 0 w 65"/>
                <a:gd name="T3" fmla="*/ 8 h 37"/>
                <a:gd name="T4" fmla="*/ 17 w 65"/>
                <a:gd name="T5" fmla="*/ 17 h 37"/>
                <a:gd name="T6" fmla="*/ 33 w 65"/>
                <a:gd name="T7" fmla="*/ 27 h 37"/>
                <a:gd name="T8" fmla="*/ 59 w 65"/>
                <a:gd name="T9" fmla="*/ 37 h 37"/>
                <a:gd name="T10" fmla="*/ 65 w 65"/>
                <a:gd name="T11" fmla="*/ 37 h 37"/>
                <a:gd name="T12" fmla="*/ 61 w 65"/>
                <a:gd name="T13" fmla="*/ 31 h 37"/>
                <a:gd name="T14" fmla="*/ 42 w 65"/>
                <a:gd name="T15" fmla="*/ 15 h 37"/>
                <a:gd name="T16" fmla="*/ 27 w 65"/>
                <a:gd name="T17" fmla="*/ 8 h 37"/>
                <a:gd name="T18" fmla="*/ 0 w 65"/>
                <a:gd name="T19" fmla="*/ 0 h 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5"/>
                <a:gd name="T31" fmla="*/ 0 h 37"/>
                <a:gd name="T32" fmla="*/ 65 w 65"/>
                <a:gd name="T33" fmla="*/ 37 h 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5" h="37">
                  <a:moveTo>
                    <a:pt x="0" y="0"/>
                  </a:moveTo>
                  <a:lnTo>
                    <a:pt x="0" y="8"/>
                  </a:lnTo>
                  <a:lnTo>
                    <a:pt x="17" y="17"/>
                  </a:lnTo>
                  <a:lnTo>
                    <a:pt x="33" y="27"/>
                  </a:lnTo>
                  <a:lnTo>
                    <a:pt x="59" y="37"/>
                  </a:lnTo>
                  <a:lnTo>
                    <a:pt x="65" y="37"/>
                  </a:lnTo>
                  <a:lnTo>
                    <a:pt x="61" y="31"/>
                  </a:lnTo>
                  <a:lnTo>
                    <a:pt x="42" y="15"/>
                  </a:lnTo>
                  <a:lnTo>
                    <a:pt x="27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49" name="Freeform 254"/>
            <p:cNvSpPr>
              <a:spLocks/>
            </p:cNvSpPr>
            <p:nvPr/>
          </p:nvSpPr>
          <p:spPr bwMode="gray">
            <a:xfrm>
              <a:off x="2267" y="2009"/>
              <a:ext cx="22" cy="31"/>
            </a:xfrm>
            <a:custGeom>
              <a:avLst/>
              <a:gdLst>
                <a:gd name="T0" fmla="*/ 42 w 44"/>
                <a:gd name="T1" fmla="*/ 0 h 61"/>
                <a:gd name="T2" fmla="*/ 34 w 44"/>
                <a:gd name="T3" fmla="*/ 7 h 61"/>
                <a:gd name="T4" fmla="*/ 27 w 44"/>
                <a:gd name="T5" fmla="*/ 7 h 61"/>
                <a:gd name="T6" fmla="*/ 19 w 44"/>
                <a:gd name="T7" fmla="*/ 4 h 61"/>
                <a:gd name="T8" fmla="*/ 11 w 44"/>
                <a:gd name="T9" fmla="*/ 19 h 61"/>
                <a:gd name="T10" fmla="*/ 5 w 44"/>
                <a:gd name="T11" fmla="*/ 34 h 61"/>
                <a:gd name="T12" fmla="*/ 0 w 44"/>
                <a:gd name="T13" fmla="*/ 57 h 61"/>
                <a:gd name="T14" fmla="*/ 15 w 44"/>
                <a:gd name="T15" fmla="*/ 61 h 61"/>
                <a:gd name="T16" fmla="*/ 11 w 44"/>
                <a:gd name="T17" fmla="*/ 50 h 61"/>
                <a:gd name="T18" fmla="*/ 11 w 44"/>
                <a:gd name="T19" fmla="*/ 42 h 61"/>
                <a:gd name="T20" fmla="*/ 13 w 44"/>
                <a:gd name="T21" fmla="*/ 38 h 61"/>
                <a:gd name="T22" fmla="*/ 19 w 44"/>
                <a:gd name="T23" fmla="*/ 36 h 61"/>
                <a:gd name="T24" fmla="*/ 23 w 44"/>
                <a:gd name="T25" fmla="*/ 34 h 61"/>
                <a:gd name="T26" fmla="*/ 23 w 44"/>
                <a:gd name="T27" fmla="*/ 29 h 61"/>
                <a:gd name="T28" fmla="*/ 21 w 44"/>
                <a:gd name="T29" fmla="*/ 23 h 61"/>
                <a:gd name="T30" fmla="*/ 23 w 44"/>
                <a:gd name="T31" fmla="*/ 15 h 61"/>
                <a:gd name="T32" fmla="*/ 30 w 44"/>
                <a:gd name="T33" fmla="*/ 9 h 61"/>
                <a:gd name="T34" fmla="*/ 44 w 44"/>
                <a:gd name="T35" fmla="*/ 2 h 61"/>
                <a:gd name="T36" fmla="*/ 42 w 44"/>
                <a:gd name="T37" fmla="*/ 0 h 6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4"/>
                <a:gd name="T58" fmla="*/ 0 h 61"/>
                <a:gd name="T59" fmla="*/ 44 w 44"/>
                <a:gd name="T60" fmla="*/ 61 h 6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4" h="61">
                  <a:moveTo>
                    <a:pt x="42" y="0"/>
                  </a:moveTo>
                  <a:lnTo>
                    <a:pt x="34" y="7"/>
                  </a:lnTo>
                  <a:lnTo>
                    <a:pt x="27" y="7"/>
                  </a:lnTo>
                  <a:lnTo>
                    <a:pt x="19" y="4"/>
                  </a:lnTo>
                  <a:lnTo>
                    <a:pt x="11" y="19"/>
                  </a:lnTo>
                  <a:lnTo>
                    <a:pt x="5" y="34"/>
                  </a:lnTo>
                  <a:lnTo>
                    <a:pt x="0" y="57"/>
                  </a:lnTo>
                  <a:lnTo>
                    <a:pt x="15" y="61"/>
                  </a:lnTo>
                  <a:lnTo>
                    <a:pt x="11" y="50"/>
                  </a:lnTo>
                  <a:lnTo>
                    <a:pt x="11" y="42"/>
                  </a:lnTo>
                  <a:lnTo>
                    <a:pt x="13" y="38"/>
                  </a:lnTo>
                  <a:lnTo>
                    <a:pt x="19" y="36"/>
                  </a:lnTo>
                  <a:lnTo>
                    <a:pt x="23" y="34"/>
                  </a:lnTo>
                  <a:lnTo>
                    <a:pt x="23" y="29"/>
                  </a:lnTo>
                  <a:lnTo>
                    <a:pt x="21" y="23"/>
                  </a:lnTo>
                  <a:lnTo>
                    <a:pt x="23" y="15"/>
                  </a:lnTo>
                  <a:lnTo>
                    <a:pt x="30" y="9"/>
                  </a:lnTo>
                  <a:lnTo>
                    <a:pt x="44" y="2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0" name="Freeform 255"/>
            <p:cNvSpPr>
              <a:spLocks/>
            </p:cNvSpPr>
            <p:nvPr/>
          </p:nvSpPr>
          <p:spPr bwMode="gray">
            <a:xfrm>
              <a:off x="2230" y="2011"/>
              <a:ext cx="27" cy="19"/>
            </a:xfrm>
            <a:custGeom>
              <a:avLst/>
              <a:gdLst>
                <a:gd name="T0" fmla="*/ 7 w 54"/>
                <a:gd name="T1" fmla="*/ 0 h 38"/>
                <a:gd name="T2" fmla="*/ 7 w 54"/>
                <a:gd name="T3" fmla="*/ 7 h 38"/>
                <a:gd name="T4" fmla="*/ 4 w 54"/>
                <a:gd name="T5" fmla="*/ 5 h 38"/>
                <a:gd name="T6" fmla="*/ 4 w 54"/>
                <a:gd name="T7" fmla="*/ 11 h 38"/>
                <a:gd name="T8" fmla="*/ 0 w 54"/>
                <a:gd name="T9" fmla="*/ 11 h 38"/>
                <a:gd name="T10" fmla="*/ 11 w 54"/>
                <a:gd name="T11" fmla="*/ 26 h 38"/>
                <a:gd name="T12" fmla="*/ 23 w 54"/>
                <a:gd name="T13" fmla="*/ 26 h 38"/>
                <a:gd name="T14" fmla="*/ 32 w 54"/>
                <a:gd name="T15" fmla="*/ 25 h 38"/>
                <a:gd name="T16" fmla="*/ 42 w 54"/>
                <a:gd name="T17" fmla="*/ 26 h 38"/>
                <a:gd name="T18" fmla="*/ 42 w 54"/>
                <a:gd name="T19" fmla="*/ 38 h 38"/>
                <a:gd name="T20" fmla="*/ 54 w 54"/>
                <a:gd name="T21" fmla="*/ 38 h 38"/>
                <a:gd name="T22" fmla="*/ 52 w 54"/>
                <a:gd name="T23" fmla="*/ 32 h 38"/>
                <a:gd name="T24" fmla="*/ 50 w 54"/>
                <a:gd name="T25" fmla="*/ 25 h 38"/>
                <a:gd name="T26" fmla="*/ 50 w 54"/>
                <a:gd name="T27" fmla="*/ 23 h 38"/>
                <a:gd name="T28" fmla="*/ 25 w 54"/>
                <a:gd name="T29" fmla="*/ 21 h 38"/>
                <a:gd name="T30" fmla="*/ 13 w 54"/>
                <a:gd name="T31" fmla="*/ 17 h 38"/>
                <a:gd name="T32" fmla="*/ 7 w 54"/>
                <a:gd name="T33" fmla="*/ 0 h 3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4"/>
                <a:gd name="T52" fmla="*/ 0 h 38"/>
                <a:gd name="T53" fmla="*/ 54 w 54"/>
                <a:gd name="T54" fmla="*/ 38 h 3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4" h="38">
                  <a:moveTo>
                    <a:pt x="7" y="0"/>
                  </a:moveTo>
                  <a:lnTo>
                    <a:pt x="7" y="7"/>
                  </a:lnTo>
                  <a:lnTo>
                    <a:pt x="4" y="5"/>
                  </a:lnTo>
                  <a:lnTo>
                    <a:pt x="4" y="11"/>
                  </a:lnTo>
                  <a:lnTo>
                    <a:pt x="0" y="11"/>
                  </a:lnTo>
                  <a:lnTo>
                    <a:pt x="11" y="26"/>
                  </a:lnTo>
                  <a:lnTo>
                    <a:pt x="23" y="26"/>
                  </a:lnTo>
                  <a:lnTo>
                    <a:pt x="32" y="25"/>
                  </a:lnTo>
                  <a:lnTo>
                    <a:pt x="42" y="26"/>
                  </a:lnTo>
                  <a:lnTo>
                    <a:pt x="42" y="38"/>
                  </a:lnTo>
                  <a:lnTo>
                    <a:pt x="54" y="38"/>
                  </a:lnTo>
                  <a:lnTo>
                    <a:pt x="52" y="32"/>
                  </a:lnTo>
                  <a:lnTo>
                    <a:pt x="50" y="25"/>
                  </a:lnTo>
                  <a:lnTo>
                    <a:pt x="50" y="23"/>
                  </a:lnTo>
                  <a:lnTo>
                    <a:pt x="25" y="21"/>
                  </a:lnTo>
                  <a:lnTo>
                    <a:pt x="13" y="17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1" name="Freeform 256"/>
            <p:cNvSpPr>
              <a:spLocks/>
            </p:cNvSpPr>
            <p:nvPr/>
          </p:nvSpPr>
          <p:spPr bwMode="gray">
            <a:xfrm>
              <a:off x="2273" y="2024"/>
              <a:ext cx="19" cy="16"/>
            </a:xfrm>
            <a:custGeom>
              <a:avLst/>
              <a:gdLst>
                <a:gd name="T0" fmla="*/ 31 w 39"/>
                <a:gd name="T1" fmla="*/ 0 h 31"/>
                <a:gd name="T2" fmla="*/ 37 w 39"/>
                <a:gd name="T3" fmla="*/ 4 h 31"/>
                <a:gd name="T4" fmla="*/ 37 w 39"/>
                <a:gd name="T5" fmla="*/ 8 h 31"/>
                <a:gd name="T6" fmla="*/ 31 w 39"/>
                <a:gd name="T7" fmla="*/ 12 h 31"/>
                <a:gd name="T8" fmla="*/ 35 w 39"/>
                <a:gd name="T9" fmla="*/ 10 h 31"/>
                <a:gd name="T10" fmla="*/ 37 w 39"/>
                <a:gd name="T11" fmla="*/ 14 h 31"/>
                <a:gd name="T12" fmla="*/ 39 w 39"/>
                <a:gd name="T13" fmla="*/ 16 h 31"/>
                <a:gd name="T14" fmla="*/ 31 w 39"/>
                <a:gd name="T15" fmla="*/ 16 h 31"/>
                <a:gd name="T16" fmla="*/ 27 w 39"/>
                <a:gd name="T17" fmla="*/ 27 h 31"/>
                <a:gd name="T18" fmla="*/ 16 w 39"/>
                <a:gd name="T19" fmla="*/ 29 h 31"/>
                <a:gd name="T20" fmla="*/ 0 w 39"/>
                <a:gd name="T21" fmla="*/ 31 h 31"/>
                <a:gd name="T22" fmla="*/ 12 w 39"/>
                <a:gd name="T23" fmla="*/ 24 h 31"/>
                <a:gd name="T24" fmla="*/ 16 w 39"/>
                <a:gd name="T25" fmla="*/ 20 h 31"/>
                <a:gd name="T26" fmla="*/ 16 w 39"/>
                <a:gd name="T27" fmla="*/ 8 h 31"/>
                <a:gd name="T28" fmla="*/ 31 w 39"/>
                <a:gd name="T29" fmla="*/ 0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9"/>
                <a:gd name="T46" fmla="*/ 0 h 31"/>
                <a:gd name="T47" fmla="*/ 39 w 39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9" h="31">
                  <a:moveTo>
                    <a:pt x="31" y="0"/>
                  </a:moveTo>
                  <a:lnTo>
                    <a:pt x="37" y="4"/>
                  </a:lnTo>
                  <a:lnTo>
                    <a:pt x="37" y="8"/>
                  </a:lnTo>
                  <a:lnTo>
                    <a:pt x="31" y="12"/>
                  </a:lnTo>
                  <a:lnTo>
                    <a:pt x="35" y="10"/>
                  </a:lnTo>
                  <a:lnTo>
                    <a:pt x="37" y="14"/>
                  </a:lnTo>
                  <a:lnTo>
                    <a:pt x="39" y="16"/>
                  </a:lnTo>
                  <a:lnTo>
                    <a:pt x="31" y="16"/>
                  </a:lnTo>
                  <a:lnTo>
                    <a:pt x="27" y="27"/>
                  </a:lnTo>
                  <a:lnTo>
                    <a:pt x="16" y="29"/>
                  </a:lnTo>
                  <a:lnTo>
                    <a:pt x="0" y="31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8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2" name="Freeform 257"/>
            <p:cNvSpPr>
              <a:spLocks/>
            </p:cNvSpPr>
            <p:nvPr/>
          </p:nvSpPr>
          <p:spPr bwMode="gray">
            <a:xfrm>
              <a:off x="1911" y="1437"/>
              <a:ext cx="362" cy="272"/>
            </a:xfrm>
            <a:custGeom>
              <a:avLst/>
              <a:gdLst>
                <a:gd name="T0" fmla="*/ 717 w 723"/>
                <a:gd name="T1" fmla="*/ 354 h 544"/>
                <a:gd name="T2" fmla="*/ 698 w 723"/>
                <a:gd name="T3" fmla="*/ 323 h 544"/>
                <a:gd name="T4" fmla="*/ 679 w 723"/>
                <a:gd name="T5" fmla="*/ 327 h 544"/>
                <a:gd name="T6" fmla="*/ 645 w 723"/>
                <a:gd name="T7" fmla="*/ 317 h 544"/>
                <a:gd name="T8" fmla="*/ 627 w 723"/>
                <a:gd name="T9" fmla="*/ 292 h 544"/>
                <a:gd name="T10" fmla="*/ 604 w 723"/>
                <a:gd name="T11" fmla="*/ 304 h 544"/>
                <a:gd name="T12" fmla="*/ 575 w 723"/>
                <a:gd name="T13" fmla="*/ 287 h 544"/>
                <a:gd name="T14" fmla="*/ 539 w 723"/>
                <a:gd name="T15" fmla="*/ 256 h 544"/>
                <a:gd name="T16" fmla="*/ 550 w 723"/>
                <a:gd name="T17" fmla="*/ 216 h 544"/>
                <a:gd name="T18" fmla="*/ 550 w 723"/>
                <a:gd name="T19" fmla="*/ 200 h 544"/>
                <a:gd name="T20" fmla="*/ 541 w 723"/>
                <a:gd name="T21" fmla="*/ 183 h 544"/>
                <a:gd name="T22" fmla="*/ 535 w 723"/>
                <a:gd name="T23" fmla="*/ 173 h 544"/>
                <a:gd name="T24" fmla="*/ 503 w 723"/>
                <a:gd name="T25" fmla="*/ 160 h 544"/>
                <a:gd name="T26" fmla="*/ 458 w 723"/>
                <a:gd name="T27" fmla="*/ 150 h 544"/>
                <a:gd name="T28" fmla="*/ 456 w 723"/>
                <a:gd name="T29" fmla="*/ 129 h 544"/>
                <a:gd name="T30" fmla="*/ 422 w 723"/>
                <a:gd name="T31" fmla="*/ 127 h 544"/>
                <a:gd name="T32" fmla="*/ 412 w 723"/>
                <a:gd name="T33" fmla="*/ 100 h 544"/>
                <a:gd name="T34" fmla="*/ 368 w 723"/>
                <a:gd name="T35" fmla="*/ 73 h 544"/>
                <a:gd name="T36" fmla="*/ 305 w 723"/>
                <a:gd name="T37" fmla="*/ 6 h 544"/>
                <a:gd name="T38" fmla="*/ 241 w 723"/>
                <a:gd name="T39" fmla="*/ 4 h 544"/>
                <a:gd name="T40" fmla="*/ 136 w 723"/>
                <a:gd name="T41" fmla="*/ 33 h 544"/>
                <a:gd name="T42" fmla="*/ 113 w 723"/>
                <a:gd name="T43" fmla="*/ 50 h 544"/>
                <a:gd name="T44" fmla="*/ 134 w 723"/>
                <a:gd name="T45" fmla="*/ 83 h 544"/>
                <a:gd name="T46" fmla="*/ 124 w 723"/>
                <a:gd name="T47" fmla="*/ 98 h 544"/>
                <a:gd name="T48" fmla="*/ 109 w 723"/>
                <a:gd name="T49" fmla="*/ 127 h 544"/>
                <a:gd name="T50" fmla="*/ 94 w 723"/>
                <a:gd name="T51" fmla="*/ 100 h 544"/>
                <a:gd name="T52" fmla="*/ 146 w 723"/>
                <a:gd name="T53" fmla="*/ 4 h 544"/>
                <a:gd name="T54" fmla="*/ 27 w 723"/>
                <a:gd name="T55" fmla="*/ 37 h 544"/>
                <a:gd name="T56" fmla="*/ 11 w 723"/>
                <a:gd name="T57" fmla="*/ 112 h 544"/>
                <a:gd name="T58" fmla="*/ 40 w 723"/>
                <a:gd name="T59" fmla="*/ 139 h 544"/>
                <a:gd name="T60" fmla="*/ 74 w 723"/>
                <a:gd name="T61" fmla="*/ 162 h 544"/>
                <a:gd name="T62" fmla="*/ 149 w 723"/>
                <a:gd name="T63" fmla="*/ 191 h 544"/>
                <a:gd name="T64" fmla="*/ 201 w 723"/>
                <a:gd name="T65" fmla="*/ 185 h 544"/>
                <a:gd name="T66" fmla="*/ 226 w 723"/>
                <a:gd name="T67" fmla="*/ 179 h 544"/>
                <a:gd name="T68" fmla="*/ 291 w 723"/>
                <a:gd name="T69" fmla="*/ 175 h 544"/>
                <a:gd name="T70" fmla="*/ 293 w 723"/>
                <a:gd name="T71" fmla="*/ 162 h 544"/>
                <a:gd name="T72" fmla="*/ 324 w 723"/>
                <a:gd name="T73" fmla="*/ 200 h 544"/>
                <a:gd name="T74" fmla="*/ 347 w 723"/>
                <a:gd name="T75" fmla="*/ 212 h 544"/>
                <a:gd name="T76" fmla="*/ 362 w 723"/>
                <a:gd name="T77" fmla="*/ 254 h 544"/>
                <a:gd name="T78" fmla="*/ 397 w 723"/>
                <a:gd name="T79" fmla="*/ 250 h 544"/>
                <a:gd name="T80" fmla="*/ 412 w 723"/>
                <a:gd name="T81" fmla="*/ 266 h 544"/>
                <a:gd name="T82" fmla="*/ 431 w 723"/>
                <a:gd name="T83" fmla="*/ 300 h 544"/>
                <a:gd name="T84" fmla="*/ 424 w 723"/>
                <a:gd name="T85" fmla="*/ 342 h 544"/>
                <a:gd name="T86" fmla="*/ 397 w 723"/>
                <a:gd name="T87" fmla="*/ 389 h 544"/>
                <a:gd name="T88" fmla="*/ 297 w 723"/>
                <a:gd name="T89" fmla="*/ 479 h 544"/>
                <a:gd name="T90" fmla="*/ 370 w 723"/>
                <a:gd name="T91" fmla="*/ 479 h 544"/>
                <a:gd name="T92" fmla="*/ 378 w 723"/>
                <a:gd name="T93" fmla="*/ 463 h 544"/>
                <a:gd name="T94" fmla="*/ 408 w 723"/>
                <a:gd name="T95" fmla="*/ 479 h 544"/>
                <a:gd name="T96" fmla="*/ 441 w 723"/>
                <a:gd name="T97" fmla="*/ 510 h 544"/>
                <a:gd name="T98" fmla="*/ 456 w 723"/>
                <a:gd name="T99" fmla="*/ 508 h 544"/>
                <a:gd name="T100" fmla="*/ 462 w 723"/>
                <a:gd name="T101" fmla="*/ 535 h 544"/>
                <a:gd name="T102" fmla="*/ 535 w 723"/>
                <a:gd name="T103" fmla="*/ 531 h 544"/>
                <a:gd name="T104" fmla="*/ 600 w 723"/>
                <a:gd name="T105" fmla="*/ 525 h 544"/>
                <a:gd name="T106" fmla="*/ 520 w 723"/>
                <a:gd name="T107" fmla="*/ 475 h 544"/>
                <a:gd name="T108" fmla="*/ 564 w 723"/>
                <a:gd name="T109" fmla="*/ 479 h 544"/>
                <a:gd name="T110" fmla="*/ 604 w 723"/>
                <a:gd name="T111" fmla="*/ 483 h 544"/>
                <a:gd name="T112" fmla="*/ 623 w 723"/>
                <a:gd name="T113" fmla="*/ 452 h 544"/>
                <a:gd name="T114" fmla="*/ 554 w 723"/>
                <a:gd name="T115" fmla="*/ 398 h 544"/>
                <a:gd name="T116" fmla="*/ 558 w 723"/>
                <a:gd name="T117" fmla="*/ 356 h 544"/>
                <a:gd name="T118" fmla="*/ 591 w 723"/>
                <a:gd name="T119" fmla="*/ 383 h 544"/>
                <a:gd name="T120" fmla="*/ 633 w 723"/>
                <a:gd name="T121" fmla="*/ 410 h 544"/>
                <a:gd name="T122" fmla="*/ 669 w 723"/>
                <a:gd name="T123" fmla="*/ 398 h 54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23"/>
                <a:gd name="T187" fmla="*/ 0 h 544"/>
                <a:gd name="T188" fmla="*/ 723 w 723"/>
                <a:gd name="T189" fmla="*/ 544 h 54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23" h="544">
                  <a:moveTo>
                    <a:pt x="689" y="369"/>
                  </a:moveTo>
                  <a:lnTo>
                    <a:pt x="700" y="369"/>
                  </a:lnTo>
                  <a:lnTo>
                    <a:pt x="698" y="365"/>
                  </a:lnTo>
                  <a:lnTo>
                    <a:pt x="696" y="360"/>
                  </a:lnTo>
                  <a:lnTo>
                    <a:pt x="696" y="356"/>
                  </a:lnTo>
                  <a:lnTo>
                    <a:pt x="702" y="358"/>
                  </a:lnTo>
                  <a:lnTo>
                    <a:pt x="706" y="362"/>
                  </a:lnTo>
                  <a:lnTo>
                    <a:pt x="716" y="364"/>
                  </a:lnTo>
                  <a:lnTo>
                    <a:pt x="717" y="354"/>
                  </a:lnTo>
                  <a:lnTo>
                    <a:pt x="719" y="346"/>
                  </a:lnTo>
                  <a:lnTo>
                    <a:pt x="723" y="337"/>
                  </a:lnTo>
                  <a:lnTo>
                    <a:pt x="712" y="329"/>
                  </a:lnTo>
                  <a:lnTo>
                    <a:pt x="708" y="325"/>
                  </a:lnTo>
                  <a:lnTo>
                    <a:pt x="714" y="325"/>
                  </a:lnTo>
                  <a:lnTo>
                    <a:pt x="708" y="323"/>
                  </a:lnTo>
                  <a:lnTo>
                    <a:pt x="704" y="321"/>
                  </a:lnTo>
                  <a:lnTo>
                    <a:pt x="702" y="317"/>
                  </a:lnTo>
                  <a:lnTo>
                    <a:pt x="698" y="323"/>
                  </a:lnTo>
                  <a:lnTo>
                    <a:pt x="700" y="329"/>
                  </a:lnTo>
                  <a:lnTo>
                    <a:pt x="693" y="331"/>
                  </a:lnTo>
                  <a:lnTo>
                    <a:pt x="687" y="329"/>
                  </a:lnTo>
                  <a:lnTo>
                    <a:pt x="681" y="329"/>
                  </a:lnTo>
                  <a:lnTo>
                    <a:pt x="681" y="331"/>
                  </a:lnTo>
                  <a:lnTo>
                    <a:pt x="679" y="335"/>
                  </a:lnTo>
                  <a:lnTo>
                    <a:pt x="673" y="342"/>
                  </a:lnTo>
                  <a:lnTo>
                    <a:pt x="675" y="337"/>
                  </a:lnTo>
                  <a:lnTo>
                    <a:pt x="679" y="327"/>
                  </a:lnTo>
                  <a:lnTo>
                    <a:pt x="681" y="321"/>
                  </a:lnTo>
                  <a:lnTo>
                    <a:pt x="677" y="323"/>
                  </a:lnTo>
                  <a:lnTo>
                    <a:pt x="673" y="321"/>
                  </a:lnTo>
                  <a:lnTo>
                    <a:pt x="669" y="321"/>
                  </a:lnTo>
                  <a:lnTo>
                    <a:pt x="669" y="333"/>
                  </a:lnTo>
                  <a:lnTo>
                    <a:pt x="666" y="333"/>
                  </a:lnTo>
                  <a:lnTo>
                    <a:pt x="662" y="325"/>
                  </a:lnTo>
                  <a:lnTo>
                    <a:pt x="639" y="325"/>
                  </a:lnTo>
                  <a:lnTo>
                    <a:pt x="645" y="317"/>
                  </a:lnTo>
                  <a:lnTo>
                    <a:pt x="643" y="312"/>
                  </a:lnTo>
                  <a:lnTo>
                    <a:pt x="643" y="304"/>
                  </a:lnTo>
                  <a:lnTo>
                    <a:pt x="637" y="304"/>
                  </a:lnTo>
                  <a:lnTo>
                    <a:pt x="631" y="300"/>
                  </a:lnTo>
                  <a:lnTo>
                    <a:pt x="631" y="310"/>
                  </a:lnTo>
                  <a:lnTo>
                    <a:pt x="623" y="310"/>
                  </a:lnTo>
                  <a:lnTo>
                    <a:pt x="623" y="308"/>
                  </a:lnTo>
                  <a:lnTo>
                    <a:pt x="625" y="298"/>
                  </a:lnTo>
                  <a:lnTo>
                    <a:pt x="627" y="292"/>
                  </a:lnTo>
                  <a:lnTo>
                    <a:pt x="616" y="292"/>
                  </a:lnTo>
                  <a:lnTo>
                    <a:pt x="616" y="304"/>
                  </a:lnTo>
                  <a:lnTo>
                    <a:pt x="612" y="304"/>
                  </a:lnTo>
                  <a:lnTo>
                    <a:pt x="610" y="300"/>
                  </a:lnTo>
                  <a:lnTo>
                    <a:pt x="612" y="300"/>
                  </a:lnTo>
                  <a:lnTo>
                    <a:pt x="608" y="300"/>
                  </a:lnTo>
                  <a:lnTo>
                    <a:pt x="608" y="296"/>
                  </a:lnTo>
                  <a:lnTo>
                    <a:pt x="604" y="296"/>
                  </a:lnTo>
                  <a:lnTo>
                    <a:pt x="604" y="304"/>
                  </a:lnTo>
                  <a:lnTo>
                    <a:pt x="597" y="306"/>
                  </a:lnTo>
                  <a:lnTo>
                    <a:pt x="585" y="310"/>
                  </a:lnTo>
                  <a:lnTo>
                    <a:pt x="585" y="306"/>
                  </a:lnTo>
                  <a:lnTo>
                    <a:pt x="587" y="298"/>
                  </a:lnTo>
                  <a:lnTo>
                    <a:pt x="589" y="292"/>
                  </a:lnTo>
                  <a:lnTo>
                    <a:pt x="585" y="290"/>
                  </a:lnTo>
                  <a:lnTo>
                    <a:pt x="581" y="292"/>
                  </a:lnTo>
                  <a:lnTo>
                    <a:pt x="577" y="292"/>
                  </a:lnTo>
                  <a:lnTo>
                    <a:pt x="575" y="287"/>
                  </a:lnTo>
                  <a:lnTo>
                    <a:pt x="575" y="281"/>
                  </a:lnTo>
                  <a:lnTo>
                    <a:pt x="574" y="277"/>
                  </a:lnTo>
                  <a:lnTo>
                    <a:pt x="564" y="273"/>
                  </a:lnTo>
                  <a:lnTo>
                    <a:pt x="552" y="271"/>
                  </a:lnTo>
                  <a:lnTo>
                    <a:pt x="539" y="269"/>
                  </a:lnTo>
                  <a:lnTo>
                    <a:pt x="537" y="266"/>
                  </a:lnTo>
                  <a:lnTo>
                    <a:pt x="533" y="260"/>
                  </a:lnTo>
                  <a:lnTo>
                    <a:pt x="531" y="258"/>
                  </a:lnTo>
                  <a:lnTo>
                    <a:pt x="539" y="256"/>
                  </a:lnTo>
                  <a:lnTo>
                    <a:pt x="550" y="254"/>
                  </a:lnTo>
                  <a:lnTo>
                    <a:pt x="550" y="248"/>
                  </a:lnTo>
                  <a:lnTo>
                    <a:pt x="554" y="242"/>
                  </a:lnTo>
                  <a:lnTo>
                    <a:pt x="543" y="229"/>
                  </a:lnTo>
                  <a:lnTo>
                    <a:pt x="552" y="227"/>
                  </a:lnTo>
                  <a:lnTo>
                    <a:pt x="574" y="231"/>
                  </a:lnTo>
                  <a:lnTo>
                    <a:pt x="566" y="225"/>
                  </a:lnTo>
                  <a:lnTo>
                    <a:pt x="558" y="217"/>
                  </a:lnTo>
                  <a:lnTo>
                    <a:pt x="550" y="216"/>
                  </a:lnTo>
                  <a:lnTo>
                    <a:pt x="545" y="216"/>
                  </a:lnTo>
                  <a:lnTo>
                    <a:pt x="543" y="217"/>
                  </a:lnTo>
                  <a:lnTo>
                    <a:pt x="539" y="219"/>
                  </a:lnTo>
                  <a:lnTo>
                    <a:pt x="537" y="216"/>
                  </a:lnTo>
                  <a:lnTo>
                    <a:pt x="533" y="210"/>
                  </a:lnTo>
                  <a:lnTo>
                    <a:pt x="531" y="206"/>
                  </a:lnTo>
                  <a:lnTo>
                    <a:pt x="543" y="206"/>
                  </a:lnTo>
                  <a:lnTo>
                    <a:pt x="547" y="204"/>
                  </a:lnTo>
                  <a:lnTo>
                    <a:pt x="550" y="200"/>
                  </a:lnTo>
                  <a:lnTo>
                    <a:pt x="552" y="200"/>
                  </a:lnTo>
                  <a:lnTo>
                    <a:pt x="558" y="198"/>
                  </a:lnTo>
                  <a:lnTo>
                    <a:pt x="558" y="185"/>
                  </a:lnTo>
                  <a:lnTo>
                    <a:pt x="554" y="185"/>
                  </a:lnTo>
                  <a:lnTo>
                    <a:pt x="554" y="177"/>
                  </a:lnTo>
                  <a:lnTo>
                    <a:pt x="550" y="177"/>
                  </a:lnTo>
                  <a:lnTo>
                    <a:pt x="543" y="173"/>
                  </a:lnTo>
                  <a:lnTo>
                    <a:pt x="541" y="177"/>
                  </a:lnTo>
                  <a:lnTo>
                    <a:pt x="541" y="183"/>
                  </a:lnTo>
                  <a:lnTo>
                    <a:pt x="539" y="187"/>
                  </a:lnTo>
                  <a:lnTo>
                    <a:pt x="527" y="192"/>
                  </a:lnTo>
                  <a:lnTo>
                    <a:pt x="527" y="181"/>
                  </a:lnTo>
                  <a:lnTo>
                    <a:pt x="520" y="181"/>
                  </a:lnTo>
                  <a:lnTo>
                    <a:pt x="524" y="173"/>
                  </a:lnTo>
                  <a:lnTo>
                    <a:pt x="527" y="169"/>
                  </a:lnTo>
                  <a:lnTo>
                    <a:pt x="531" y="169"/>
                  </a:lnTo>
                  <a:lnTo>
                    <a:pt x="531" y="173"/>
                  </a:lnTo>
                  <a:lnTo>
                    <a:pt x="535" y="173"/>
                  </a:lnTo>
                  <a:lnTo>
                    <a:pt x="535" y="166"/>
                  </a:lnTo>
                  <a:lnTo>
                    <a:pt x="531" y="164"/>
                  </a:lnTo>
                  <a:lnTo>
                    <a:pt x="527" y="166"/>
                  </a:lnTo>
                  <a:lnTo>
                    <a:pt x="524" y="166"/>
                  </a:lnTo>
                  <a:lnTo>
                    <a:pt x="520" y="160"/>
                  </a:lnTo>
                  <a:lnTo>
                    <a:pt x="518" y="154"/>
                  </a:lnTo>
                  <a:lnTo>
                    <a:pt x="508" y="154"/>
                  </a:lnTo>
                  <a:lnTo>
                    <a:pt x="504" y="156"/>
                  </a:lnTo>
                  <a:lnTo>
                    <a:pt x="503" y="160"/>
                  </a:lnTo>
                  <a:lnTo>
                    <a:pt x="497" y="162"/>
                  </a:lnTo>
                  <a:lnTo>
                    <a:pt x="499" y="156"/>
                  </a:lnTo>
                  <a:lnTo>
                    <a:pt x="501" y="154"/>
                  </a:lnTo>
                  <a:lnTo>
                    <a:pt x="489" y="150"/>
                  </a:lnTo>
                  <a:lnTo>
                    <a:pt x="485" y="146"/>
                  </a:lnTo>
                  <a:lnTo>
                    <a:pt x="479" y="144"/>
                  </a:lnTo>
                  <a:lnTo>
                    <a:pt x="474" y="139"/>
                  </a:lnTo>
                  <a:lnTo>
                    <a:pt x="474" y="150"/>
                  </a:lnTo>
                  <a:lnTo>
                    <a:pt x="458" y="150"/>
                  </a:lnTo>
                  <a:lnTo>
                    <a:pt x="458" y="148"/>
                  </a:lnTo>
                  <a:lnTo>
                    <a:pt x="460" y="144"/>
                  </a:lnTo>
                  <a:lnTo>
                    <a:pt x="462" y="143"/>
                  </a:lnTo>
                  <a:lnTo>
                    <a:pt x="468" y="143"/>
                  </a:lnTo>
                  <a:lnTo>
                    <a:pt x="468" y="139"/>
                  </a:lnTo>
                  <a:lnTo>
                    <a:pt x="470" y="135"/>
                  </a:lnTo>
                  <a:lnTo>
                    <a:pt x="458" y="131"/>
                  </a:lnTo>
                  <a:lnTo>
                    <a:pt x="455" y="131"/>
                  </a:lnTo>
                  <a:lnTo>
                    <a:pt x="456" y="129"/>
                  </a:lnTo>
                  <a:lnTo>
                    <a:pt x="451" y="125"/>
                  </a:lnTo>
                  <a:lnTo>
                    <a:pt x="447" y="123"/>
                  </a:lnTo>
                  <a:lnTo>
                    <a:pt x="439" y="123"/>
                  </a:lnTo>
                  <a:lnTo>
                    <a:pt x="437" y="129"/>
                  </a:lnTo>
                  <a:lnTo>
                    <a:pt x="437" y="135"/>
                  </a:lnTo>
                  <a:lnTo>
                    <a:pt x="435" y="139"/>
                  </a:lnTo>
                  <a:lnTo>
                    <a:pt x="430" y="137"/>
                  </a:lnTo>
                  <a:lnTo>
                    <a:pt x="424" y="139"/>
                  </a:lnTo>
                  <a:lnTo>
                    <a:pt x="422" y="127"/>
                  </a:lnTo>
                  <a:lnTo>
                    <a:pt x="422" y="119"/>
                  </a:lnTo>
                  <a:lnTo>
                    <a:pt x="416" y="123"/>
                  </a:lnTo>
                  <a:lnTo>
                    <a:pt x="407" y="133"/>
                  </a:lnTo>
                  <a:lnTo>
                    <a:pt x="405" y="139"/>
                  </a:lnTo>
                  <a:lnTo>
                    <a:pt x="401" y="129"/>
                  </a:lnTo>
                  <a:lnTo>
                    <a:pt x="401" y="119"/>
                  </a:lnTo>
                  <a:lnTo>
                    <a:pt x="408" y="116"/>
                  </a:lnTo>
                  <a:lnTo>
                    <a:pt x="408" y="104"/>
                  </a:lnTo>
                  <a:lnTo>
                    <a:pt x="412" y="100"/>
                  </a:lnTo>
                  <a:lnTo>
                    <a:pt x="407" y="96"/>
                  </a:lnTo>
                  <a:lnTo>
                    <a:pt x="401" y="94"/>
                  </a:lnTo>
                  <a:lnTo>
                    <a:pt x="393" y="93"/>
                  </a:lnTo>
                  <a:lnTo>
                    <a:pt x="399" y="87"/>
                  </a:lnTo>
                  <a:lnTo>
                    <a:pt x="401" y="81"/>
                  </a:lnTo>
                  <a:lnTo>
                    <a:pt x="393" y="77"/>
                  </a:lnTo>
                  <a:lnTo>
                    <a:pt x="393" y="69"/>
                  </a:lnTo>
                  <a:lnTo>
                    <a:pt x="380" y="68"/>
                  </a:lnTo>
                  <a:lnTo>
                    <a:pt x="368" y="73"/>
                  </a:lnTo>
                  <a:lnTo>
                    <a:pt x="355" y="77"/>
                  </a:lnTo>
                  <a:lnTo>
                    <a:pt x="347" y="69"/>
                  </a:lnTo>
                  <a:lnTo>
                    <a:pt x="328" y="64"/>
                  </a:lnTo>
                  <a:lnTo>
                    <a:pt x="309" y="60"/>
                  </a:lnTo>
                  <a:lnTo>
                    <a:pt x="286" y="58"/>
                  </a:lnTo>
                  <a:lnTo>
                    <a:pt x="289" y="50"/>
                  </a:lnTo>
                  <a:lnTo>
                    <a:pt x="314" y="43"/>
                  </a:lnTo>
                  <a:lnTo>
                    <a:pt x="324" y="35"/>
                  </a:lnTo>
                  <a:lnTo>
                    <a:pt x="305" y="6"/>
                  </a:lnTo>
                  <a:lnTo>
                    <a:pt x="301" y="2"/>
                  </a:lnTo>
                  <a:lnTo>
                    <a:pt x="293" y="0"/>
                  </a:lnTo>
                  <a:lnTo>
                    <a:pt x="288" y="2"/>
                  </a:lnTo>
                  <a:lnTo>
                    <a:pt x="278" y="8"/>
                  </a:lnTo>
                  <a:lnTo>
                    <a:pt x="274" y="12"/>
                  </a:lnTo>
                  <a:lnTo>
                    <a:pt x="266" y="10"/>
                  </a:lnTo>
                  <a:lnTo>
                    <a:pt x="263" y="6"/>
                  </a:lnTo>
                  <a:lnTo>
                    <a:pt x="259" y="4"/>
                  </a:lnTo>
                  <a:lnTo>
                    <a:pt x="241" y="4"/>
                  </a:lnTo>
                  <a:lnTo>
                    <a:pt x="230" y="8"/>
                  </a:lnTo>
                  <a:lnTo>
                    <a:pt x="220" y="16"/>
                  </a:lnTo>
                  <a:lnTo>
                    <a:pt x="220" y="23"/>
                  </a:lnTo>
                  <a:lnTo>
                    <a:pt x="217" y="20"/>
                  </a:lnTo>
                  <a:lnTo>
                    <a:pt x="217" y="12"/>
                  </a:lnTo>
                  <a:lnTo>
                    <a:pt x="184" y="8"/>
                  </a:lnTo>
                  <a:lnTo>
                    <a:pt x="161" y="18"/>
                  </a:lnTo>
                  <a:lnTo>
                    <a:pt x="132" y="31"/>
                  </a:lnTo>
                  <a:lnTo>
                    <a:pt x="136" y="33"/>
                  </a:lnTo>
                  <a:lnTo>
                    <a:pt x="136" y="37"/>
                  </a:lnTo>
                  <a:lnTo>
                    <a:pt x="132" y="39"/>
                  </a:lnTo>
                  <a:lnTo>
                    <a:pt x="134" y="41"/>
                  </a:lnTo>
                  <a:lnTo>
                    <a:pt x="136" y="45"/>
                  </a:lnTo>
                  <a:lnTo>
                    <a:pt x="136" y="46"/>
                  </a:lnTo>
                  <a:lnTo>
                    <a:pt x="132" y="46"/>
                  </a:lnTo>
                  <a:lnTo>
                    <a:pt x="128" y="45"/>
                  </a:lnTo>
                  <a:lnTo>
                    <a:pt x="128" y="43"/>
                  </a:lnTo>
                  <a:lnTo>
                    <a:pt x="113" y="50"/>
                  </a:lnTo>
                  <a:lnTo>
                    <a:pt x="113" y="66"/>
                  </a:lnTo>
                  <a:lnTo>
                    <a:pt x="117" y="66"/>
                  </a:lnTo>
                  <a:lnTo>
                    <a:pt x="117" y="73"/>
                  </a:lnTo>
                  <a:lnTo>
                    <a:pt x="124" y="71"/>
                  </a:lnTo>
                  <a:lnTo>
                    <a:pt x="132" y="71"/>
                  </a:lnTo>
                  <a:lnTo>
                    <a:pt x="140" y="73"/>
                  </a:lnTo>
                  <a:lnTo>
                    <a:pt x="140" y="89"/>
                  </a:lnTo>
                  <a:lnTo>
                    <a:pt x="136" y="87"/>
                  </a:lnTo>
                  <a:lnTo>
                    <a:pt x="134" y="83"/>
                  </a:lnTo>
                  <a:lnTo>
                    <a:pt x="132" y="81"/>
                  </a:lnTo>
                  <a:lnTo>
                    <a:pt x="113" y="81"/>
                  </a:lnTo>
                  <a:lnTo>
                    <a:pt x="115" y="83"/>
                  </a:lnTo>
                  <a:lnTo>
                    <a:pt x="109" y="89"/>
                  </a:lnTo>
                  <a:lnTo>
                    <a:pt x="109" y="91"/>
                  </a:lnTo>
                  <a:lnTo>
                    <a:pt x="111" y="94"/>
                  </a:lnTo>
                  <a:lnTo>
                    <a:pt x="113" y="96"/>
                  </a:lnTo>
                  <a:lnTo>
                    <a:pt x="119" y="98"/>
                  </a:lnTo>
                  <a:lnTo>
                    <a:pt x="124" y="98"/>
                  </a:lnTo>
                  <a:lnTo>
                    <a:pt x="132" y="100"/>
                  </a:lnTo>
                  <a:lnTo>
                    <a:pt x="132" y="108"/>
                  </a:lnTo>
                  <a:lnTo>
                    <a:pt x="124" y="116"/>
                  </a:lnTo>
                  <a:lnTo>
                    <a:pt x="128" y="127"/>
                  </a:lnTo>
                  <a:lnTo>
                    <a:pt x="128" y="135"/>
                  </a:lnTo>
                  <a:lnTo>
                    <a:pt x="124" y="133"/>
                  </a:lnTo>
                  <a:lnTo>
                    <a:pt x="119" y="129"/>
                  </a:lnTo>
                  <a:lnTo>
                    <a:pt x="117" y="127"/>
                  </a:lnTo>
                  <a:lnTo>
                    <a:pt x="109" y="127"/>
                  </a:lnTo>
                  <a:lnTo>
                    <a:pt x="94" y="131"/>
                  </a:lnTo>
                  <a:lnTo>
                    <a:pt x="105" y="123"/>
                  </a:lnTo>
                  <a:lnTo>
                    <a:pt x="113" y="119"/>
                  </a:lnTo>
                  <a:lnTo>
                    <a:pt x="111" y="116"/>
                  </a:lnTo>
                  <a:lnTo>
                    <a:pt x="111" y="110"/>
                  </a:lnTo>
                  <a:lnTo>
                    <a:pt x="109" y="108"/>
                  </a:lnTo>
                  <a:lnTo>
                    <a:pt x="103" y="104"/>
                  </a:lnTo>
                  <a:lnTo>
                    <a:pt x="98" y="102"/>
                  </a:lnTo>
                  <a:lnTo>
                    <a:pt x="94" y="100"/>
                  </a:lnTo>
                  <a:lnTo>
                    <a:pt x="92" y="75"/>
                  </a:lnTo>
                  <a:lnTo>
                    <a:pt x="96" y="46"/>
                  </a:lnTo>
                  <a:lnTo>
                    <a:pt x="105" y="27"/>
                  </a:lnTo>
                  <a:lnTo>
                    <a:pt x="121" y="21"/>
                  </a:lnTo>
                  <a:lnTo>
                    <a:pt x="136" y="18"/>
                  </a:lnTo>
                  <a:lnTo>
                    <a:pt x="155" y="16"/>
                  </a:lnTo>
                  <a:lnTo>
                    <a:pt x="155" y="8"/>
                  </a:lnTo>
                  <a:lnTo>
                    <a:pt x="151" y="6"/>
                  </a:lnTo>
                  <a:lnTo>
                    <a:pt x="146" y="4"/>
                  </a:lnTo>
                  <a:lnTo>
                    <a:pt x="126" y="4"/>
                  </a:lnTo>
                  <a:lnTo>
                    <a:pt x="101" y="6"/>
                  </a:lnTo>
                  <a:lnTo>
                    <a:pt x="90" y="8"/>
                  </a:lnTo>
                  <a:lnTo>
                    <a:pt x="69" y="12"/>
                  </a:lnTo>
                  <a:lnTo>
                    <a:pt x="51" y="14"/>
                  </a:lnTo>
                  <a:lnTo>
                    <a:pt x="36" y="20"/>
                  </a:lnTo>
                  <a:lnTo>
                    <a:pt x="36" y="35"/>
                  </a:lnTo>
                  <a:lnTo>
                    <a:pt x="32" y="37"/>
                  </a:lnTo>
                  <a:lnTo>
                    <a:pt x="27" y="37"/>
                  </a:lnTo>
                  <a:lnTo>
                    <a:pt x="25" y="39"/>
                  </a:lnTo>
                  <a:lnTo>
                    <a:pt x="25" y="54"/>
                  </a:lnTo>
                  <a:lnTo>
                    <a:pt x="21" y="56"/>
                  </a:lnTo>
                  <a:lnTo>
                    <a:pt x="19" y="62"/>
                  </a:lnTo>
                  <a:lnTo>
                    <a:pt x="15" y="66"/>
                  </a:lnTo>
                  <a:lnTo>
                    <a:pt x="9" y="79"/>
                  </a:lnTo>
                  <a:lnTo>
                    <a:pt x="0" y="108"/>
                  </a:lnTo>
                  <a:lnTo>
                    <a:pt x="3" y="110"/>
                  </a:lnTo>
                  <a:lnTo>
                    <a:pt x="11" y="112"/>
                  </a:lnTo>
                  <a:lnTo>
                    <a:pt x="15" y="116"/>
                  </a:lnTo>
                  <a:lnTo>
                    <a:pt x="15" y="118"/>
                  </a:lnTo>
                  <a:lnTo>
                    <a:pt x="11" y="123"/>
                  </a:lnTo>
                  <a:lnTo>
                    <a:pt x="25" y="129"/>
                  </a:lnTo>
                  <a:lnTo>
                    <a:pt x="38" y="133"/>
                  </a:lnTo>
                  <a:lnTo>
                    <a:pt x="59" y="135"/>
                  </a:lnTo>
                  <a:lnTo>
                    <a:pt x="59" y="143"/>
                  </a:lnTo>
                  <a:lnTo>
                    <a:pt x="51" y="143"/>
                  </a:lnTo>
                  <a:lnTo>
                    <a:pt x="40" y="139"/>
                  </a:lnTo>
                  <a:lnTo>
                    <a:pt x="48" y="150"/>
                  </a:lnTo>
                  <a:lnTo>
                    <a:pt x="53" y="158"/>
                  </a:lnTo>
                  <a:lnTo>
                    <a:pt x="67" y="166"/>
                  </a:lnTo>
                  <a:lnTo>
                    <a:pt x="59" y="168"/>
                  </a:lnTo>
                  <a:lnTo>
                    <a:pt x="63" y="171"/>
                  </a:lnTo>
                  <a:lnTo>
                    <a:pt x="71" y="173"/>
                  </a:lnTo>
                  <a:lnTo>
                    <a:pt x="73" y="171"/>
                  </a:lnTo>
                  <a:lnTo>
                    <a:pt x="74" y="166"/>
                  </a:lnTo>
                  <a:lnTo>
                    <a:pt x="74" y="162"/>
                  </a:lnTo>
                  <a:lnTo>
                    <a:pt x="82" y="162"/>
                  </a:lnTo>
                  <a:lnTo>
                    <a:pt x="92" y="169"/>
                  </a:lnTo>
                  <a:lnTo>
                    <a:pt x="98" y="179"/>
                  </a:lnTo>
                  <a:lnTo>
                    <a:pt x="105" y="187"/>
                  </a:lnTo>
                  <a:lnTo>
                    <a:pt x="121" y="187"/>
                  </a:lnTo>
                  <a:lnTo>
                    <a:pt x="121" y="181"/>
                  </a:lnTo>
                  <a:lnTo>
                    <a:pt x="126" y="181"/>
                  </a:lnTo>
                  <a:lnTo>
                    <a:pt x="132" y="187"/>
                  </a:lnTo>
                  <a:lnTo>
                    <a:pt x="149" y="191"/>
                  </a:lnTo>
                  <a:lnTo>
                    <a:pt x="167" y="189"/>
                  </a:lnTo>
                  <a:lnTo>
                    <a:pt x="182" y="187"/>
                  </a:lnTo>
                  <a:lnTo>
                    <a:pt x="182" y="191"/>
                  </a:lnTo>
                  <a:lnTo>
                    <a:pt x="184" y="192"/>
                  </a:lnTo>
                  <a:lnTo>
                    <a:pt x="186" y="196"/>
                  </a:lnTo>
                  <a:lnTo>
                    <a:pt x="195" y="198"/>
                  </a:lnTo>
                  <a:lnTo>
                    <a:pt x="213" y="198"/>
                  </a:lnTo>
                  <a:lnTo>
                    <a:pt x="203" y="189"/>
                  </a:lnTo>
                  <a:lnTo>
                    <a:pt x="201" y="185"/>
                  </a:lnTo>
                  <a:lnTo>
                    <a:pt x="201" y="177"/>
                  </a:lnTo>
                  <a:lnTo>
                    <a:pt x="213" y="185"/>
                  </a:lnTo>
                  <a:lnTo>
                    <a:pt x="222" y="191"/>
                  </a:lnTo>
                  <a:lnTo>
                    <a:pt x="234" y="198"/>
                  </a:lnTo>
                  <a:lnTo>
                    <a:pt x="243" y="206"/>
                  </a:lnTo>
                  <a:lnTo>
                    <a:pt x="243" y="196"/>
                  </a:lnTo>
                  <a:lnTo>
                    <a:pt x="232" y="185"/>
                  </a:lnTo>
                  <a:lnTo>
                    <a:pt x="230" y="181"/>
                  </a:lnTo>
                  <a:lnTo>
                    <a:pt x="226" y="179"/>
                  </a:lnTo>
                  <a:lnTo>
                    <a:pt x="224" y="177"/>
                  </a:lnTo>
                  <a:lnTo>
                    <a:pt x="245" y="175"/>
                  </a:lnTo>
                  <a:lnTo>
                    <a:pt x="255" y="179"/>
                  </a:lnTo>
                  <a:lnTo>
                    <a:pt x="270" y="192"/>
                  </a:lnTo>
                  <a:lnTo>
                    <a:pt x="278" y="189"/>
                  </a:lnTo>
                  <a:lnTo>
                    <a:pt x="284" y="189"/>
                  </a:lnTo>
                  <a:lnTo>
                    <a:pt x="293" y="187"/>
                  </a:lnTo>
                  <a:lnTo>
                    <a:pt x="291" y="181"/>
                  </a:lnTo>
                  <a:lnTo>
                    <a:pt x="291" y="175"/>
                  </a:lnTo>
                  <a:lnTo>
                    <a:pt x="289" y="169"/>
                  </a:lnTo>
                  <a:lnTo>
                    <a:pt x="284" y="169"/>
                  </a:lnTo>
                  <a:lnTo>
                    <a:pt x="286" y="173"/>
                  </a:lnTo>
                  <a:lnTo>
                    <a:pt x="280" y="175"/>
                  </a:lnTo>
                  <a:lnTo>
                    <a:pt x="280" y="171"/>
                  </a:lnTo>
                  <a:lnTo>
                    <a:pt x="278" y="169"/>
                  </a:lnTo>
                  <a:lnTo>
                    <a:pt x="284" y="168"/>
                  </a:lnTo>
                  <a:lnTo>
                    <a:pt x="288" y="164"/>
                  </a:lnTo>
                  <a:lnTo>
                    <a:pt x="293" y="162"/>
                  </a:lnTo>
                  <a:lnTo>
                    <a:pt x="297" y="169"/>
                  </a:lnTo>
                  <a:lnTo>
                    <a:pt x="301" y="181"/>
                  </a:lnTo>
                  <a:lnTo>
                    <a:pt x="305" y="179"/>
                  </a:lnTo>
                  <a:lnTo>
                    <a:pt x="305" y="173"/>
                  </a:lnTo>
                  <a:lnTo>
                    <a:pt x="312" y="173"/>
                  </a:lnTo>
                  <a:lnTo>
                    <a:pt x="314" y="183"/>
                  </a:lnTo>
                  <a:lnTo>
                    <a:pt x="318" y="192"/>
                  </a:lnTo>
                  <a:lnTo>
                    <a:pt x="320" y="204"/>
                  </a:lnTo>
                  <a:lnTo>
                    <a:pt x="324" y="200"/>
                  </a:lnTo>
                  <a:lnTo>
                    <a:pt x="324" y="192"/>
                  </a:lnTo>
                  <a:lnTo>
                    <a:pt x="332" y="192"/>
                  </a:lnTo>
                  <a:lnTo>
                    <a:pt x="336" y="189"/>
                  </a:lnTo>
                  <a:lnTo>
                    <a:pt x="339" y="187"/>
                  </a:lnTo>
                  <a:lnTo>
                    <a:pt x="341" y="191"/>
                  </a:lnTo>
                  <a:lnTo>
                    <a:pt x="345" y="194"/>
                  </a:lnTo>
                  <a:lnTo>
                    <a:pt x="351" y="198"/>
                  </a:lnTo>
                  <a:lnTo>
                    <a:pt x="347" y="206"/>
                  </a:lnTo>
                  <a:lnTo>
                    <a:pt x="347" y="212"/>
                  </a:lnTo>
                  <a:lnTo>
                    <a:pt x="362" y="200"/>
                  </a:lnTo>
                  <a:lnTo>
                    <a:pt x="368" y="200"/>
                  </a:lnTo>
                  <a:lnTo>
                    <a:pt x="362" y="223"/>
                  </a:lnTo>
                  <a:lnTo>
                    <a:pt x="374" y="227"/>
                  </a:lnTo>
                  <a:lnTo>
                    <a:pt x="378" y="231"/>
                  </a:lnTo>
                  <a:lnTo>
                    <a:pt x="366" y="233"/>
                  </a:lnTo>
                  <a:lnTo>
                    <a:pt x="366" y="246"/>
                  </a:lnTo>
                  <a:lnTo>
                    <a:pt x="362" y="246"/>
                  </a:lnTo>
                  <a:lnTo>
                    <a:pt x="362" y="254"/>
                  </a:lnTo>
                  <a:lnTo>
                    <a:pt x="366" y="254"/>
                  </a:lnTo>
                  <a:lnTo>
                    <a:pt x="370" y="252"/>
                  </a:lnTo>
                  <a:lnTo>
                    <a:pt x="374" y="254"/>
                  </a:lnTo>
                  <a:lnTo>
                    <a:pt x="372" y="260"/>
                  </a:lnTo>
                  <a:lnTo>
                    <a:pt x="374" y="266"/>
                  </a:lnTo>
                  <a:lnTo>
                    <a:pt x="382" y="260"/>
                  </a:lnTo>
                  <a:lnTo>
                    <a:pt x="387" y="256"/>
                  </a:lnTo>
                  <a:lnTo>
                    <a:pt x="393" y="254"/>
                  </a:lnTo>
                  <a:lnTo>
                    <a:pt x="397" y="250"/>
                  </a:lnTo>
                  <a:lnTo>
                    <a:pt x="401" y="248"/>
                  </a:lnTo>
                  <a:lnTo>
                    <a:pt x="408" y="246"/>
                  </a:lnTo>
                  <a:lnTo>
                    <a:pt x="408" y="239"/>
                  </a:lnTo>
                  <a:lnTo>
                    <a:pt x="412" y="239"/>
                  </a:lnTo>
                  <a:lnTo>
                    <a:pt x="412" y="241"/>
                  </a:lnTo>
                  <a:lnTo>
                    <a:pt x="416" y="242"/>
                  </a:lnTo>
                  <a:lnTo>
                    <a:pt x="414" y="252"/>
                  </a:lnTo>
                  <a:lnTo>
                    <a:pt x="410" y="264"/>
                  </a:lnTo>
                  <a:lnTo>
                    <a:pt x="412" y="266"/>
                  </a:lnTo>
                  <a:lnTo>
                    <a:pt x="412" y="273"/>
                  </a:lnTo>
                  <a:lnTo>
                    <a:pt x="414" y="273"/>
                  </a:lnTo>
                  <a:lnTo>
                    <a:pt x="418" y="269"/>
                  </a:lnTo>
                  <a:lnTo>
                    <a:pt x="420" y="269"/>
                  </a:lnTo>
                  <a:lnTo>
                    <a:pt x="424" y="281"/>
                  </a:lnTo>
                  <a:lnTo>
                    <a:pt x="435" y="281"/>
                  </a:lnTo>
                  <a:lnTo>
                    <a:pt x="433" y="285"/>
                  </a:lnTo>
                  <a:lnTo>
                    <a:pt x="431" y="292"/>
                  </a:lnTo>
                  <a:lnTo>
                    <a:pt x="431" y="300"/>
                  </a:lnTo>
                  <a:lnTo>
                    <a:pt x="433" y="304"/>
                  </a:lnTo>
                  <a:lnTo>
                    <a:pt x="439" y="314"/>
                  </a:lnTo>
                  <a:lnTo>
                    <a:pt x="443" y="321"/>
                  </a:lnTo>
                  <a:lnTo>
                    <a:pt x="439" y="323"/>
                  </a:lnTo>
                  <a:lnTo>
                    <a:pt x="431" y="323"/>
                  </a:lnTo>
                  <a:lnTo>
                    <a:pt x="428" y="321"/>
                  </a:lnTo>
                  <a:lnTo>
                    <a:pt x="430" y="329"/>
                  </a:lnTo>
                  <a:lnTo>
                    <a:pt x="426" y="337"/>
                  </a:lnTo>
                  <a:lnTo>
                    <a:pt x="424" y="342"/>
                  </a:lnTo>
                  <a:lnTo>
                    <a:pt x="430" y="344"/>
                  </a:lnTo>
                  <a:lnTo>
                    <a:pt x="433" y="346"/>
                  </a:lnTo>
                  <a:lnTo>
                    <a:pt x="439" y="348"/>
                  </a:lnTo>
                  <a:lnTo>
                    <a:pt x="433" y="350"/>
                  </a:lnTo>
                  <a:lnTo>
                    <a:pt x="428" y="348"/>
                  </a:lnTo>
                  <a:lnTo>
                    <a:pt x="424" y="348"/>
                  </a:lnTo>
                  <a:lnTo>
                    <a:pt x="416" y="358"/>
                  </a:lnTo>
                  <a:lnTo>
                    <a:pt x="405" y="375"/>
                  </a:lnTo>
                  <a:lnTo>
                    <a:pt x="397" y="389"/>
                  </a:lnTo>
                  <a:lnTo>
                    <a:pt x="416" y="412"/>
                  </a:lnTo>
                  <a:lnTo>
                    <a:pt x="428" y="425"/>
                  </a:lnTo>
                  <a:lnTo>
                    <a:pt x="385" y="433"/>
                  </a:lnTo>
                  <a:lnTo>
                    <a:pt x="349" y="438"/>
                  </a:lnTo>
                  <a:lnTo>
                    <a:pt x="309" y="440"/>
                  </a:lnTo>
                  <a:lnTo>
                    <a:pt x="307" y="458"/>
                  </a:lnTo>
                  <a:lnTo>
                    <a:pt x="303" y="467"/>
                  </a:lnTo>
                  <a:lnTo>
                    <a:pt x="301" y="479"/>
                  </a:lnTo>
                  <a:lnTo>
                    <a:pt x="297" y="479"/>
                  </a:lnTo>
                  <a:lnTo>
                    <a:pt x="297" y="483"/>
                  </a:lnTo>
                  <a:lnTo>
                    <a:pt x="311" y="492"/>
                  </a:lnTo>
                  <a:lnTo>
                    <a:pt x="326" y="498"/>
                  </a:lnTo>
                  <a:lnTo>
                    <a:pt x="343" y="494"/>
                  </a:lnTo>
                  <a:lnTo>
                    <a:pt x="347" y="492"/>
                  </a:lnTo>
                  <a:lnTo>
                    <a:pt x="349" y="487"/>
                  </a:lnTo>
                  <a:lnTo>
                    <a:pt x="351" y="483"/>
                  </a:lnTo>
                  <a:lnTo>
                    <a:pt x="360" y="477"/>
                  </a:lnTo>
                  <a:lnTo>
                    <a:pt x="370" y="479"/>
                  </a:lnTo>
                  <a:lnTo>
                    <a:pt x="382" y="483"/>
                  </a:lnTo>
                  <a:lnTo>
                    <a:pt x="382" y="481"/>
                  </a:lnTo>
                  <a:lnTo>
                    <a:pt x="384" y="479"/>
                  </a:lnTo>
                  <a:lnTo>
                    <a:pt x="385" y="475"/>
                  </a:lnTo>
                  <a:lnTo>
                    <a:pt x="376" y="471"/>
                  </a:lnTo>
                  <a:lnTo>
                    <a:pt x="370" y="467"/>
                  </a:lnTo>
                  <a:lnTo>
                    <a:pt x="370" y="465"/>
                  </a:lnTo>
                  <a:lnTo>
                    <a:pt x="374" y="463"/>
                  </a:lnTo>
                  <a:lnTo>
                    <a:pt x="378" y="463"/>
                  </a:lnTo>
                  <a:lnTo>
                    <a:pt x="378" y="458"/>
                  </a:lnTo>
                  <a:lnTo>
                    <a:pt x="382" y="456"/>
                  </a:lnTo>
                  <a:lnTo>
                    <a:pt x="382" y="460"/>
                  </a:lnTo>
                  <a:lnTo>
                    <a:pt x="384" y="467"/>
                  </a:lnTo>
                  <a:lnTo>
                    <a:pt x="385" y="471"/>
                  </a:lnTo>
                  <a:lnTo>
                    <a:pt x="393" y="469"/>
                  </a:lnTo>
                  <a:lnTo>
                    <a:pt x="397" y="465"/>
                  </a:lnTo>
                  <a:lnTo>
                    <a:pt x="401" y="463"/>
                  </a:lnTo>
                  <a:lnTo>
                    <a:pt x="408" y="479"/>
                  </a:lnTo>
                  <a:lnTo>
                    <a:pt x="424" y="475"/>
                  </a:lnTo>
                  <a:lnTo>
                    <a:pt x="426" y="483"/>
                  </a:lnTo>
                  <a:lnTo>
                    <a:pt x="426" y="488"/>
                  </a:lnTo>
                  <a:lnTo>
                    <a:pt x="428" y="494"/>
                  </a:lnTo>
                  <a:lnTo>
                    <a:pt x="435" y="494"/>
                  </a:lnTo>
                  <a:lnTo>
                    <a:pt x="437" y="500"/>
                  </a:lnTo>
                  <a:lnTo>
                    <a:pt x="437" y="506"/>
                  </a:lnTo>
                  <a:lnTo>
                    <a:pt x="439" y="510"/>
                  </a:lnTo>
                  <a:lnTo>
                    <a:pt x="441" y="510"/>
                  </a:lnTo>
                  <a:lnTo>
                    <a:pt x="445" y="508"/>
                  </a:lnTo>
                  <a:lnTo>
                    <a:pt x="447" y="506"/>
                  </a:lnTo>
                  <a:lnTo>
                    <a:pt x="447" y="511"/>
                  </a:lnTo>
                  <a:lnTo>
                    <a:pt x="449" y="515"/>
                  </a:lnTo>
                  <a:lnTo>
                    <a:pt x="451" y="517"/>
                  </a:lnTo>
                  <a:lnTo>
                    <a:pt x="453" y="515"/>
                  </a:lnTo>
                  <a:lnTo>
                    <a:pt x="455" y="510"/>
                  </a:lnTo>
                  <a:lnTo>
                    <a:pt x="455" y="506"/>
                  </a:lnTo>
                  <a:lnTo>
                    <a:pt x="456" y="508"/>
                  </a:lnTo>
                  <a:lnTo>
                    <a:pt x="460" y="510"/>
                  </a:lnTo>
                  <a:lnTo>
                    <a:pt x="466" y="510"/>
                  </a:lnTo>
                  <a:lnTo>
                    <a:pt x="466" y="521"/>
                  </a:lnTo>
                  <a:lnTo>
                    <a:pt x="460" y="523"/>
                  </a:lnTo>
                  <a:lnTo>
                    <a:pt x="455" y="521"/>
                  </a:lnTo>
                  <a:lnTo>
                    <a:pt x="451" y="521"/>
                  </a:lnTo>
                  <a:lnTo>
                    <a:pt x="451" y="529"/>
                  </a:lnTo>
                  <a:lnTo>
                    <a:pt x="456" y="533"/>
                  </a:lnTo>
                  <a:lnTo>
                    <a:pt x="462" y="535"/>
                  </a:lnTo>
                  <a:lnTo>
                    <a:pt x="466" y="536"/>
                  </a:lnTo>
                  <a:lnTo>
                    <a:pt x="476" y="536"/>
                  </a:lnTo>
                  <a:lnTo>
                    <a:pt x="489" y="535"/>
                  </a:lnTo>
                  <a:lnTo>
                    <a:pt x="501" y="533"/>
                  </a:lnTo>
                  <a:lnTo>
                    <a:pt x="501" y="529"/>
                  </a:lnTo>
                  <a:lnTo>
                    <a:pt x="510" y="531"/>
                  </a:lnTo>
                  <a:lnTo>
                    <a:pt x="522" y="533"/>
                  </a:lnTo>
                  <a:lnTo>
                    <a:pt x="535" y="536"/>
                  </a:lnTo>
                  <a:lnTo>
                    <a:pt x="535" y="531"/>
                  </a:lnTo>
                  <a:lnTo>
                    <a:pt x="539" y="529"/>
                  </a:lnTo>
                  <a:lnTo>
                    <a:pt x="547" y="536"/>
                  </a:lnTo>
                  <a:lnTo>
                    <a:pt x="554" y="536"/>
                  </a:lnTo>
                  <a:lnTo>
                    <a:pt x="558" y="535"/>
                  </a:lnTo>
                  <a:lnTo>
                    <a:pt x="566" y="533"/>
                  </a:lnTo>
                  <a:lnTo>
                    <a:pt x="570" y="540"/>
                  </a:lnTo>
                  <a:lnTo>
                    <a:pt x="579" y="544"/>
                  </a:lnTo>
                  <a:lnTo>
                    <a:pt x="600" y="544"/>
                  </a:lnTo>
                  <a:lnTo>
                    <a:pt x="600" y="525"/>
                  </a:lnTo>
                  <a:lnTo>
                    <a:pt x="581" y="525"/>
                  </a:lnTo>
                  <a:lnTo>
                    <a:pt x="574" y="510"/>
                  </a:lnTo>
                  <a:lnTo>
                    <a:pt x="554" y="510"/>
                  </a:lnTo>
                  <a:lnTo>
                    <a:pt x="547" y="506"/>
                  </a:lnTo>
                  <a:lnTo>
                    <a:pt x="531" y="496"/>
                  </a:lnTo>
                  <a:lnTo>
                    <a:pt x="524" y="490"/>
                  </a:lnTo>
                  <a:lnTo>
                    <a:pt x="522" y="487"/>
                  </a:lnTo>
                  <a:lnTo>
                    <a:pt x="522" y="481"/>
                  </a:lnTo>
                  <a:lnTo>
                    <a:pt x="520" y="475"/>
                  </a:lnTo>
                  <a:lnTo>
                    <a:pt x="529" y="479"/>
                  </a:lnTo>
                  <a:lnTo>
                    <a:pt x="537" y="483"/>
                  </a:lnTo>
                  <a:lnTo>
                    <a:pt x="550" y="483"/>
                  </a:lnTo>
                  <a:lnTo>
                    <a:pt x="549" y="487"/>
                  </a:lnTo>
                  <a:lnTo>
                    <a:pt x="554" y="487"/>
                  </a:lnTo>
                  <a:lnTo>
                    <a:pt x="556" y="481"/>
                  </a:lnTo>
                  <a:lnTo>
                    <a:pt x="554" y="477"/>
                  </a:lnTo>
                  <a:lnTo>
                    <a:pt x="562" y="475"/>
                  </a:lnTo>
                  <a:lnTo>
                    <a:pt x="564" y="479"/>
                  </a:lnTo>
                  <a:lnTo>
                    <a:pt x="568" y="485"/>
                  </a:lnTo>
                  <a:lnTo>
                    <a:pt x="570" y="487"/>
                  </a:lnTo>
                  <a:lnTo>
                    <a:pt x="608" y="487"/>
                  </a:lnTo>
                  <a:lnTo>
                    <a:pt x="610" y="492"/>
                  </a:lnTo>
                  <a:lnTo>
                    <a:pt x="614" y="498"/>
                  </a:lnTo>
                  <a:lnTo>
                    <a:pt x="616" y="502"/>
                  </a:lnTo>
                  <a:lnTo>
                    <a:pt x="627" y="502"/>
                  </a:lnTo>
                  <a:lnTo>
                    <a:pt x="612" y="490"/>
                  </a:lnTo>
                  <a:lnTo>
                    <a:pt x="604" y="483"/>
                  </a:lnTo>
                  <a:lnTo>
                    <a:pt x="610" y="481"/>
                  </a:lnTo>
                  <a:lnTo>
                    <a:pt x="618" y="477"/>
                  </a:lnTo>
                  <a:lnTo>
                    <a:pt x="616" y="475"/>
                  </a:lnTo>
                  <a:lnTo>
                    <a:pt x="616" y="463"/>
                  </a:lnTo>
                  <a:lnTo>
                    <a:pt x="620" y="463"/>
                  </a:lnTo>
                  <a:lnTo>
                    <a:pt x="621" y="465"/>
                  </a:lnTo>
                  <a:lnTo>
                    <a:pt x="627" y="463"/>
                  </a:lnTo>
                  <a:lnTo>
                    <a:pt x="627" y="456"/>
                  </a:lnTo>
                  <a:lnTo>
                    <a:pt x="623" y="452"/>
                  </a:lnTo>
                  <a:lnTo>
                    <a:pt x="621" y="448"/>
                  </a:lnTo>
                  <a:lnTo>
                    <a:pt x="620" y="440"/>
                  </a:lnTo>
                  <a:lnTo>
                    <a:pt x="614" y="442"/>
                  </a:lnTo>
                  <a:lnTo>
                    <a:pt x="608" y="448"/>
                  </a:lnTo>
                  <a:lnTo>
                    <a:pt x="570" y="417"/>
                  </a:lnTo>
                  <a:lnTo>
                    <a:pt x="568" y="412"/>
                  </a:lnTo>
                  <a:lnTo>
                    <a:pt x="568" y="406"/>
                  </a:lnTo>
                  <a:lnTo>
                    <a:pt x="566" y="398"/>
                  </a:lnTo>
                  <a:lnTo>
                    <a:pt x="554" y="398"/>
                  </a:lnTo>
                  <a:lnTo>
                    <a:pt x="549" y="392"/>
                  </a:lnTo>
                  <a:lnTo>
                    <a:pt x="547" y="383"/>
                  </a:lnTo>
                  <a:lnTo>
                    <a:pt x="554" y="379"/>
                  </a:lnTo>
                  <a:lnTo>
                    <a:pt x="554" y="383"/>
                  </a:lnTo>
                  <a:lnTo>
                    <a:pt x="556" y="385"/>
                  </a:lnTo>
                  <a:lnTo>
                    <a:pt x="562" y="389"/>
                  </a:lnTo>
                  <a:lnTo>
                    <a:pt x="558" y="377"/>
                  </a:lnTo>
                  <a:lnTo>
                    <a:pt x="554" y="362"/>
                  </a:lnTo>
                  <a:lnTo>
                    <a:pt x="558" y="356"/>
                  </a:lnTo>
                  <a:lnTo>
                    <a:pt x="560" y="362"/>
                  </a:lnTo>
                  <a:lnTo>
                    <a:pt x="564" y="367"/>
                  </a:lnTo>
                  <a:lnTo>
                    <a:pt x="566" y="371"/>
                  </a:lnTo>
                  <a:lnTo>
                    <a:pt x="566" y="362"/>
                  </a:lnTo>
                  <a:lnTo>
                    <a:pt x="570" y="358"/>
                  </a:lnTo>
                  <a:lnTo>
                    <a:pt x="574" y="356"/>
                  </a:lnTo>
                  <a:lnTo>
                    <a:pt x="577" y="352"/>
                  </a:lnTo>
                  <a:lnTo>
                    <a:pt x="583" y="369"/>
                  </a:lnTo>
                  <a:lnTo>
                    <a:pt x="591" y="383"/>
                  </a:lnTo>
                  <a:lnTo>
                    <a:pt x="608" y="389"/>
                  </a:lnTo>
                  <a:lnTo>
                    <a:pt x="614" y="383"/>
                  </a:lnTo>
                  <a:lnTo>
                    <a:pt x="620" y="383"/>
                  </a:lnTo>
                  <a:lnTo>
                    <a:pt x="612" y="396"/>
                  </a:lnTo>
                  <a:lnTo>
                    <a:pt x="618" y="398"/>
                  </a:lnTo>
                  <a:lnTo>
                    <a:pt x="631" y="398"/>
                  </a:lnTo>
                  <a:lnTo>
                    <a:pt x="629" y="404"/>
                  </a:lnTo>
                  <a:lnTo>
                    <a:pt x="629" y="410"/>
                  </a:lnTo>
                  <a:lnTo>
                    <a:pt x="633" y="410"/>
                  </a:lnTo>
                  <a:lnTo>
                    <a:pt x="641" y="408"/>
                  </a:lnTo>
                  <a:lnTo>
                    <a:pt x="646" y="408"/>
                  </a:lnTo>
                  <a:lnTo>
                    <a:pt x="637" y="417"/>
                  </a:lnTo>
                  <a:lnTo>
                    <a:pt x="650" y="423"/>
                  </a:lnTo>
                  <a:lnTo>
                    <a:pt x="669" y="431"/>
                  </a:lnTo>
                  <a:lnTo>
                    <a:pt x="669" y="406"/>
                  </a:lnTo>
                  <a:lnTo>
                    <a:pt x="666" y="390"/>
                  </a:lnTo>
                  <a:lnTo>
                    <a:pt x="669" y="392"/>
                  </a:lnTo>
                  <a:lnTo>
                    <a:pt x="669" y="398"/>
                  </a:lnTo>
                  <a:lnTo>
                    <a:pt x="689" y="398"/>
                  </a:lnTo>
                  <a:lnTo>
                    <a:pt x="683" y="390"/>
                  </a:lnTo>
                  <a:lnTo>
                    <a:pt x="685" y="379"/>
                  </a:lnTo>
                  <a:lnTo>
                    <a:pt x="689" y="369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3" name="Freeform 258"/>
            <p:cNvSpPr>
              <a:spLocks/>
            </p:cNvSpPr>
            <p:nvPr/>
          </p:nvSpPr>
          <p:spPr bwMode="gray">
            <a:xfrm>
              <a:off x="1841" y="1199"/>
              <a:ext cx="432" cy="188"/>
            </a:xfrm>
            <a:custGeom>
              <a:avLst/>
              <a:gdLst>
                <a:gd name="T0" fmla="*/ 349 w 863"/>
                <a:gd name="T1" fmla="*/ 182 h 376"/>
                <a:gd name="T2" fmla="*/ 335 w 863"/>
                <a:gd name="T3" fmla="*/ 171 h 376"/>
                <a:gd name="T4" fmla="*/ 245 w 863"/>
                <a:gd name="T5" fmla="*/ 169 h 376"/>
                <a:gd name="T6" fmla="*/ 214 w 863"/>
                <a:gd name="T7" fmla="*/ 161 h 376"/>
                <a:gd name="T8" fmla="*/ 124 w 863"/>
                <a:gd name="T9" fmla="*/ 150 h 376"/>
                <a:gd name="T10" fmla="*/ 15 w 863"/>
                <a:gd name="T11" fmla="*/ 105 h 376"/>
                <a:gd name="T12" fmla="*/ 44 w 863"/>
                <a:gd name="T13" fmla="*/ 138 h 376"/>
                <a:gd name="T14" fmla="*/ 26 w 863"/>
                <a:gd name="T15" fmla="*/ 161 h 376"/>
                <a:gd name="T16" fmla="*/ 49 w 863"/>
                <a:gd name="T17" fmla="*/ 167 h 376"/>
                <a:gd name="T18" fmla="*/ 23 w 863"/>
                <a:gd name="T19" fmla="*/ 177 h 376"/>
                <a:gd name="T20" fmla="*/ 42 w 863"/>
                <a:gd name="T21" fmla="*/ 219 h 376"/>
                <a:gd name="T22" fmla="*/ 95 w 863"/>
                <a:gd name="T23" fmla="*/ 228 h 376"/>
                <a:gd name="T24" fmla="*/ 84 w 863"/>
                <a:gd name="T25" fmla="*/ 269 h 376"/>
                <a:gd name="T26" fmla="*/ 149 w 863"/>
                <a:gd name="T27" fmla="*/ 275 h 376"/>
                <a:gd name="T28" fmla="*/ 180 w 863"/>
                <a:gd name="T29" fmla="*/ 240 h 376"/>
                <a:gd name="T30" fmla="*/ 232 w 863"/>
                <a:gd name="T31" fmla="*/ 240 h 376"/>
                <a:gd name="T32" fmla="*/ 251 w 863"/>
                <a:gd name="T33" fmla="*/ 271 h 376"/>
                <a:gd name="T34" fmla="*/ 305 w 863"/>
                <a:gd name="T35" fmla="*/ 313 h 376"/>
                <a:gd name="T36" fmla="*/ 243 w 863"/>
                <a:gd name="T37" fmla="*/ 292 h 376"/>
                <a:gd name="T38" fmla="*/ 203 w 863"/>
                <a:gd name="T39" fmla="*/ 303 h 376"/>
                <a:gd name="T40" fmla="*/ 161 w 863"/>
                <a:gd name="T41" fmla="*/ 357 h 376"/>
                <a:gd name="T42" fmla="*/ 203 w 863"/>
                <a:gd name="T43" fmla="*/ 353 h 376"/>
                <a:gd name="T44" fmla="*/ 264 w 863"/>
                <a:gd name="T45" fmla="*/ 367 h 376"/>
                <a:gd name="T46" fmla="*/ 291 w 863"/>
                <a:gd name="T47" fmla="*/ 334 h 376"/>
                <a:gd name="T48" fmla="*/ 355 w 863"/>
                <a:gd name="T49" fmla="*/ 351 h 376"/>
                <a:gd name="T50" fmla="*/ 410 w 863"/>
                <a:gd name="T51" fmla="*/ 353 h 376"/>
                <a:gd name="T52" fmla="*/ 418 w 863"/>
                <a:gd name="T53" fmla="*/ 319 h 376"/>
                <a:gd name="T54" fmla="*/ 441 w 863"/>
                <a:gd name="T55" fmla="*/ 290 h 376"/>
                <a:gd name="T56" fmla="*/ 510 w 863"/>
                <a:gd name="T57" fmla="*/ 263 h 376"/>
                <a:gd name="T58" fmla="*/ 533 w 863"/>
                <a:gd name="T59" fmla="*/ 234 h 376"/>
                <a:gd name="T60" fmla="*/ 449 w 863"/>
                <a:gd name="T61" fmla="*/ 242 h 376"/>
                <a:gd name="T62" fmla="*/ 485 w 863"/>
                <a:gd name="T63" fmla="*/ 211 h 376"/>
                <a:gd name="T64" fmla="*/ 489 w 863"/>
                <a:gd name="T65" fmla="*/ 194 h 376"/>
                <a:gd name="T66" fmla="*/ 562 w 863"/>
                <a:gd name="T67" fmla="*/ 198 h 376"/>
                <a:gd name="T68" fmla="*/ 608 w 863"/>
                <a:gd name="T69" fmla="*/ 165 h 376"/>
                <a:gd name="T70" fmla="*/ 673 w 863"/>
                <a:gd name="T71" fmla="*/ 144 h 376"/>
                <a:gd name="T72" fmla="*/ 792 w 863"/>
                <a:gd name="T73" fmla="*/ 82 h 376"/>
                <a:gd name="T74" fmla="*/ 856 w 863"/>
                <a:gd name="T75" fmla="*/ 57 h 376"/>
                <a:gd name="T76" fmla="*/ 825 w 863"/>
                <a:gd name="T77" fmla="*/ 34 h 376"/>
                <a:gd name="T78" fmla="*/ 748 w 863"/>
                <a:gd name="T79" fmla="*/ 15 h 376"/>
                <a:gd name="T80" fmla="*/ 700 w 863"/>
                <a:gd name="T81" fmla="*/ 38 h 376"/>
                <a:gd name="T82" fmla="*/ 692 w 863"/>
                <a:gd name="T83" fmla="*/ 5 h 376"/>
                <a:gd name="T84" fmla="*/ 600 w 863"/>
                <a:gd name="T85" fmla="*/ 13 h 376"/>
                <a:gd name="T86" fmla="*/ 560 w 863"/>
                <a:gd name="T87" fmla="*/ 30 h 376"/>
                <a:gd name="T88" fmla="*/ 468 w 863"/>
                <a:gd name="T89" fmla="*/ 19 h 376"/>
                <a:gd name="T90" fmla="*/ 472 w 863"/>
                <a:gd name="T91" fmla="*/ 44 h 376"/>
                <a:gd name="T92" fmla="*/ 410 w 863"/>
                <a:gd name="T93" fmla="*/ 50 h 376"/>
                <a:gd name="T94" fmla="*/ 341 w 863"/>
                <a:gd name="T95" fmla="*/ 50 h 376"/>
                <a:gd name="T96" fmla="*/ 305 w 863"/>
                <a:gd name="T97" fmla="*/ 52 h 376"/>
                <a:gd name="T98" fmla="*/ 247 w 863"/>
                <a:gd name="T99" fmla="*/ 48 h 376"/>
                <a:gd name="T100" fmla="*/ 230 w 863"/>
                <a:gd name="T101" fmla="*/ 73 h 376"/>
                <a:gd name="T102" fmla="*/ 226 w 863"/>
                <a:gd name="T103" fmla="*/ 75 h 376"/>
                <a:gd name="T104" fmla="*/ 161 w 863"/>
                <a:gd name="T105" fmla="*/ 86 h 376"/>
                <a:gd name="T106" fmla="*/ 111 w 863"/>
                <a:gd name="T107" fmla="*/ 94 h 376"/>
                <a:gd name="T108" fmla="*/ 138 w 863"/>
                <a:gd name="T109" fmla="*/ 117 h 376"/>
                <a:gd name="T110" fmla="*/ 128 w 863"/>
                <a:gd name="T111" fmla="*/ 134 h 376"/>
                <a:gd name="T112" fmla="*/ 245 w 863"/>
                <a:gd name="T113" fmla="*/ 144 h 376"/>
                <a:gd name="T114" fmla="*/ 307 w 863"/>
                <a:gd name="T115" fmla="*/ 136 h 376"/>
                <a:gd name="T116" fmla="*/ 470 w 863"/>
                <a:gd name="T117" fmla="*/ 109 h 376"/>
                <a:gd name="T118" fmla="*/ 420 w 863"/>
                <a:gd name="T119" fmla="*/ 136 h 376"/>
                <a:gd name="T120" fmla="*/ 391 w 863"/>
                <a:gd name="T121" fmla="*/ 146 h 37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63"/>
                <a:gd name="T184" fmla="*/ 0 h 376"/>
                <a:gd name="T185" fmla="*/ 863 w 863"/>
                <a:gd name="T186" fmla="*/ 376 h 37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63" h="376">
                  <a:moveTo>
                    <a:pt x="391" y="146"/>
                  </a:moveTo>
                  <a:lnTo>
                    <a:pt x="376" y="150"/>
                  </a:lnTo>
                  <a:lnTo>
                    <a:pt x="355" y="155"/>
                  </a:lnTo>
                  <a:lnTo>
                    <a:pt x="337" y="157"/>
                  </a:lnTo>
                  <a:lnTo>
                    <a:pt x="339" y="161"/>
                  </a:lnTo>
                  <a:lnTo>
                    <a:pt x="343" y="159"/>
                  </a:lnTo>
                  <a:lnTo>
                    <a:pt x="345" y="161"/>
                  </a:lnTo>
                  <a:lnTo>
                    <a:pt x="347" y="175"/>
                  </a:lnTo>
                  <a:lnTo>
                    <a:pt x="349" y="182"/>
                  </a:lnTo>
                  <a:lnTo>
                    <a:pt x="364" y="188"/>
                  </a:lnTo>
                  <a:lnTo>
                    <a:pt x="370" y="188"/>
                  </a:lnTo>
                  <a:lnTo>
                    <a:pt x="376" y="186"/>
                  </a:lnTo>
                  <a:lnTo>
                    <a:pt x="376" y="184"/>
                  </a:lnTo>
                  <a:lnTo>
                    <a:pt x="385" y="182"/>
                  </a:lnTo>
                  <a:lnTo>
                    <a:pt x="381" y="190"/>
                  </a:lnTo>
                  <a:lnTo>
                    <a:pt x="376" y="196"/>
                  </a:lnTo>
                  <a:lnTo>
                    <a:pt x="347" y="188"/>
                  </a:lnTo>
                  <a:lnTo>
                    <a:pt x="335" y="171"/>
                  </a:lnTo>
                  <a:lnTo>
                    <a:pt x="322" y="153"/>
                  </a:lnTo>
                  <a:lnTo>
                    <a:pt x="299" y="150"/>
                  </a:lnTo>
                  <a:lnTo>
                    <a:pt x="249" y="150"/>
                  </a:lnTo>
                  <a:lnTo>
                    <a:pt x="247" y="153"/>
                  </a:lnTo>
                  <a:lnTo>
                    <a:pt x="243" y="155"/>
                  </a:lnTo>
                  <a:lnTo>
                    <a:pt x="241" y="157"/>
                  </a:lnTo>
                  <a:lnTo>
                    <a:pt x="241" y="163"/>
                  </a:lnTo>
                  <a:lnTo>
                    <a:pt x="243" y="165"/>
                  </a:lnTo>
                  <a:lnTo>
                    <a:pt x="245" y="169"/>
                  </a:lnTo>
                  <a:lnTo>
                    <a:pt x="238" y="175"/>
                  </a:lnTo>
                  <a:lnTo>
                    <a:pt x="230" y="182"/>
                  </a:lnTo>
                  <a:lnTo>
                    <a:pt x="222" y="188"/>
                  </a:lnTo>
                  <a:lnTo>
                    <a:pt x="220" y="182"/>
                  </a:lnTo>
                  <a:lnTo>
                    <a:pt x="224" y="175"/>
                  </a:lnTo>
                  <a:lnTo>
                    <a:pt x="226" y="169"/>
                  </a:lnTo>
                  <a:lnTo>
                    <a:pt x="222" y="167"/>
                  </a:lnTo>
                  <a:lnTo>
                    <a:pt x="218" y="163"/>
                  </a:lnTo>
                  <a:lnTo>
                    <a:pt x="214" y="161"/>
                  </a:lnTo>
                  <a:lnTo>
                    <a:pt x="214" y="150"/>
                  </a:lnTo>
                  <a:lnTo>
                    <a:pt x="211" y="150"/>
                  </a:lnTo>
                  <a:lnTo>
                    <a:pt x="211" y="157"/>
                  </a:lnTo>
                  <a:lnTo>
                    <a:pt x="201" y="155"/>
                  </a:lnTo>
                  <a:lnTo>
                    <a:pt x="195" y="153"/>
                  </a:lnTo>
                  <a:lnTo>
                    <a:pt x="188" y="150"/>
                  </a:lnTo>
                  <a:lnTo>
                    <a:pt x="188" y="157"/>
                  </a:lnTo>
                  <a:lnTo>
                    <a:pt x="132" y="157"/>
                  </a:lnTo>
                  <a:lnTo>
                    <a:pt x="124" y="150"/>
                  </a:lnTo>
                  <a:lnTo>
                    <a:pt x="113" y="150"/>
                  </a:lnTo>
                  <a:lnTo>
                    <a:pt x="109" y="136"/>
                  </a:lnTo>
                  <a:lnTo>
                    <a:pt x="107" y="121"/>
                  </a:lnTo>
                  <a:lnTo>
                    <a:pt x="99" y="111"/>
                  </a:lnTo>
                  <a:lnTo>
                    <a:pt x="72" y="104"/>
                  </a:lnTo>
                  <a:lnTo>
                    <a:pt x="32" y="98"/>
                  </a:lnTo>
                  <a:lnTo>
                    <a:pt x="0" y="96"/>
                  </a:lnTo>
                  <a:lnTo>
                    <a:pt x="0" y="104"/>
                  </a:lnTo>
                  <a:lnTo>
                    <a:pt x="15" y="105"/>
                  </a:lnTo>
                  <a:lnTo>
                    <a:pt x="28" y="105"/>
                  </a:lnTo>
                  <a:lnTo>
                    <a:pt x="42" y="107"/>
                  </a:lnTo>
                  <a:lnTo>
                    <a:pt x="38" y="127"/>
                  </a:lnTo>
                  <a:lnTo>
                    <a:pt x="26" y="123"/>
                  </a:lnTo>
                  <a:lnTo>
                    <a:pt x="0" y="115"/>
                  </a:lnTo>
                  <a:lnTo>
                    <a:pt x="0" y="130"/>
                  </a:lnTo>
                  <a:lnTo>
                    <a:pt x="30" y="130"/>
                  </a:lnTo>
                  <a:lnTo>
                    <a:pt x="38" y="138"/>
                  </a:lnTo>
                  <a:lnTo>
                    <a:pt x="44" y="138"/>
                  </a:lnTo>
                  <a:lnTo>
                    <a:pt x="48" y="136"/>
                  </a:lnTo>
                  <a:lnTo>
                    <a:pt x="53" y="134"/>
                  </a:lnTo>
                  <a:lnTo>
                    <a:pt x="55" y="134"/>
                  </a:lnTo>
                  <a:lnTo>
                    <a:pt x="61" y="140"/>
                  </a:lnTo>
                  <a:lnTo>
                    <a:pt x="65" y="146"/>
                  </a:lnTo>
                  <a:lnTo>
                    <a:pt x="49" y="148"/>
                  </a:lnTo>
                  <a:lnTo>
                    <a:pt x="38" y="148"/>
                  </a:lnTo>
                  <a:lnTo>
                    <a:pt x="23" y="150"/>
                  </a:lnTo>
                  <a:lnTo>
                    <a:pt x="26" y="161"/>
                  </a:lnTo>
                  <a:lnTo>
                    <a:pt x="26" y="165"/>
                  </a:lnTo>
                  <a:lnTo>
                    <a:pt x="23" y="167"/>
                  </a:lnTo>
                  <a:lnTo>
                    <a:pt x="15" y="165"/>
                  </a:lnTo>
                  <a:lnTo>
                    <a:pt x="11" y="165"/>
                  </a:lnTo>
                  <a:lnTo>
                    <a:pt x="21" y="167"/>
                  </a:lnTo>
                  <a:lnTo>
                    <a:pt x="32" y="171"/>
                  </a:lnTo>
                  <a:lnTo>
                    <a:pt x="46" y="173"/>
                  </a:lnTo>
                  <a:lnTo>
                    <a:pt x="46" y="165"/>
                  </a:lnTo>
                  <a:lnTo>
                    <a:pt x="49" y="167"/>
                  </a:lnTo>
                  <a:lnTo>
                    <a:pt x="49" y="177"/>
                  </a:lnTo>
                  <a:lnTo>
                    <a:pt x="57" y="177"/>
                  </a:lnTo>
                  <a:lnTo>
                    <a:pt x="69" y="173"/>
                  </a:lnTo>
                  <a:lnTo>
                    <a:pt x="71" y="177"/>
                  </a:lnTo>
                  <a:lnTo>
                    <a:pt x="71" y="178"/>
                  </a:lnTo>
                  <a:lnTo>
                    <a:pt x="72" y="180"/>
                  </a:lnTo>
                  <a:lnTo>
                    <a:pt x="40" y="180"/>
                  </a:lnTo>
                  <a:lnTo>
                    <a:pt x="30" y="178"/>
                  </a:lnTo>
                  <a:lnTo>
                    <a:pt x="23" y="177"/>
                  </a:lnTo>
                  <a:lnTo>
                    <a:pt x="26" y="194"/>
                  </a:lnTo>
                  <a:lnTo>
                    <a:pt x="32" y="203"/>
                  </a:lnTo>
                  <a:lnTo>
                    <a:pt x="46" y="211"/>
                  </a:lnTo>
                  <a:lnTo>
                    <a:pt x="71" y="211"/>
                  </a:lnTo>
                  <a:lnTo>
                    <a:pt x="61" y="215"/>
                  </a:lnTo>
                  <a:lnTo>
                    <a:pt x="55" y="217"/>
                  </a:lnTo>
                  <a:lnTo>
                    <a:pt x="49" y="217"/>
                  </a:lnTo>
                  <a:lnTo>
                    <a:pt x="46" y="219"/>
                  </a:lnTo>
                  <a:lnTo>
                    <a:pt x="42" y="219"/>
                  </a:lnTo>
                  <a:lnTo>
                    <a:pt x="55" y="226"/>
                  </a:lnTo>
                  <a:lnTo>
                    <a:pt x="65" y="230"/>
                  </a:lnTo>
                  <a:lnTo>
                    <a:pt x="74" y="228"/>
                  </a:lnTo>
                  <a:lnTo>
                    <a:pt x="78" y="223"/>
                  </a:lnTo>
                  <a:lnTo>
                    <a:pt x="84" y="219"/>
                  </a:lnTo>
                  <a:lnTo>
                    <a:pt x="94" y="217"/>
                  </a:lnTo>
                  <a:lnTo>
                    <a:pt x="109" y="219"/>
                  </a:lnTo>
                  <a:lnTo>
                    <a:pt x="109" y="226"/>
                  </a:lnTo>
                  <a:lnTo>
                    <a:pt x="95" y="228"/>
                  </a:lnTo>
                  <a:lnTo>
                    <a:pt x="84" y="230"/>
                  </a:lnTo>
                  <a:lnTo>
                    <a:pt x="72" y="234"/>
                  </a:lnTo>
                  <a:lnTo>
                    <a:pt x="76" y="244"/>
                  </a:lnTo>
                  <a:lnTo>
                    <a:pt x="80" y="251"/>
                  </a:lnTo>
                  <a:lnTo>
                    <a:pt x="84" y="261"/>
                  </a:lnTo>
                  <a:lnTo>
                    <a:pt x="92" y="261"/>
                  </a:lnTo>
                  <a:lnTo>
                    <a:pt x="90" y="265"/>
                  </a:lnTo>
                  <a:lnTo>
                    <a:pt x="86" y="269"/>
                  </a:lnTo>
                  <a:lnTo>
                    <a:pt x="84" y="269"/>
                  </a:lnTo>
                  <a:lnTo>
                    <a:pt x="86" y="271"/>
                  </a:lnTo>
                  <a:lnTo>
                    <a:pt x="88" y="275"/>
                  </a:lnTo>
                  <a:lnTo>
                    <a:pt x="88" y="276"/>
                  </a:lnTo>
                  <a:lnTo>
                    <a:pt x="120" y="276"/>
                  </a:lnTo>
                  <a:lnTo>
                    <a:pt x="124" y="265"/>
                  </a:lnTo>
                  <a:lnTo>
                    <a:pt x="130" y="267"/>
                  </a:lnTo>
                  <a:lnTo>
                    <a:pt x="140" y="276"/>
                  </a:lnTo>
                  <a:lnTo>
                    <a:pt x="143" y="275"/>
                  </a:lnTo>
                  <a:lnTo>
                    <a:pt x="149" y="275"/>
                  </a:lnTo>
                  <a:lnTo>
                    <a:pt x="155" y="273"/>
                  </a:lnTo>
                  <a:lnTo>
                    <a:pt x="157" y="269"/>
                  </a:lnTo>
                  <a:lnTo>
                    <a:pt x="159" y="261"/>
                  </a:lnTo>
                  <a:lnTo>
                    <a:pt x="161" y="257"/>
                  </a:lnTo>
                  <a:lnTo>
                    <a:pt x="168" y="255"/>
                  </a:lnTo>
                  <a:lnTo>
                    <a:pt x="176" y="255"/>
                  </a:lnTo>
                  <a:lnTo>
                    <a:pt x="184" y="253"/>
                  </a:lnTo>
                  <a:lnTo>
                    <a:pt x="184" y="248"/>
                  </a:lnTo>
                  <a:lnTo>
                    <a:pt x="180" y="240"/>
                  </a:lnTo>
                  <a:lnTo>
                    <a:pt x="184" y="234"/>
                  </a:lnTo>
                  <a:lnTo>
                    <a:pt x="188" y="236"/>
                  </a:lnTo>
                  <a:lnTo>
                    <a:pt x="188" y="246"/>
                  </a:lnTo>
                  <a:lnTo>
                    <a:pt x="195" y="246"/>
                  </a:lnTo>
                  <a:lnTo>
                    <a:pt x="207" y="238"/>
                  </a:lnTo>
                  <a:lnTo>
                    <a:pt x="214" y="232"/>
                  </a:lnTo>
                  <a:lnTo>
                    <a:pt x="230" y="230"/>
                  </a:lnTo>
                  <a:lnTo>
                    <a:pt x="228" y="234"/>
                  </a:lnTo>
                  <a:lnTo>
                    <a:pt x="232" y="240"/>
                  </a:lnTo>
                  <a:lnTo>
                    <a:pt x="226" y="246"/>
                  </a:lnTo>
                  <a:lnTo>
                    <a:pt x="218" y="248"/>
                  </a:lnTo>
                  <a:lnTo>
                    <a:pt x="207" y="248"/>
                  </a:lnTo>
                  <a:lnTo>
                    <a:pt x="199" y="250"/>
                  </a:lnTo>
                  <a:lnTo>
                    <a:pt x="199" y="261"/>
                  </a:lnTo>
                  <a:lnTo>
                    <a:pt x="195" y="263"/>
                  </a:lnTo>
                  <a:lnTo>
                    <a:pt x="195" y="276"/>
                  </a:lnTo>
                  <a:lnTo>
                    <a:pt x="228" y="273"/>
                  </a:lnTo>
                  <a:lnTo>
                    <a:pt x="251" y="271"/>
                  </a:lnTo>
                  <a:lnTo>
                    <a:pt x="276" y="253"/>
                  </a:lnTo>
                  <a:lnTo>
                    <a:pt x="272" y="286"/>
                  </a:lnTo>
                  <a:lnTo>
                    <a:pt x="287" y="292"/>
                  </a:lnTo>
                  <a:lnTo>
                    <a:pt x="314" y="292"/>
                  </a:lnTo>
                  <a:lnTo>
                    <a:pt x="312" y="298"/>
                  </a:lnTo>
                  <a:lnTo>
                    <a:pt x="312" y="301"/>
                  </a:lnTo>
                  <a:lnTo>
                    <a:pt x="310" y="307"/>
                  </a:lnTo>
                  <a:lnTo>
                    <a:pt x="305" y="309"/>
                  </a:lnTo>
                  <a:lnTo>
                    <a:pt x="305" y="313"/>
                  </a:lnTo>
                  <a:lnTo>
                    <a:pt x="303" y="315"/>
                  </a:lnTo>
                  <a:lnTo>
                    <a:pt x="293" y="315"/>
                  </a:lnTo>
                  <a:lnTo>
                    <a:pt x="278" y="313"/>
                  </a:lnTo>
                  <a:lnTo>
                    <a:pt x="264" y="311"/>
                  </a:lnTo>
                  <a:lnTo>
                    <a:pt x="262" y="305"/>
                  </a:lnTo>
                  <a:lnTo>
                    <a:pt x="262" y="300"/>
                  </a:lnTo>
                  <a:lnTo>
                    <a:pt x="261" y="296"/>
                  </a:lnTo>
                  <a:lnTo>
                    <a:pt x="245" y="296"/>
                  </a:lnTo>
                  <a:lnTo>
                    <a:pt x="243" y="292"/>
                  </a:lnTo>
                  <a:lnTo>
                    <a:pt x="239" y="288"/>
                  </a:lnTo>
                  <a:lnTo>
                    <a:pt x="238" y="284"/>
                  </a:lnTo>
                  <a:lnTo>
                    <a:pt x="220" y="282"/>
                  </a:lnTo>
                  <a:lnTo>
                    <a:pt x="205" y="286"/>
                  </a:lnTo>
                  <a:lnTo>
                    <a:pt x="188" y="288"/>
                  </a:lnTo>
                  <a:lnTo>
                    <a:pt x="191" y="303"/>
                  </a:lnTo>
                  <a:lnTo>
                    <a:pt x="197" y="303"/>
                  </a:lnTo>
                  <a:lnTo>
                    <a:pt x="203" y="305"/>
                  </a:lnTo>
                  <a:lnTo>
                    <a:pt x="203" y="303"/>
                  </a:lnTo>
                  <a:lnTo>
                    <a:pt x="207" y="315"/>
                  </a:lnTo>
                  <a:lnTo>
                    <a:pt x="203" y="317"/>
                  </a:lnTo>
                  <a:lnTo>
                    <a:pt x="186" y="323"/>
                  </a:lnTo>
                  <a:lnTo>
                    <a:pt x="172" y="326"/>
                  </a:lnTo>
                  <a:lnTo>
                    <a:pt x="153" y="336"/>
                  </a:lnTo>
                  <a:lnTo>
                    <a:pt x="151" y="346"/>
                  </a:lnTo>
                  <a:lnTo>
                    <a:pt x="155" y="365"/>
                  </a:lnTo>
                  <a:lnTo>
                    <a:pt x="161" y="363"/>
                  </a:lnTo>
                  <a:lnTo>
                    <a:pt x="161" y="357"/>
                  </a:lnTo>
                  <a:lnTo>
                    <a:pt x="170" y="359"/>
                  </a:lnTo>
                  <a:lnTo>
                    <a:pt x="180" y="365"/>
                  </a:lnTo>
                  <a:lnTo>
                    <a:pt x="195" y="365"/>
                  </a:lnTo>
                  <a:lnTo>
                    <a:pt x="195" y="363"/>
                  </a:lnTo>
                  <a:lnTo>
                    <a:pt x="193" y="359"/>
                  </a:lnTo>
                  <a:lnTo>
                    <a:pt x="191" y="357"/>
                  </a:lnTo>
                  <a:lnTo>
                    <a:pt x="195" y="355"/>
                  </a:lnTo>
                  <a:lnTo>
                    <a:pt x="199" y="355"/>
                  </a:lnTo>
                  <a:lnTo>
                    <a:pt x="203" y="353"/>
                  </a:lnTo>
                  <a:lnTo>
                    <a:pt x="207" y="357"/>
                  </a:lnTo>
                  <a:lnTo>
                    <a:pt x="209" y="361"/>
                  </a:lnTo>
                  <a:lnTo>
                    <a:pt x="214" y="365"/>
                  </a:lnTo>
                  <a:lnTo>
                    <a:pt x="214" y="355"/>
                  </a:lnTo>
                  <a:lnTo>
                    <a:pt x="218" y="353"/>
                  </a:lnTo>
                  <a:lnTo>
                    <a:pt x="218" y="361"/>
                  </a:lnTo>
                  <a:lnTo>
                    <a:pt x="249" y="369"/>
                  </a:lnTo>
                  <a:lnTo>
                    <a:pt x="261" y="373"/>
                  </a:lnTo>
                  <a:lnTo>
                    <a:pt x="264" y="367"/>
                  </a:lnTo>
                  <a:lnTo>
                    <a:pt x="266" y="365"/>
                  </a:lnTo>
                  <a:lnTo>
                    <a:pt x="272" y="361"/>
                  </a:lnTo>
                  <a:lnTo>
                    <a:pt x="270" y="355"/>
                  </a:lnTo>
                  <a:lnTo>
                    <a:pt x="264" y="346"/>
                  </a:lnTo>
                  <a:lnTo>
                    <a:pt x="270" y="346"/>
                  </a:lnTo>
                  <a:lnTo>
                    <a:pt x="276" y="348"/>
                  </a:lnTo>
                  <a:lnTo>
                    <a:pt x="280" y="349"/>
                  </a:lnTo>
                  <a:lnTo>
                    <a:pt x="287" y="338"/>
                  </a:lnTo>
                  <a:lnTo>
                    <a:pt x="291" y="334"/>
                  </a:lnTo>
                  <a:lnTo>
                    <a:pt x="291" y="357"/>
                  </a:lnTo>
                  <a:lnTo>
                    <a:pt x="307" y="355"/>
                  </a:lnTo>
                  <a:lnTo>
                    <a:pt x="320" y="353"/>
                  </a:lnTo>
                  <a:lnTo>
                    <a:pt x="337" y="353"/>
                  </a:lnTo>
                  <a:lnTo>
                    <a:pt x="339" y="348"/>
                  </a:lnTo>
                  <a:lnTo>
                    <a:pt x="341" y="340"/>
                  </a:lnTo>
                  <a:lnTo>
                    <a:pt x="345" y="338"/>
                  </a:lnTo>
                  <a:lnTo>
                    <a:pt x="349" y="353"/>
                  </a:lnTo>
                  <a:lnTo>
                    <a:pt x="355" y="351"/>
                  </a:lnTo>
                  <a:lnTo>
                    <a:pt x="355" y="348"/>
                  </a:lnTo>
                  <a:lnTo>
                    <a:pt x="357" y="346"/>
                  </a:lnTo>
                  <a:lnTo>
                    <a:pt x="360" y="348"/>
                  </a:lnTo>
                  <a:lnTo>
                    <a:pt x="366" y="348"/>
                  </a:lnTo>
                  <a:lnTo>
                    <a:pt x="372" y="349"/>
                  </a:lnTo>
                  <a:lnTo>
                    <a:pt x="372" y="376"/>
                  </a:lnTo>
                  <a:lnTo>
                    <a:pt x="395" y="357"/>
                  </a:lnTo>
                  <a:lnTo>
                    <a:pt x="406" y="349"/>
                  </a:lnTo>
                  <a:lnTo>
                    <a:pt x="410" y="353"/>
                  </a:lnTo>
                  <a:lnTo>
                    <a:pt x="416" y="357"/>
                  </a:lnTo>
                  <a:lnTo>
                    <a:pt x="422" y="357"/>
                  </a:lnTo>
                  <a:lnTo>
                    <a:pt x="441" y="338"/>
                  </a:lnTo>
                  <a:lnTo>
                    <a:pt x="445" y="338"/>
                  </a:lnTo>
                  <a:lnTo>
                    <a:pt x="443" y="332"/>
                  </a:lnTo>
                  <a:lnTo>
                    <a:pt x="441" y="330"/>
                  </a:lnTo>
                  <a:lnTo>
                    <a:pt x="426" y="330"/>
                  </a:lnTo>
                  <a:lnTo>
                    <a:pt x="422" y="326"/>
                  </a:lnTo>
                  <a:lnTo>
                    <a:pt x="418" y="319"/>
                  </a:lnTo>
                  <a:lnTo>
                    <a:pt x="414" y="315"/>
                  </a:lnTo>
                  <a:lnTo>
                    <a:pt x="405" y="311"/>
                  </a:lnTo>
                  <a:lnTo>
                    <a:pt x="393" y="309"/>
                  </a:lnTo>
                  <a:lnTo>
                    <a:pt x="387" y="307"/>
                  </a:lnTo>
                  <a:lnTo>
                    <a:pt x="408" y="305"/>
                  </a:lnTo>
                  <a:lnTo>
                    <a:pt x="428" y="305"/>
                  </a:lnTo>
                  <a:lnTo>
                    <a:pt x="445" y="303"/>
                  </a:lnTo>
                  <a:lnTo>
                    <a:pt x="443" y="296"/>
                  </a:lnTo>
                  <a:lnTo>
                    <a:pt x="441" y="290"/>
                  </a:lnTo>
                  <a:lnTo>
                    <a:pt x="441" y="280"/>
                  </a:lnTo>
                  <a:lnTo>
                    <a:pt x="476" y="284"/>
                  </a:lnTo>
                  <a:lnTo>
                    <a:pt x="495" y="280"/>
                  </a:lnTo>
                  <a:lnTo>
                    <a:pt x="499" y="273"/>
                  </a:lnTo>
                  <a:lnTo>
                    <a:pt x="493" y="273"/>
                  </a:lnTo>
                  <a:lnTo>
                    <a:pt x="493" y="269"/>
                  </a:lnTo>
                  <a:lnTo>
                    <a:pt x="491" y="265"/>
                  </a:lnTo>
                  <a:lnTo>
                    <a:pt x="514" y="265"/>
                  </a:lnTo>
                  <a:lnTo>
                    <a:pt x="510" y="263"/>
                  </a:lnTo>
                  <a:lnTo>
                    <a:pt x="510" y="261"/>
                  </a:lnTo>
                  <a:lnTo>
                    <a:pt x="502" y="253"/>
                  </a:lnTo>
                  <a:lnTo>
                    <a:pt x="529" y="253"/>
                  </a:lnTo>
                  <a:lnTo>
                    <a:pt x="531" y="251"/>
                  </a:lnTo>
                  <a:lnTo>
                    <a:pt x="533" y="248"/>
                  </a:lnTo>
                  <a:lnTo>
                    <a:pt x="537" y="246"/>
                  </a:lnTo>
                  <a:lnTo>
                    <a:pt x="535" y="244"/>
                  </a:lnTo>
                  <a:lnTo>
                    <a:pt x="535" y="238"/>
                  </a:lnTo>
                  <a:lnTo>
                    <a:pt x="533" y="234"/>
                  </a:lnTo>
                  <a:lnTo>
                    <a:pt x="525" y="234"/>
                  </a:lnTo>
                  <a:lnTo>
                    <a:pt x="522" y="238"/>
                  </a:lnTo>
                  <a:lnTo>
                    <a:pt x="514" y="238"/>
                  </a:lnTo>
                  <a:lnTo>
                    <a:pt x="514" y="230"/>
                  </a:lnTo>
                  <a:lnTo>
                    <a:pt x="508" y="228"/>
                  </a:lnTo>
                  <a:lnTo>
                    <a:pt x="499" y="226"/>
                  </a:lnTo>
                  <a:lnTo>
                    <a:pt x="481" y="228"/>
                  </a:lnTo>
                  <a:lnTo>
                    <a:pt x="464" y="236"/>
                  </a:lnTo>
                  <a:lnTo>
                    <a:pt x="449" y="242"/>
                  </a:lnTo>
                  <a:lnTo>
                    <a:pt x="449" y="234"/>
                  </a:lnTo>
                  <a:lnTo>
                    <a:pt x="458" y="232"/>
                  </a:lnTo>
                  <a:lnTo>
                    <a:pt x="454" y="225"/>
                  </a:lnTo>
                  <a:lnTo>
                    <a:pt x="445" y="219"/>
                  </a:lnTo>
                  <a:lnTo>
                    <a:pt x="466" y="221"/>
                  </a:lnTo>
                  <a:lnTo>
                    <a:pt x="495" y="223"/>
                  </a:lnTo>
                  <a:lnTo>
                    <a:pt x="495" y="215"/>
                  </a:lnTo>
                  <a:lnTo>
                    <a:pt x="489" y="213"/>
                  </a:lnTo>
                  <a:lnTo>
                    <a:pt x="485" y="211"/>
                  </a:lnTo>
                  <a:lnTo>
                    <a:pt x="479" y="211"/>
                  </a:lnTo>
                  <a:lnTo>
                    <a:pt x="514" y="211"/>
                  </a:lnTo>
                  <a:lnTo>
                    <a:pt x="510" y="203"/>
                  </a:lnTo>
                  <a:lnTo>
                    <a:pt x="497" y="200"/>
                  </a:lnTo>
                  <a:lnTo>
                    <a:pt x="468" y="200"/>
                  </a:lnTo>
                  <a:lnTo>
                    <a:pt x="468" y="192"/>
                  </a:lnTo>
                  <a:lnTo>
                    <a:pt x="479" y="196"/>
                  </a:lnTo>
                  <a:lnTo>
                    <a:pt x="487" y="196"/>
                  </a:lnTo>
                  <a:lnTo>
                    <a:pt x="489" y="194"/>
                  </a:lnTo>
                  <a:lnTo>
                    <a:pt x="491" y="190"/>
                  </a:lnTo>
                  <a:lnTo>
                    <a:pt x="495" y="188"/>
                  </a:lnTo>
                  <a:lnTo>
                    <a:pt x="500" y="192"/>
                  </a:lnTo>
                  <a:lnTo>
                    <a:pt x="506" y="200"/>
                  </a:lnTo>
                  <a:lnTo>
                    <a:pt x="514" y="203"/>
                  </a:lnTo>
                  <a:lnTo>
                    <a:pt x="518" y="203"/>
                  </a:lnTo>
                  <a:lnTo>
                    <a:pt x="518" y="196"/>
                  </a:lnTo>
                  <a:lnTo>
                    <a:pt x="556" y="196"/>
                  </a:lnTo>
                  <a:lnTo>
                    <a:pt x="562" y="198"/>
                  </a:lnTo>
                  <a:lnTo>
                    <a:pt x="573" y="198"/>
                  </a:lnTo>
                  <a:lnTo>
                    <a:pt x="587" y="196"/>
                  </a:lnTo>
                  <a:lnTo>
                    <a:pt x="587" y="192"/>
                  </a:lnTo>
                  <a:lnTo>
                    <a:pt x="585" y="186"/>
                  </a:lnTo>
                  <a:lnTo>
                    <a:pt x="583" y="184"/>
                  </a:lnTo>
                  <a:lnTo>
                    <a:pt x="602" y="178"/>
                  </a:lnTo>
                  <a:lnTo>
                    <a:pt x="616" y="175"/>
                  </a:lnTo>
                  <a:lnTo>
                    <a:pt x="602" y="165"/>
                  </a:lnTo>
                  <a:lnTo>
                    <a:pt x="608" y="165"/>
                  </a:lnTo>
                  <a:lnTo>
                    <a:pt x="606" y="161"/>
                  </a:lnTo>
                  <a:lnTo>
                    <a:pt x="623" y="165"/>
                  </a:lnTo>
                  <a:lnTo>
                    <a:pt x="633" y="163"/>
                  </a:lnTo>
                  <a:lnTo>
                    <a:pt x="648" y="153"/>
                  </a:lnTo>
                  <a:lnTo>
                    <a:pt x="644" y="153"/>
                  </a:lnTo>
                  <a:lnTo>
                    <a:pt x="646" y="146"/>
                  </a:lnTo>
                  <a:lnTo>
                    <a:pt x="648" y="142"/>
                  </a:lnTo>
                  <a:lnTo>
                    <a:pt x="660" y="153"/>
                  </a:lnTo>
                  <a:lnTo>
                    <a:pt x="673" y="144"/>
                  </a:lnTo>
                  <a:lnTo>
                    <a:pt x="690" y="130"/>
                  </a:lnTo>
                  <a:lnTo>
                    <a:pt x="702" y="123"/>
                  </a:lnTo>
                  <a:lnTo>
                    <a:pt x="729" y="119"/>
                  </a:lnTo>
                  <a:lnTo>
                    <a:pt x="754" y="117"/>
                  </a:lnTo>
                  <a:lnTo>
                    <a:pt x="779" y="111"/>
                  </a:lnTo>
                  <a:lnTo>
                    <a:pt x="786" y="104"/>
                  </a:lnTo>
                  <a:lnTo>
                    <a:pt x="786" y="94"/>
                  </a:lnTo>
                  <a:lnTo>
                    <a:pt x="779" y="88"/>
                  </a:lnTo>
                  <a:lnTo>
                    <a:pt x="792" y="82"/>
                  </a:lnTo>
                  <a:lnTo>
                    <a:pt x="806" y="79"/>
                  </a:lnTo>
                  <a:lnTo>
                    <a:pt x="821" y="73"/>
                  </a:lnTo>
                  <a:lnTo>
                    <a:pt x="823" y="73"/>
                  </a:lnTo>
                  <a:lnTo>
                    <a:pt x="827" y="71"/>
                  </a:lnTo>
                  <a:lnTo>
                    <a:pt x="833" y="69"/>
                  </a:lnTo>
                  <a:lnTo>
                    <a:pt x="833" y="61"/>
                  </a:lnTo>
                  <a:lnTo>
                    <a:pt x="840" y="59"/>
                  </a:lnTo>
                  <a:lnTo>
                    <a:pt x="848" y="59"/>
                  </a:lnTo>
                  <a:lnTo>
                    <a:pt x="856" y="57"/>
                  </a:lnTo>
                  <a:lnTo>
                    <a:pt x="856" y="55"/>
                  </a:lnTo>
                  <a:lnTo>
                    <a:pt x="859" y="52"/>
                  </a:lnTo>
                  <a:lnTo>
                    <a:pt x="863" y="50"/>
                  </a:lnTo>
                  <a:lnTo>
                    <a:pt x="859" y="46"/>
                  </a:lnTo>
                  <a:lnTo>
                    <a:pt x="859" y="42"/>
                  </a:lnTo>
                  <a:lnTo>
                    <a:pt x="836" y="42"/>
                  </a:lnTo>
                  <a:lnTo>
                    <a:pt x="833" y="40"/>
                  </a:lnTo>
                  <a:lnTo>
                    <a:pt x="829" y="36"/>
                  </a:lnTo>
                  <a:lnTo>
                    <a:pt x="825" y="34"/>
                  </a:lnTo>
                  <a:lnTo>
                    <a:pt x="823" y="36"/>
                  </a:lnTo>
                  <a:lnTo>
                    <a:pt x="819" y="38"/>
                  </a:lnTo>
                  <a:lnTo>
                    <a:pt x="813" y="38"/>
                  </a:lnTo>
                  <a:lnTo>
                    <a:pt x="811" y="36"/>
                  </a:lnTo>
                  <a:lnTo>
                    <a:pt x="809" y="30"/>
                  </a:lnTo>
                  <a:lnTo>
                    <a:pt x="809" y="27"/>
                  </a:lnTo>
                  <a:lnTo>
                    <a:pt x="792" y="19"/>
                  </a:lnTo>
                  <a:lnTo>
                    <a:pt x="771" y="17"/>
                  </a:lnTo>
                  <a:lnTo>
                    <a:pt x="748" y="15"/>
                  </a:lnTo>
                  <a:lnTo>
                    <a:pt x="737" y="15"/>
                  </a:lnTo>
                  <a:lnTo>
                    <a:pt x="737" y="13"/>
                  </a:lnTo>
                  <a:lnTo>
                    <a:pt x="733" y="11"/>
                  </a:lnTo>
                  <a:lnTo>
                    <a:pt x="729" y="11"/>
                  </a:lnTo>
                  <a:lnTo>
                    <a:pt x="727" y="15"/>
                  </a:lnTo>
                  <a:lnTo>
                    <a:pt x="727" y="19"/>
                  </a:lnTo>
                  <a:lnTo>
                    <a:pt x="725" y="23"/>
                  </a:lnTo>
                  <a:lnTo>
                    <a:pt x="715" y="29"/>
                  </a:lnTo>
                  <a:lnTo>
                    <a:pt x="700" y="38"/>
                  </a:lnTo>
                  <a:lnTo>
                    <a:pt x="690" y="42"/>
                  </a:lnTo>
                  <a:lnTo>
                    <a:pt x="687" y="40"/>
                  </a:lnTo>
                  <a:lnTo>
                    <a:pt x="687" y="38"/>
                  </a:lnTo>
                  <a:lnTo>
                    <a:pt x="683" y="38"/>
                  </a:lnTo>
                  <a:lnTo>
                    <a:pt x="690" y="34"/>
                  </a:lnTo>
                  <a:lnTo>
                    <a:pt x="710" y="23"/>
                  </a:lnTo>
                  <a:lnTo>
                    <a:pt x="710" y="13"/>
                  </a:lnTo>
                  <a:lnTo>
                    <a:pt x="706" y="7"/>
                  </a:lnTo>
                  <a:lnTo>
                    <a:pt x="692" y="5"/>
                  </a:lnTo>
                  <a:lnTo>
                    <a:pt x="679" y="9"/>
                  </a:lnTo>
                  <a:lnTo>
                    <a:pt x="664" y="11"/>
                  </a:lnTo>
                  <a:lnTo>
                    <a:pt x="646" y="7"/>
                  </a:lnTo>
                  <a:lnTo>
                    <a:pt x="631" y="2"/>
                  </a:lnTo>
                  <a:lnTo>
                    <a:pt x="614" y="0"/>
                  </a:lnTo>
                  <a:lnTo>
                    <a:pt x="608" y="4"/>
                  </a:lnTo>
                  <a:lnTo>
                    <a:pt x="604" y="7"/>
                  </a:lnTo>
                  <a:lnTo>
                    <a:pt x="598" y="11"/>
                  </a:lnTo>
                  <a:lnTo>
                    <a:pt x="600" y="13"/>
                  </a:lnTo>
                  <a:lnTo>
                    <a:pt x="602" y="17"/>
                  </a:lnTo>
                  <a:lnTo>
                    <a:pt x="602" y="19"/>
                  </a:lnTo>
                  <a:lnTo>
                    <a:pt x="595" y="19"/>
                  </a:lnTo>
                  <a:lnTo>
                    <a:pt x="595" y="17"/>
                  </a:lnTo>
                  <a:lnTo>
                    <a:pt x="587" y="17"/>
                  </a:lnTo>
                  <a:lnTo>
                    <a:pt x="583" y="15"/>
                  </a:lnTo>
                  <a:lnTo>
                    <a:pt x="575" y="19"/>
                  </a:lnTo>
                  <a:lnTo>
                    <a:pt x="566" y="27"/>
                  </a:lnTo>
                  <a:lnTo>
                    <a:pt x="560" y="30"/>
                  </a:lnTo>
                  <a:lnTo>
                    <a:pt x="552" y="29"/>
                  </a:lnTo>
                  <a:lnTo>
                    <a:pt x="548" y="23"/>
                  </a:lnTo>
                  <a:lnTo>
                    <a:pt x="545" y="19"/>
                  </a:lnTo>
                  <a:lnTo>
                    <a:pt x="479" y="19"/>
                  </a:lnTo>
                  <a:lnTo>
                    <a:pt x="476" y="23"/>
                  </a:lnTo>
                  <a:lnTo>
                    <a:pt x="472" y="23"/>
                  </a:lnTo>
                  <a:lnTo>
                    <a:pt x="470" y="21"/>
                  </a:lnTo>
                  <a:lnTo>
                    <a:pt x="472" y="19"/>
                  </a:lnTo>
                  <a:lnTo>
                    <a:pt x="468" y="19"/>
                  </a:lnTo>
                  <a:lnTo>
                    <a:pt x="458" y="25"/>
                  </a:lnTo>
                  <a:lnTo>
                    <a:pt x="456" y="30"/>
                  </a:lnTo>
                  <a:lnTo>
                    <a:pt x="460" y="30"/>
                  </a:lnTo>
                  <a:lnTo>
                    <a:pt x="460" y="38"/>
                  </a:lnTo>
                  <a:lnTo>
                    <a:pt x="476" y="38"/>
                  </a:lnTo>
                  <a:lnTo>
                    <a:pt x="477" y="40"/>
                  </a:lnTo>
                  <a:lnTo>
                    <a:pt x="477" y="44"/>
                  </a:lnTo>
                  <a:lnTo>
                    <a:pt x="479" y="46"/>
                  </a:lnTo>
                  <a:lnTo>
                    <a:pt x="472" y="44"/>
                  </a:lnTo>
                  <a:lnTo>
                    <a:pt x="464" y="44"/>
                  </a:lnTo>
                  <a:lnTo>
                    <a:pt x="456" y="42"/>
                  </a:lnTo>
                  <a:lnTo>
                    <a:pt x="456" y="34"/>
                  </a:lnTo>
                  <a:lnTo>
                    <a:pt x="447" y="36"/>
                  </a:lnTo>
                  <a:lnTo>
                    <a:pt x="437" y="36"/>
                  </a:lnTo>
                  <a:lnTo>
                    <a:pt x="422" y="38"/>
                  </a:lnTo>
                  <a:lnTo>
                    <a:pt x="422" y="30"/>
                  </a:lnTo>
                  <a:lnTo>
                    <a:pt x="418" y="30"/>
                  </a:lnTo>
                  <a:lnTo>
                    <a:pt x="410" y="50"/>
                  </a:lnTo>
                  <a:lnTo>
                    <a:pt x="395" y="50"/>
                  </a:lnTo>
                  <a:lnTo>
                    <a:pt x="397" y="48"/>
                  </a:lnTo>
                  <a:lnTo>
                    <a:pt x="389" y="44"/>
                  </a:lnTo>
                  <a:lnTo>
                    <a:pt x="383" y="42"/>
                  </a:lnTo>
                  <a:lnTo>
                    <a:pt x="383" y="54"/>
                  </a:lnTo>
                  <a:lnTo>
                    <a:pt x="368" y="50"/>
                  </a:lnTo>
                  <a:lnTo>
                    <a:pt x="357" y="46"/>
                  </a:lnTo>
                  <a:lnTo>
                    <a:pt x="341" y="42"/>
                  </a:lnTo>
                  <a:lnTo>
                    <a:pt x="341" y="50"/>
                  </a:lnTo>
                  <a:lnTo>
                    <a:pt x="345" y="69"/>
                  </a:lnTo>
                  <a:lnTo>
                    <a:pt x="341" y="67"/>
                  </a:lnTo>
                  <a:lnTo>
                    <a:pt x="339" y="65"/>
                  </a:lnTo>
                  <a:lnTo>
                    <a:pt x="333" y="65"/>
                  </a:lnTo>
                  <a:lnTo>
                    <a:pt x="333" y="77"/>
                  </a:lnTo>
                  <a:lnTo>
                    <a:pt x="328" y="69"/>
                  </a:lnTo>
                  <a:lnTo>
                    <a:pt x="320" y="59"/>
                  </a:lnTo>
                  <a:lnTo>
                    <a:pt x="314" y="54"/>
                  </a:lnTo>
                  <a:lnTo>
                    <a:pt x="305" y="52"/>
                  </a:lnTo>
                  <a:lnTo>
                    <a:pt x="295" y="52"/>
                  </a:lnTo>
                  <a:lnTo>
                    <a:pt x="284" y="50"/>
                  </a:lnTo>
                  <a:lnTo>
                    <a:pt x="276" y="46"/>
                  </a:lnTo>
                  <a:lnTo>
                    <a:pt x="266" y="40"/>
                  </a:lnTo>
                  <a:lnTo>
                    <a:pt x="261" y="34"/>
                  </a:lnTo>
                  <a:lnTo>
                    <a:pt x="241" y="34"/>
                  </a:lnTo>
                  <a:lnTo>
                    <a:pt x="241" y="42"/>
                  </a:lnTo>
                  <a:lnTo>
                    <a:pt x="245" y="44"/>
                  </a:lnTo>
                  <a:lnTo>
                    <a:pt x="247" y="48"/>
                  </a:lnTo>
                  <a:lnTo>
                    <a:pt x="249" y="54"/>
                  </a:lnTo>
                  <a:lnTo>
                    <a:pt x="207" y="54"/>
                  </a:lnTo>
                  <a:lnTo>
                    <a:pt x="209" y="57"/>
                  </a:lnTo>
                  <a:lnTo>
                    <a:pt x="209" y="63"/>
                  </a:lnTo>
                  <a:lnTo>
                    <a:pt x="211" y="69"/>
                  </a:lnTo>
                  <a:lnTo>
                    <a:pt x="216" y="69"/>
                  </a:lnTo>
                  <a:lnTo>
                    <a:pt x="218" y="67"/>
                  </a:lnTo>
                  <a:lnTo>
                    <a:pt x="222" y="65"/>
                  </a:lnTo>
                  <a:lnTo>
                    <a:pt x="230" y="73"/>
                  </a:lnTo>
                  <a:lnTo>
                    <a:pt x="243" y="73"/>
                  </a:lnTo>
                  <a:lnTo>
                    <a:pt x="259" y="71"/>
                  </a:lnTo>
                  <a:lnTo>
                    <a:pt x="276" y="69"/>
                  </a:lnTo>
                  <a:lnTo>
                    <a:pt x="264" y="92"/>
                  </a:lnTo>
                  <a:lnTo>
                    <a:pt x="261" y="77"/>
                  </a:lnTo>
                  <a:lnTo>
                    <a:pt x="253" y="80"/>
                  </a:lnTo>
                  <a:lnTo>
                    <a:pt x="241" y="84"/>
                  </a:lnTo>
                  <a:lnTo>
                    <a:pt x="236" y="80"/>
                  </a:lnTo>
                  <a:lnTo>
                    <a:pt x="226" y="75"/>
                  </a:lnTo>
                  <a:lnTo>
                    <a:pt x="218" y="73"/>
                  </a:lnTo>
                  <a:lnTo>
                    <a:pt x="216" y="77"/>
                  </a:lnTo>
                  <a:lnTo>
                    <a:pt x="216" y="82"/>
                  </a:lnTo>
                  <a:lnTo>
                    <a:pt x="214" y="88"/>
                  </a:lnTo>
                  <a:lnTo>
                    <a:pt x="203" y="75"/>
                  </a:lnTo>
                  <a:lnTo>
                    <a:pt x="191" y="67"/>
                  </a:lnTo>
                  <a:lnTo>
                    <a:pt x="172" y="69"/>
                  </a:lnTo>
                  <a:lnTo>
                    <a:pt x="167" y="77"/>
                  </a:lnTo>
                  <a:lnTo>
                    <a:pt x="161" y="86"/>
                  </a:lnTo>
                  <a:lnTo>
                    <a:pt x="155" y="92"/>
                  </a:lnTo>
                  <a:lnTo>
                    <a:pt x="147" y="90"/>
                  </a:lnTo>
                  <a:lnTo>
                    <a:pt x="132" y="84"/>
                  </a:lnTo>
                  <a:lnTo>
                    <a:pt x="113" y="84"/>
                  </a:lnTo>
                  <a:lnTo>
                    <a:pt x="111" y="86"/>
                  </a:lnTo>
                  <a:lnTo>
                    <a:pt x="107" y="86"/>
                  </a:lnTo>
                  <a:lnTo>
                    <a:pt x="103" y="88"/>
                  </a:lnTo>
                  <a:lnTo>
                    <a:pt x="103" y="96"/>
                  </a:lnTo>
                  <a:lnTo>
                    <a:pt x="111" y="94"/>
                  </a:lnTo>
                  <a:lnTo>
                    <a:pt x="122" y="94"/>
                  </a:lnTo>
                  <a:lnTo>
                    <a:pt x="136" y="92"/>
                  </a:lnTo>
                  <a:lnTo>
                    <a:pt x="113" y="102"/>
                  </a:lnTo>
                  <a:lnTo>
                    <a:pt x="138" y="102"/>
                  </a:lnTo>
                  <a:lnTo>
                    <a:pt x="168" y="100"/>
                  </a:lnTo>
                  <a:lnTo>
                    <a:pt x="155" y="104"/>
                  </a:lnTo>
                  <a:lnTo>
                    <a:pt x="120" y="111"/>
                  </a:lnTo>
                  <a:lnTo>
                    <a:pt x="117" y="123"/>
                  </a:lnTo>
                  <a:lnTo>
                    <a:pt x="138" y="117"/>
                  </a:lnTo>
                  <a:lnTo>
                    <a:pt x="161" y="111"/>
                  </a:lnTo>
                  <a:lnTo>
                    <a:pt x="184" y="107"/>
                  </a:lnTo>
                  <a:lnTo>
                    <a:pt x="176" y="115"/>
                  </a:lnTo>
                  <a:lnTo>
                    <a:pt x="163" y="117"/>
                  </a:lnTo>
                  <a:lnTo>
                    <a:pt x="155" y="117"/>
                  </a:lnTo>
                  <a:lnTo>
                    <a:pt x="143" y="119"/>
                  </a:lnTo>
                  <a:lnTo>
                    <a:pt x="138" y="125"/>
                  </a:lnTo>
                  <a:lnTo>
                    <a:pt x="130" y="130"/>
                  </a:lnTo>
                  <a:lnTo>
                    <a:pt x="128" y="134"/>
                  </a:lnTo>
                  <a:lnTo>
                    <a:pt x="149" y="132"/>
                  </a:lnTo>
                  <a:lnTo>
                    <a:pt x="180" y="130"/>
                  </a:lnTo>
                  <a:lnTo>
                    <a:pt x="203" y="130"/>
                  </a:lnTo>
                  <a:lnTo>
                    <a:pt x="211" y="138"/>
                  </a:lnTo>
                  <a:lnTo>
                    <a:pt x="218" y="138"/>
                  </a:lnTo>
                  <a:lnTo>
                    <a:pt x="228" y="128"/>
                  </a:lnTo>
                  <a:lnTo>
                    <a:pt x="234" y="127"/>
                  </a:lnTo>
                  <a:lnTo>
                    <a:pt x="234" y="142"/>
                  </a:lnTo>
                  <a:lnTo>
                    <a:pt x="245" y="144"/>
                  </a:lnTo>
                  <a:lnTo>
                    <a:pt x="261" y="146"/>
                  </a:lnTo>
                  <a:lnTo>
                    <a:pt x="272" y="146"/>
                  </a:lnTo>
                  <a:lnTo>
                    <a:pt x="276" y="134"/>
                  </a:lnTo>
                  <a:lnTo>
                    <a:pt x="284" y="134"/>
                  </a:lnTo>
                  <a:lnTo>
                    <a:pt x="284" y="123"/>
                  </a:lnTo>
                  <a:lnTo>
                    <a:pt x="289" y="128"/>
                  </a:lnTo>
                  <a:lnTo>
                    <a:pt x="291" y="132"/>
                  </a:lnTo>
                  <a:lnTo>
                    <a:pt x="291" y="134"/>
                  </a:lnTo>
                  <a:lnTo>
                    <a:pt x="307" y="136"/>
                  </a:lnTo>
                  <a:lnTo>
                    <a:pt x="324" y="130"/>
                  </a:lnTo>
                  <a:lnTo>
                    <a:pt x="337" y="127"/>
                  </a:lnTo>
                  <a:lnTo>
                    <a:pt x="362" y="125"/>
                  </a:lnTo>
                  <a:lnTo>
                    <a:pt x="385" y="125"/>
                  </a:lnTo>
                  <a:lnTo>
                    <a:pt x="410" y="123"/>
                  </a:lnTo>
                  <a:lnTo>
                    <a:pt x="429" y="119"/>
                  </a:lnTo>
                  <a:lnTo>
                    <a:pt x="449" y="113"/>
                  </a:lnTo>
                  <a:lnTo>
                    <a:pt x="472" y="107"/>
                  </a:lnTo>
                  <a:lnTo>
                    <a:pt x="470" y="109"/>
                  </a:lnTo>
                  <a:lnTo>
                    <a:pt x="464" y="113"/>
                  </a:lnTo>
                  <a:lnTo>
                    <a:pt x="458" y="115"/>
                  </a:lnTo>
                  <a:lnTo>
                    <a:pt x="456" y="119"/>
                  </a:lnTo>
                  <a:lnTo>
                    <a:pt x="483" y="119"/>
                  </a:lnTo>
                  <a:lnTo>
                    <a:pt x="464" y="121"/>
                  </a:lnTo>
                  <a:lnTo>
                    <a:pt x="443" y="127"/>
                  </a:lnTo>
                  <a:lnTo>
                    <a:pt x="422" y="130"/>
                  </a:lnTo>
                  <a:lnTo>
                    <a:pt x="422" y="132"/>
                  </a:lnTo>
                  <a:lnTo>
                    <a:pt x="420" y="136"/>
                  </a:lnTo>
                  <a:lnTo>
                    <a:pt x="418" y="138"/>
                  </a:lnTo>
                  <a:lnTo>
                    <a:pt x="447" y="138"/>
                  </a:lnTo>
                  <a:lnTo>
                    <a:pt x="454" y="136"/>
                  </a:lnTo>
                  <a:lnTo>
                    <a:pt x="460" y="134"/>
                  </a:lnTo>
                  <a:lnTo>
                    <a:pt x="456" y="138"/>
                  </a:lnTo>
                  <a:lnTo>
                    <a:pt x="445" y="146"/>
                  </a:lnTo>
                  <a:lnTo>
                    <a:pt x="424" y="148"/>
                  </a:lnTo>
                  <a:lnTo>
                    <a:pt x="406" y="146"/>
                  </a:lnTo>
                  <a:lnTo>
                    <a:pt x="391" y="14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4" name="Freeform 259"/>
            <p:cNvSpPr>
              <a:spLocks/>
            </p:cNvSpPr>
            <p:nvPr/>
          </p:nvSpPr>
          <p:spPr bwMode="gray">
            <a:xfrm>
              <a:off x="1712" y="1305"/>
              <a:ext cx="88" cy="44"/>
            </a:xfrm>
            <a:custGeom>
              <a:avLst/>
              <a:gdLst>
                <a:gd name="T0" fmla="*/ 2 w 177"/>
                <a:gd name="T1" fmla="*/ 6 h 89"/>
                <a:gd name="T2" fmla="*/ 0 w 177"/>
                <a:gd name="T3" fmla="*/ 23 h 89"/>
                <a:gd name="T4" fmla="*/ 10 w 177"/>
                <a:gd name="T5" fmla="*/ 19 h 89"/>
                <a:gd name="T6" fmla="*/ 12 w 177"/>
                <a:gd name="T7" fmla="*/ 31 h 89"/>
                <a:gd name="T8" fmla="*/ 18 w 177"/>
                <a:gd name="T9" fmla="*/ 27 h 89"/>
                <a:gd name="T10" fmla="*/ 21 w 177"/>
                <a:gd name="T11" fmla="*/ 31 h 89"/>
                <a:gd name="T12" fmla="*/ 20 w 177"/>
                <a:gd name="T13" fmla="*/ 39 h 89"/>
                <a:gd name="T14" fmla="*/ 31 w 177"/>
                <a:gd name="T15" fmla="*/ 37 h 89"/>
                <a:gd name="T16" fmla="*/ 35 w 177"/>
                <a:gd name="T17" fmla="*/ 40 h 89"/>
                <a:gd name="T18" fmla="*/ 39 w 177"/>
                <a:gd name="T19" fmla="*/ 50 h 89"/>
                <a:gd name="T20" fmla="*/ 27 w 177"/>
                <a:gd name="T21" fmla="*/ 58 h 89"/>
                <a:gd name="T22" fmla="*/ 89 w 177"/>
                <a:gd name="T23" fmla="*/ 46 h 89"/>
                <a:gd name="T24" fmla="*/ 121 w 177"/>
                <a:gd name="T25" fmla="*/ 62 h 89"/>
                <a:gd name="T26" fmla="*/ 127 w 177"/>
                <a:gd name="T27" fmla="*/ 69 h 89"/>
                <a:gd name="T28" fmla="*/ 137 w 177"/>
                <a:gd name="T29" fmla="*/ 71 h 89"/>
                <a:gd name="T30" fmla="*/ 146 w 177"/>
                <a:gd name="T31" fmla="*/ 77 h 89"/>
                <a:gd name="T32" fmla="*/ 154 w 177"/>
                <a:gd name="T33" fmla="*/ 89 h 89"/>
                <a:gd name="T34" fmla="*/ 177 w 177"/>
                <a:gd name="T35" fmla="*/ 77 h 89"/>
                <a:gd name="T36" fmla="*/ 169 w 177"/>
                <a:gd name="T37" fmla="*/ 62 h 89"/>
                <a:gd name="T38" fmla="*/ 150 w 177"/>
                <a:gd name="T39" fmla="*/ 44 h 89"/>
                <a:gd name="T40" fmla="*/ 127 w 177"/>
                <a:gd name="T41" fmla="*/ 39 h 89"/>
                <a:gd name="T42" fmla="*/ 115 w 177"/>
                <a:gd name="T43" fmla="*/ 23 h 89"/>
                <a:gd name="T44" fmla="*/ 112 w 177"/>
                <a:gd name="T45" fmla="*/ 27 h 89"/>
                <a:gd name="T46" fmla="*/ 98 w 177"/>
                <a:gd name="T47" fmla="*/ 17 h 89"/>
                <a:gd name="T48" fmla="*/ 87 w 177"/>
                <a:gd name="T49" fmla="*/ 19 h 89"/>
                <a:gd name="T50" fmla="*/ 77 w 177"/>
                <a:gd name="T51" fmla="*/ 23 h 89"/>
                <a:gd name="T52" fmla="*/ 62 w 177"/>
                <a:gd name="T53" fmla="*/ 12 h 89"/>
                <a:gd name="T54" fmla="*/ 54 w 177"/>
                <a:gd name="T55" fmla="*/ 19 h 89"/>
                <a:gd name="T56" fmla="*/ 43 w 177"/>
                <a:gd name="T57" fmla="*/ 23 h 89"/>
                <a:gd name="T58" fmla="*/ 41 w 177"/>
                <a:gd name="T59" fmla="*/ 12 h 89"/>
                <a:gd name="T60" fmla="*/ 29 w 177"/>
                <a:gd name="T61" fmla="*/ 4 h 89"/>
                <a:gd name="T62" fmla="*/ 8 w 177"/>
                <a:gd name="T63" fmla="*/ 0 h 8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77"/>
                <a:gd name="T97" fmla="*/ 0 h 89"/>
                <a:gd name="T98" fmla="*/ 177 w 177"/>
                <a:gd name="T99" fmla="*/ 89 h 8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77" h="89">
                  <a:moveTo>
                    <a:pt x="8" y="0"/>
                  </a:moveTo>
                  <a:lnTo>
                    <a:pt x="2" y="6"/>
                  </a:lnTo>
                  <a:lnTo>
                    <a:pt x="2" y="14"/>
                  </a:lnTo>
                  <a:lnTo>
                    <a:pt x="0" y="23"/>
                  </a:lnTo>
                  <a:lnTo>
                    <a:pt x="4" y="21"/>
                  </a:lnTo>
                  <a:lnTo>
                    <a:pt x="10" y="19"/>
                  </a:lnTo>
                  <a:lnTo>
                    <a:pt x="12" y="19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8" y="27"/>
                  </a:lnTo>
                  <a:lnTo>
                    <a:pt x="23" y="27"/>
                  </a:lnTo>
                  <a:lnTo>
                    <a:pt x="21" y="31"/>
                  </a:lnTo>
                  <a:lnTo>
                    <a:pt x="20" y="37"/>
                  </a:lnTo>
                  <a:lnTo>
                    <a:pt x="20" y="39"/>
                  </a:lnTo>
                  <a:lnTo>
                    <a:pt x="25" y="40"/>
                  </a:lnTo>
                  <a:lnTo>
                    <a:pt x="31" y="37"/>
                  </a:lnTo>
                  <a:lnTo>
                    <a:pt x="35" y="35"/>
                  </a:lnTo>
                  <a:lnTo>
                    <a:pt x="35" y="40"/>
                  </a:lnTo>
                  <a:lnTo>
                    <a:pt x="31" y="42"/>
                  </a:lnTo>
                  <a:lnTo>
                    <a:pt x="39" y="50"/>
                  </a:lnTo>
                  <a:lnTo>
                    <a:pt x="25" y="54"/>
                  </a:lnTo>
                  <a:lnTo>
                    <a:pt x="27" y="58"/>
                  </a:lnTo>
                  <a:lnTo>
                    <a:pt x="60" y="48"/>
                  </a:lnTo>
                  <a:lnTo>
                    <a:pt x="89" y="46"/>
                  </a:lnTo>
                  <a:lnTo>
                    <a:pt x="119" y="58"/>
                  </a:lnTo>
                  <a:lnTo>
                    <a:pt x="121" y="62"/>
                  </a:lnTo>
                  <a:lnTo>
                    <a:pt x="125" y="65"/>
                  </a:lnTo>
                  <a:lnTo>
                    <a:pt x="127" y="69"/>
                  </a:lnTo>
                  <a:lnTo>
                    <a:pt x="133" y="71"/>
                  </a:lnTo>
                  <a:lnTo>
                    <a:pt x="137" y="71"/>
                  </a:lnTo>
                  <a:lnTo>
                    <a:pt x="142" y="73"/>
                  </a:lnTo>
                  <a:lnTo>
                    <a:pt x="146" y="77"/>
                  </a:lnTo>
                  <a:lnTo>
                    <a:pt x="150" y="85"/>
                  </a:lnTo>
                  <a:lnTo>
                    <a:pt x="154" y="89"/>
                  </a:lnTo>
                  <a:lnTo>
                    <a:pt x="169" y="89"/>
                  </a:lnTo>
                  <a:lnTo>
                    <a:pt x="177" y="77"/>
                  </a:lnTo>
                  <a:lnTo>
                    <a:pt x="177" y="65"/>
                  </a:lnTo>
                  <a:lnTo>
                    <a:pt x="169" y="62"/>
                  </a:lnTo>
                  <a:lnTo>
                    <a:pt x="156" y="42"/>
                  </a:lnTo>
                  <a:lnTo>
                    <a:pt x="150" y="44"/>
                  </a:lnTo>
                  <a:lnTo>
                    <a:pt x="131" y="42"/>
                  </a:lnTo>
                  <a:lnTo>
                    <a:pt x="127" y="39"/>
                  </a:lnTo>
                  <a:lnTo>
                    <a:pt x="121" y="29"/>
                  </a:lnTo>
                  <a:lnTo>
                    <a:pt x="115" y="23"/>
                  </a:lnTo>
                  <a:lnTo>
                    <a:pt x="112" y="23"/>
                  </a:lnTo>
                  <a:lnTo>
                    <a:pt x="112" y="27"/>
                  </a:lnTo>
                  <a:lnTo>
                    <a:pt x="108" y="27"/>
                  </a:lnTo>
                  <a:lnTo>
                    <a:pt x="98" y="17"/>
                  </a:lnTo>
                  <a:lnTo>
                    <a:pt x="89" y="15"/>
                  </a:lnTo>
                  <a:lnTo>
                    <a:pt x="87" y="19"/>
                  </a:lnTo>
                  <a:lnTo>
                    <a:pt x="83" y="23"/>
                  </a:lnTo>
                  <a:lnTo>
                    <a:pt x="77" y="23"/>
                  </a:lnTo>
                  <a:lnTo>
                    <a:pt x="77" y="15"/>
                  </a:lnTo>
                  <a:lnTo>
                    <a:pt x="62" y="12"/>
                  </a:lnTo>
                  <a:lnTo>
                    <a:pt x="54" y="8"/>
                  </a:lnTo>
                  <a:lnTo>
                    <a:pt x="54" y="19"/>
                  </a:lnTo>
                  <a:lnTo>
                    <a:pt x="50" y="19"/>
                  </a:lnTo>
                  <a:lnTo>
                    <a:pt x="43" y="23"/>
                  </a:lnTo>
                  <a:lnTo>
                    <a:pt x="41" y="19"/>
                  </a:lnTo>
                  <a:lnTo>
                    <a:pt x="41" y="12"/>
                  </a:lnTo>
                  <a:lnTo>
                    <a:pt x="39" y="8"/>
                  </a:lnTo>
                  <a:lnTo>
                    <a:pt x="29" y="4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5" name="Freeform 260"/>
            <p:cNvSpPr>
              <a:spLocks/>
            </p:cNvSpPr>
            <p:nvPr/>
          </p:nvSpPr>
          <p:spPr bwMode="gray">
            <a:xfrm>
              <a:off x="1810" y="1314"/>
              <a:ext cx="42" cy="34"/>
            </a:xfrm>
            <a:custGeom>
              <a:avLst/>
              <a:gdLst>
                <a:gd name="T0" fmla="*/ 0 w 85"/>
                <a:gd name="T1" fmla="*/ 0 h 68"/>
                <a:gd name="T2" fmla="*/ 0 w 85"/>
                <a:gd name="T3" fmla="*/ 31 h 68"/>
                <a:gd name="T4" fmla="*/ 10 w 85"/>
                <a:gd name="T5" fmla="*/ 33 h 68"/>
                <a:gd name="T6" fmla="*/ 21 w 85"/>
                <a:gd name="T7" fmla="*/ 35 h 68"/>
                <a:gd name="T8" fmla="*/ 27 w 85"/>
                <a:gd name="T9" fmla="*/ 39 h 68"/>
                <a:gd name="T10" fmla="*/ 27 w 85"/>
                <a:gd name="T11" fmla="*/ 43 h 68"/>
                <a:gd name="T12" fmla="*/ 19 w 85"/>
                <a:gd name="T13" fmla="*/ 43 h 68"/>
                <a:gd name="T14" fmla="*/ 31 w 85"/>
                <a:gd name="T15" fmla="*/ 60 h 68"/>
                <a:gd name="T16" fmla="*/ 38 w 85"/>
                <a:gd name="T17" fmla="*/ 68 h 68"/>
                <a:gd name="T18" fmla="*/ 62 w 85"/>
                <a:gd name="T19" fmla="*/ 62 h 68"/>
                <a:gd name="T20" fmla="*/ 67 w 85"/>
                <a:gd name="T21" fmla="*/ 60 h 68"/>
                <a:gd name="T22" fmla="*/ 75 w 85"/>
                <a:gd name="T23" fmla="*/ 60 h 68"/>
                <a:gd name="T24" fmla="*/ 85 w 85"/>
                <a:gd name="T25" fmla="*/ 58 h 68"/>
                <a:gd name="T26" fmla="*/ 77 w 85"/>
                <a:gd name="T27" fmla="*/ 31 h 68"/>
                <a:gd name="T28" fmla="*/ 69 w 85"/>
                <a:gd name="T29" fmla="*/ 27 h 68"/>
                <a:gd name="T30" fmla="*/ 62 w 85"/>
                <a:gd name="T31" fmla="*/ 29 h 68"/>
                <a:gd name="T32" fmla="*/ 54 w 85"/>
                <a:gd name="T33" fmla="*/ 27 h 68"/>
                <a:gd name="T34" fmla="*/ 42 w 85"/>
                <a:gd name="T35" fmla="*/ 16 h 68"/>
                <a:gd name="T36" fmla="*/ 27 w 85"/>
                <a:gd name="T37" fmla="*/ 10 h 68"/>
                <a:gd name="T38" fmla="*/ 14 w 85"/>
                <a:gd name="T39" fmla="*/ 6 h 68"/>
                <a:gd name="T40" fmla="*/ 0 w 85"/>
                <a:gd name="T41" fmla="*/ 0 h 6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5"/>
                <a:gd name="T64" fmla="*/ 0 h 68"/>
                <a:gd name="T65" fmla="*/ 85 w 85"/>
                <a:gd name="T66" fmla="*/ 68 h 6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5" h="68">
                  <a:moveTo>
                    <a:pt x="0" y="0"/>
                  </a:moveTo>
                  <a:lnTo>
                    <a:pt x="0" y="31"/>
                  </a:lnTo>
                  <a:lnTo>
                    <a:pt x="10" y="33"/>
                  </a:lnTo>
                  <a:lnTo>
                    <a:pt x="21" y="35"/>
                  </a:lnTo>
                  <a:lnTo>
                    <a:pt x="27" y="39"/>
                  </a:lnTo>
                  <a:lnTo>
                    <a:pt x="27" y="43"/>
                  </a:lnTo>
                  <a:lnTo>
                    <a:pt x="19" y="43"/>
                  </a:lnTo>
                  <a:lnTo>
                    <a:pt x="31" y="60"/>
                  </a:lnTo>
                  <a:lnTo>
                    <a:pt x="38" y="68"/>
                  </a:lnTo>
                  <a:lnTo>
                    <a:pt x="62" y="62"/>
                  </a:lnTo>
                  <a:lnTo>
                    <a:pt x="67" y="60"/>
                  </a:lnTo>
                  <a:lnTo>
                    <a:pt x="75" y="60"/>
                  </a:lnTo>
                  <a:lnTo>
                    <a:pt x="85" y="58"/>
                  </a:lnTo>
                  <a:lnTo>
                    <a:pt x="77" y="31"/>
                  </a:lnTo>
                  <a:lnTo>
                    <a:pt x="69" y="27"/>
                  </a:lnTo>
                  <a:lnTo>
                    <a:pt x="62" y="29"/>
                  </a:lnTo>
                  <a:lnTo>
                    <a:pt x="54" y="27"/>
                  </a:lnTo>
                  <a:lnTo>
                    <a:pt x="42" y="16"/>
                  </a:lnTo>
                  <a:lnTo>
                    <a:pt x="27" y="10"/>
                  </a:lnTo>
                  <a:lnTo>
                    <a:pt x="14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6" name="Freeform 261"/>
            <p:cNvSpPr>
              <a:spLocks/>
            </p:cNvSpPr>
            <p:nvPr/>
          </p:nvSpPr>
          <p:spPr bwMode="gray">
            <a:xfrm>
              <a:off x="1647" y="1316"/>
              <a:ext cx="26" cy="15"/>
            </a:xfrm>
            <a:custGeom>
              <a:avLst/>
              <a:gdLst>
                <a:gd name="T0" fmla="*/ 31 w 52"/>
                <a:gd name="T1" fmla="*/ 0 h 31"/>
                <a:gd name="T2" fmla="*/ 25 w 52"/>
                <a:gd name="T3" fmla="*/ 2 h 31"/>
                <a:gd name="T4" fmla="*/ 17 w 52"/>
                <a:gd name="T5" fmla="*/ 8 h 31"/>
                <a:gd name="T6" fmla="*/ 11 w 52"/>
                <a:gd name="T7" fmla="*/ 12 h 31"/>
                <a:gd name="T8" fmla="*/ 0 w 52"/>
                <a:gd name="T9" fmla="*/ 12 h 31"/>
                <a:gd name="T10" fmla="*/ 4 w 52"/>
                <a:gd name="T11" fmla="*/ 17 h 31"/>
                <a:gd name="T12" fmla="*/ 4 w 52"/>
                <a:gd name="T13" fmla="*/ 21 h 31"/>
                <a:gd name="T14" fmla="*/ 19 w 52"/>
                <a:gd name="T15" fmla="*/ 27 h 31"/>
                <a:gd name="T16" fmla="*/ 23 w 52"/>
                <a:gd name="T17" fmla="*/ 29 h 31"/>
                <a:gd name="T18" fmla="*/ 31 w 52"/>
                <a:gd name="T19" fmla="*/ 31 h 31"/>
                <a:gd name="T20" fmla="*/ 38 w 52"/>
                <a:gd name="T21" fmla="*/ 31 h 31"/>
                <a:gd name="T22" fmla="*/ 52 w 52"/>
                <a:gd name="T23" fmla="*/ 21 h 31"/>
                <a:gd name="T24" fmla="*/ 48 w 52"/>
                <a:gd name="T25" fmla="*/ 6 h 31"/>
                <a:gd name="T26" fmla="*/ 31 w 52"/>
                <a:gd name="T27" fmla="*/ 0 h 3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2"/>
                <a:gd name="T43" fmla="*/ 0 h 31"/>
                <a:gd name="T44" fmla="*/ 52 w 52"/>
                <a:gd name="T45" fmla="*/ 31 h 3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2" h="31">
                  <a:moveTo>
                    <a:pt x="31" y="0"/>
                  </a:moveTo>
                  <a:lnTo>
                    <a:pt x="25" y="2"/>
                  </a:lnTo>
                  <a:lnTo>
                    <a:pt x="17" y="8"/>
                  </a:lnTo>
                  <a:lnTo>
                    <a:pt x="11" y="12"/>
                  </a:lnTo>
                  <a:lnTo>
                    <a:pt x="0" y="12"/>
                  </a:lnTo>
                  <a:lnTo>
                    <a:pt x="4" y="17"/>
                  </a:lnTo>
                  <a:lnTo>
                    <a:pt x="4" y="21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31" y="31"/>
                  </a:lnTo>
                  <a:lnTo>
                    <a:pt x="38" y="31"/>
                  </a:lnTo>
                  <a:lnTo>
                    <a:pt x="52" y="21"/>
                  </a:lnTo>
                  <a:lnTo>
                    <a:pt x="48" y="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7" name="Freeform 262"/>
            <p:cNvSpPr>
              <a:spLocks/>
            </p:cNvSpPr>
            <p:nvPr/>
          </p:nvSpPr>
          <p:spPr bwMode="gray">
            <a:xfrm>
              <a:off x="1616" y="1322"/>
              <a:ext cx="29" cy="11"/>
            </a:xfrm>
            <a:custGeom>
              <a:avLst/>
              <a:gdLst>
                <a:gd name="T0" fmla="*/ 8 w 58"/>
                <a:gd name="T1" fmla="*/ 0 h 23"/>
                <a:gd name="T2" fmla="*/ 0 w 58"/>
                <a:gd name="T3" fmla="*/ 15 h 23"/>
                <a:gd name="T4" fmla="*/ 23 w 58"/>
                <a:gd name="T5" fmla="*/ 11 h 23"/>
                <a:gd name="T6" fmla="*/ 31 w 58"/>
                <a:gd name="T7" fmla="*/ 11 h 23"/>
                <a:gd name="T8" fmla="*/ 33 w 58"/>
                <a:gd name="T9" fmla="*/ 13 h 23"/>
                <a:gd name="T10" fmla="*/ 39 w 58"/>
                <a:gd name="T11" fmla="*/ 17 h 23"/>
                <a:gd name="T12" fmla="*/ 43 w 58"/>
                <a:gd name="T13" fmla="*/ 19 h 23"/>
                <a:gd name="T14" fmla="*/ 43 w 58"/>
                <a:gd name="T15" fmla="*/ 23 h 23"/>
                <a:gd name="T16" fmla="*/ 58 w 58"/>
                <a:gd name="T17" fmla="*/ 11 h 23"/>
                <a:gd name="T18" fmla="*/ 56 w 58"/>
                <a:gd name="T19" fmla="*/ 9 h 23"/>
                <a:gd name="T20" fmla="*/ 54 w 58"/>
                <a:gd name="T21" fmla="*/ 5 h 23"/>
                <a:gd name="T22" fmla="*/ 54 w 58"/>
                <a:gd name="T23" fmla="*/ 0 h 23"/>
                <a:gd name="T24" fmla="*/ 8 w 58"/>
                <a:gd name="T25" fmla="*/ 0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8"/>
                <a:gd name="T40" fmla="*/ 0 h 23"/>
                <a:gd name="T41" fmla="*/ 58 w 58"/>
                <a:gd name="T42" fmla="*/ 23 h 2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8" h="23">
                  <a:moveTo>
                    <a:pt x="8" y="0"/>
                  </a:moveTo>
                  <a:lnTo>
                    <a:pt x="0" y="15"/>
                  </a:lnTo>
                  <a:lnTo>
                    <a:pt x="23" y="11"/>
                  </a:lnTo>
                  <a:lnTo>
                    <a:pt x="31" y="11"/>
                  </a:lnTo>
                  <a:lnTo>
                    <a:pt x="33" y="13"/>
                  </a:lnTo>
                  <a:lnTo>
                    <a:pt x="39" y="17"/>
                  </a:lnTo>
                  <a:lnTo>
                    <a:pt x="43" y="19"/>
                  </a:lnTo>
                  <a:lnTo>
                    <a:pt x="43" y="23"/>
                  </a:lnTo>
                  <a:lnTo>
                    <a:pt x="58" y="11"/>
                  </a:lnTo>
                  <a:lnTo>
                    <a:pt x="56" y="9"/>
                  </a:lnTo>
                  <a:lnTo>
                    <a:pt x="54" y="5"/>
                  </a:lnTo>
                  <a:lnTo>
                    <a:pt x="54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8" name="Freeform 263"/>
            <p:cNvSpPr>
              <a:spLocks/>
            </p:cNvSpPr>
            <p:nvPr/>
          </p:nvSpPr>
          <p:spPr bwMode="gray">
            <a:xfrm>
              <a:off x="1622" y="1333"/>
              <a:ext cx="45" cy="31"/>
            </a:xfrm>
            <a:custGeom>
              <a:avLst/>
              <a:gdLst>
                <a:gd name="T0" fmla="*/ 65 w 90"/>
                <a:gd name="T1" fmla="*/ 0 h 61"/>
                <a:gd name="T2" fmla="*/ 61 w 90"/>
                <a:gd name="T3" fmla="*/ 7 h 61"/>
                <a:gd name="T4" fmla="*/ 57 w 90"/>
                <a:gd name="T5" fmla="*/ 7 h 61"/>
                <a:gd name="T6" fmla="*/ 54 w 90"/>
                <a:gd name="T7" fmla="*/ 4 h 61"/>
                <a:gd name="T8" fmla="*/ 46 w 90"/>
                <a:gd name="T9" fmla="*/ 4 h 61"/>
                <a:gd name="T10" fmla="*/ 34 w 90"/>
                <a:gd name="T11" fmla="*/ 9 h 61"/>
                <a:gd name="T12" fmla="*/ 23 w 90"/>
                <a:gd name="T13" fmla="*/ 17 h 61"/>
                <a:gd name="T14" fmla="*/ 11 w 90"/>
                <a:gd name="T15" fmla="*/ 23 h 61"/>
                <a:gd name="T16" fmla="*/ 8 w 90"/>
                <a:gd name="T17" fmla="*/ 23 h 61"/>
                <a:gd name="T18" fmla="*/ 2 w 90"/>
                <a:gd name="T19" fmla="*/ 19 h 61"/>
                <a:gd name="T20" fmla="*/ 0 w 90"/>
                <a:gd name="T21" fmla="*/ 19 h 61"/>
                <a:gd name="T22" fmla="*/ 0 w 90"/>
                <a:gd name="T23" fmla="*/ 54 h 61"/>
                <a:gd name="T24" fmla="*/ 19 w 90"/>
                <a:gd name="T25" fmla="*/ 61 h 61"/>
                <a:gd name="T26" fmla="*/ 33 w 90"/>
                <a:gd name="T27" fmla="*/ 59 h 61"/>
                <a:gd name="T28" fmla="*/ 54 w 90"/>
                <a:gd name="T29" fmla="*/ 57 h 61"/>
                <a:gd name="T30" fmla="*/ 65 w 90"/>
                <a:gd name="T31" fmla="*/ 54 h 61"/>
                <a:gd name="T32" fmla="*/ 69 w 90"/>
                <a:gd name="T33" fmla="*/ 48 h 61"/>
                <a:gd name="T34" fmla="*/ 73 w 90"/>
                <a:gd name="T35" fmla="*/ 40 h 61"/>
                <a:gd name="T36" fmla="*/ 77 w 90"/>
                <a:gd name="T37" fmla="*/ 34 h 61"/>
                <a:gd name="T38" fmla="*/ 73 w 90"/>
                <a:gd name="T39" fmla="*/ 31 h 61"/>
                <a:gd name="T40" fmla="*/ 69 w 90"/>
                <a:gd name="T41" fmla="*/ 29 h 61"/>
                <a:gd name="T42" fmla="*/ 65 w 90"/>
                <a:gd name="T43" fmla="*/ 23 h 61"/>
                <a:gd name="T44" fmla="*/ 81 w 90"/>
                <a:gd name="T45" fmla="*/ 23 h 61"/>
                <a:gd name="T46" fmla="*/ 90 w 90"/>
                <a:gd name="T47" fmla="*/ 13 h 61"/>
                <a:gd name="T48" fmla="*/ 82 w 90"/>
                <a:gd name="T49" fmla="*/ 4 h 61"/>
                <a:gd name="T50" fmla="*/ 65 w 90"/>
                <a:gd name="T51" fmla="*/ 0 h 6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90"/>
                <a:gd name="T79" fmla="*/ 0 h 61"/>
                <a:gd name="T80" fmla="*/ 90 w 90"/>
                <a:gd name="T81" fmla="*/ 61 h 6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90" h="61">
                  <a:moveTo>
                    <a:pt x="65" y="0"/>
                  </a:moveTo>
                  <a:lnTo>
                    <a:pt x="61" y="7"/>
                  </a:lnTo>
                  <a:lnTo>
                    <a:pt x="57" y="7"/>
                  </a:lnTo>
                  <a:lnTo>
                    <a:pt x="54" y="4"/>
                  </a:lnTo>
                  <a:lnTo>
                    <a:pt x="46" y="4"/>
                  </a:lnTo>
                  <a:lnTo>
                    <a:pt x="34" y="9"/>
                  </a:lnTo>
                  <a:lnTo>
                    <a:pt x="23" y="17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54"/>
                  </a:lnTo>
                  <a:lnTo>
                    <a:pt x="19" y="61"/>
                  </a:lnTo>
                  <a:lnTo>
                    <a:pt x="33" y="59"/>
                  </a:lnTo>
                  <a:lnTo>
                    <a:pt x="54" y="57"/>
                  </a:lnTo>
                  <a:lnTo>
                    <a:pt x="65" y="54"/>
                  </a:lnTo>
                  <a:lnTo>
                    <a:pt x="69" y="48"/>
                  </a:lnTo>
                  <a:lnTo>
                    <a:pt x="73" y="40"/>
                  </a:lnTo>
                  <a:lnTo>
                    <a:pt x="77" y="34"/>
                  </a:lnTo>
                  <a:lnTo>
                    <a:pt x="73" y="31"/>
                  </a:lnTo>
                  <a:lnTo>
                    <a:pt x="69" y="29"/>
                  </a:lnTo>
                  <a:lnTo>
                    <a:pt x="65" y="23"/>
                  </a:lnTo>
                  <a:lnTo>
                    <a:pt x="81" y="23"/>
                  </a:lnTo>
                  <a:lnTo>
                    <a:pt x="90" y="13"/>
                  </a:lnTo>
                  <a:lnTo>
                    <a:pt x="82" y="4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59" name="Freeform 264"/>
            <p:cNvSpPr>
              <a:spLocks/>
            </p:cNvSpPr>
            <p:nvPr/>
          </p:nvSpPr>
          <p:spPr bwMode="gray">
            <a:xfrm>
              <a:off x="1488" y="1337"/>
              <a:ext cx="103" cy="58"/>
            </a:xfrm>
            <a:custGeom>
              <a:avLst/>
              <a:gdLst>
                <a:gd name="T0" fmla="*/ 173 w 207"/>
                <a:gd name="T1" fmla="*/ 4 h 116"/>
                <a:gd name="T2" fmla="*/ 169 w 207"/>
                <a:gd name="T3" fmla="*/ 12 h 116"/>
                <a:gd name="T4" fmla="*/ 160 w 207"/>
                <a:gd name="T5" fmla="*/ 22 h 116"/>
                <a:gd name="T6" fmla="*/ 138 w 207"/>
                <a:gd name="T7" fmla="*/ 16 h 116"/>
                <a:gd name="T8" fmla="*/ 110 w 207"/>
                <a:gd name="T9" fmla="*/ 20 h 116"/>
                <a:gd name="T10" fmla="*/ 87 w 207"/>
                <a:gd name="T11" fmla="*/ 31 h 116"/>
                <a:gd name="T12" fmla="*/ 65 w 207"/>
                <a:gd name="T13" fmla="*/ 50 h 116"/>
                <a:gd name="T14" fmla="*/ 58 w 207"/>
                <a:gd name="T15" fmla="*/ 47 h 116"/>
                <a:gd name="T16" fmla="*/ 52 w 207"/>
                <a:gd name="T17" fmla="*/ 50 h 116"/>
                <a:gd name="T18" fmla="*/ 42 w 207"/>
                <a:gd name="T19" fmla="*/ 62 h 116"/>
                <a:gd name="T20" fmla="*/ 39 w 207"/>
                <a:gd name="T21" fmla="*/ 73 h 116"/>
                <a:gd name="T22" fmla="*/ 16 w 207"/>
                <a:gd name="T23" fmla="*/ 75 h 116"/>
                <a:gd name="T24" fmla="*/ 0 w 207"/>
                <a:gd name="T25" fmla="*/ 85 h 116"/>
                <a:gd name="T26" fmla="*/ 19 w 207"/>
                <a:gd name="T27" fmla="*/ 104 h 116"/>
                <a:gd name="T28" fmla="*/ 50 w 207"/>
                <a:gd name="T29" fmla="*/ 104 h 116"/>
                <a:gd name="T30" fmla="*/ 52 w 207"/>
                <a:gd name="T31" fmla="*/ 110 h 116"/>
                <a:gd name="T32" fmla="*/ 62 w 207"/>
                <a:gd name="T33" fmla="*/ 110 h 116"/>
                <a:gd name="T34" fmla="*/ 65 w 207"/>
                <a:gd name="T35" fmla="*/ 104 h 116"/>
                <a:gd name="T36" fmla="*/ 73 w 207"/>
                <a:gd name="T37" fmla="*/ 108 h 116"/>
                <a:gd name="T38" fmla="*/ 81 w 207"/>
                <a:gd name="T39" fmla="*/ 108 h 116"/>
                <a:gd name="T40" fmla="*/ 90 w 207"/>
                <a:gd name="T41" fmla="*/ 110 h 116"/>
                <a:gd name="T42" fmla="*/ 104 w 207"/>
                <a:gd name="T43" fmla="*/ 100 h 116"/>
                <a:gd name="T44" fmla="*/ 106 w 207"/>
                <a:gd name="T45" fmla="*/ 85 h 116"/>
                <a:gd name="T46" fmla="*/ 108 w 207"/>
                <a:gd name="T47" fmla="*/ 89 h 116"/>
                <a:gd name="T48" fmla="*/ 115 w 207"/>
                <a:gd name="T49" fmla="*/ 85 h 116"/>
                <a:gd name="T50" fmla="*/ 125 w 207"/>
                <a:gd name="T51" fmla="*/ 77 h 116"/>
                <a:gd name="T52" fmla="*/ 123 w 207"/>
                <a:gd name="T53" fmla="*/ 62 h 116"/>
                <a:gd name="T54" fmla="*/ 131 w 207"/>
                <a:gd name="T55" fmla="*/ 64 h 116"/>
                <a:gd name="T56" fmla="*/ 136 w 207"/>
                <a:gd name="T57" fmla="*/ 62 h 116"/>
                <a:gd name="T58" fmla="*/ 138 w 207"/>
                <a:gd name="T59" fmla="*/ 50 h 116"/>
                <a:gd name="T60" fmla="*/ 146 w 207"/>
                <a:gd name="T61" fmla="*/ 58 h 116"/>
                <a:gd name="T62" fmla="*/ 144 w 207"/>
                <a:gd name="T63" fmla="*/ 77 h 116"/>
                <a:gd name="T64" fmla="*/ 154 w 207"/>
                <a:gd name="T65" fmla="*/ 81 h 116"/>
                <a:gd name="T66" fmla="*/ 181 w 207"/>
                <a:gd name="T67" fmla="*/ 54 h 116"/>
                <a:gd name="T68" fmla="*/ 184 w 207"/>
                <a:gd name="T69" fmla="*/ 45 h 116"/>
                <a:gd name="T70" fmla="*/ 200 w 207"/>
                <a:gd name="T71" fmla="*/ 47 h 116"/>
                <a:gd name="T72" fmla="*/ 196 w 207"/>
                <a:gd name="T73" fmla="*/ 41 h 116"/>
                <a:gd name="T74" fmla="*/ 204 w 207"/>
                <a:gd name="T75" fmla="*/ 35 h 116"/>
                <a:gd name="T76" fmla="*/ 207 w 207"/>
                <a:gd name="T77" fmla="*/ 24 h 116"/>
                <a:gd name="T78" fmla="*/ 190 w 207"/>
                <a:gd name="T79" fmla="*/ 4 h 11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7"/>
                <a:gd name="T121" fmla="*/ 0 h 116"/>
                <a:gd name="T122" fmla="*/ 207 w 207"/>
                <a:gd name="T123" fmla="*/ 116 h 11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7" h="116">
                  <a:moveTo>
                    <a:pt x="177" y="0"/>
                  </a:moveTo>
                  <a:lnTo>
                    <a:pt x="173" y="4"/>
                  </a:lnTo>
                  <a:lnTo>
                    <a:pt x="167" y="12"/>
                  </a:lnTo>
                  <a:lnTo>
                    <a:pt x="169" y="12"/>
                  </a:lnTo>
                  <a:lnTo>
                    <a:pt x="163" y="16"/>
                  </a:lnTo>
                  <a:lnTo>
                    <a:pt x="160" y="22"/>
                  </a:lnTo>
                  <a:lnTo>
                    <a:pt x="150" y="24"/>
                  </a:lnTo>
                  <a:lnTo>
                    <a:pt x="138" y="16"/>
                  </a:lnTo>
                  <a:lnTo>
                    <a:pt x="125" y="16"/>
                  </a:lnTo>
                  <a:lnTo>
                    <a:pt x="110" y="20"/>
                  </a:lnTo>
                  <a:lnTo>
                    <a:pt x="96" y="24"/>
                  </a:lnTo>
                  <a:lnTo>
                    <a:pt x="87" y="31"/>
                  </a:lnTo>
                  <a:lnTo>
                    <a:pt x="75" y="43"/>
                  </a:lnTo>
                  <a:lnTo>
                    <a:pt x="65" y="50"/>
                  </a:lnTo>
                  <a:lnTo>
                    <a:pt x="60" y="50"/>
                  </a:lnTo>
                  <a:lnTo>
                    <a:pt x="58" y="47"/>
                  </a:lnTo>
                  <a:lnTo>
                    <a:pt x="54" y="47"/>
                  </a:lnTo>
                  <a:lnTo>
                    <a:pt x="52" y="50"/>
                  </a:lnTo>
                  <a:lnTo>
                    <a:pt x="48" y="56"/>
                  </a:lnTo>
                  <a:lnTo>
                    <a:pt x="42" y="62"/>
                  </a:lnTo>
                  <a:lnTo>
                    <a:pt x="39" y="62"/>
                  </a:lnTo>
                  <a:lnTo>
                    <a:pt x="39" y="73"/>
                  </a:lnTo>
                  <a:lnTo>
                    <a:pt x="19" y="73"/>
                  </a:lnTo>
                  <a:lnTo>
                    <a:pt x="16" y="75"/>
                  </a:lnTo>
                  <a:lnTo>
                    <a:pt x="6" y="81"/>
                  </a:lnTo>
                  <a:lnTo>
                    <a:pt x="0" y="85"/>
                  </a:lnTo>
                  <a:lnTo>
                    <a:pt x="10" y="93"/>
                  </a:lnTo>
                  <a:lnTo>
                    <a:pt x="19" y="104"/>
                  </a:lnTo>
                  <a:lnTo>
                    <a:pt x="27" y="116"/>
                  </a:lnTo>
                  <a:lnTo>
                    <a:pt x="50" y="104"/>
                  </a:lnTo>
                  <a:lnTo>
                    <a:pt x="50" y="106"/>
                  </a:lnTo>
                  <a:lnTo>
                    <a:pt x="52" y="110"/>
                  </a:lnTo>
                  <a:lnTo>
                    <a:pt x="58" y="112"/>
                  </a:lnTo>
                  <a:lnTo>
                    <a:pt x="62" y="110"/>
                  </a:lnTo>
                  <a:lnTo>
                    <a:pt x="65" y="106"/>
                  </a:lnTo>
                  <a:lnTo>
                    <a:pt x="65" y="104"/>
                  </a:lnTo>
                  <a:lnTo>
                    <a:pt x="67" y="104"/>
                  </a:lnTo>
                  <a:lnTo>
                    <a:pt x="73" y="108"/>
                  </a:lnTo>
                  <a:lnTo>
                    <a:pt x="73" y="93"/>
                  </a:lnTo>
                  <a:lnTo>
                    <a:pt x="81" y="108"/>
                  </a:lnTo>
                  <a:lnTo>
                    <a:pt x="85" y="110"/>
                  </a:lnTo>
                  <a:lnTo>
                    <a:pt x="90" y="110"/>
                  </a:lnTo>
                  <a:lnTo>
                    <a:pt x="92" y="112"/>
                  </a:lnTo>
                  <a:lnTo>
                    <a:pt x="104" y="100"/>
                  </a:lnTo>
                  <a:lnTo>
                    <a:pt x="106" y="91"/>
                  </a:lnTo>
                  <a:lnTo>
                    <a:pt x="106" y="85"/>
                  </a:lnTo>
                  <a:lnTo>
                    <a:pt x="106" y="87"/>
                  </a:lnTo>
                  <a:lnTo>
                    <a:pt x="108" y="89"/>
                  </a:lnTo>
                  <a:lnTo>
                    <a:pt x="115" y="93"/>
                  </a:lnTo>
                  <a:lnTo>
                    <a:pt x="115" y="85"/>
                  </a:lnTo>
                  <a:lnTo>
                    <a:pt x="123" y="85"/>
                  </a:lnTo>
                  <a:lnTo>
                    <a:pt x="125" y="77"/>
                  </a:lnTo>
                  <a:lnTo>
                    <a:pt x="123" y="70"/>
                  </a:lnTo>
                  <a:lnTo>
                    <a:pt x="123" y="62"/>
                  </a:lnTo>
                  <a:lnTo>
                    <a:pt x="127" y="60"/>
                  </a:lnTo>
                  <a:lnTo>
                    <a:pt x="131" y="64"/>
                  </a:lnTo>
                  <a:lnTo>
                    <a:pt x="135" y="66"/>
                  </a:lnTo>
                  <a:lnTo>
                    <a:pt x="136" y="62"/>
                  </a:lnTo>
                  <a:lnTo>
                    <a:pt x="136" y="56"/>
                  </a:lnTo>
                  <a:lnTo>
                    <a:pt x="138" y="50"/>
                  </a:lnTo>
                  <a:lnTo>
                    <a:pt x="150" y="50"/>
                  </a:lnTo>
                  <a:lnTo>
                    <a:pt x="146" y="58"/>
                  </a:lnTo>
                  <a:lnTo>
                    <a:pt x="138" y="77"/>
                  </a:lnTo>
                  <a:lnTo>
                    <a:pt x="144" y="77"/>
                  </a:lnTo>
                  <a:lnTo>
                    <a:pt x="148" y="79"/>
                  </a:lnTo>
                  <a:lnTo>
                    <a:pt x="154" y="81"/>
                  </a:lnTo>
                  <a:lnTo>
                    <a:pt x="167" y="70"/>
                  </a:lnTo>
                  <a:lnTo>
                    <a:pt x="181" y="54"/>
                  </a:lnTo>
                  <a:lnTo>
                    <a:pt x="177" y="43"/>
                  </a:lnTo>
                  <a:lnTo>
                    <a:pt x="184" y="45"/>
                  </a:lnTo>
                  <a:lnTo>
                    <a:pt x="190" y="45"/>
                  </a:lnTo>
                  <a:lnTo>
                    <a:pt x="200" y="47"/>
                  </a:lnTo>
                  <a:lnTo>
                    <a:pt x="200" y="43"/>
                  </a:lnTo>
                  <a:lnTo>
                    <a:pt x="196" y="41"/>
                  </a:lnTo>
                  <a:lnTo>
                    <a:pt x="196" y="35"/>
                  </a:lnTo>
                  <a:lnTo>
                    <a:pt x="204" y="35"/>
                  </a:lnTo>
                  <a:lnTo>
                    <a:pt x="202" y="29"/>
                  </a:lnTo>
                  <a:lnTo>
                    <a:pt x="207" y="24"/>
                  </a:lnTo>
                  <a:lnTo>
                    <a:pt x="202" y="10"/>
                  </a:lnTo>
                  <a:lnTo>
                    <a:pt x="190" y="4"/>
                  </a:lnTo>
                  <a:lnTo>
                    <a:pt x="177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0" name="Freeform 265"/>
            <p:cNvSpPr>
              <a:spLocks/>
            </p:cNvSpPr>
            <p:nvPr/>
          </p:nvSpPr>
          <p:spPr bwMode="gray">
            <a:xfrm>
              <a:off x="1837" y="1343"/>
              <a:ext cx="39" cy="13"/>
            </a:xfrm>
            <a:custGeom>
              <a:avLst/>
              <a:gdLst>
                <a:gd name="T0" fmla="*/ 50 w 79"/>
                <a:gd name="T1" fmla="*/ 0 h 27"/>
                <a:gd name="T2" fmla="*/ 42 w 79"/>
                <a:gd name="T3" fmla="*/ 4 h 27"/>
                <a:gd name="T4" fmla="*/ 23 w 79"/>
                <a:gd name="T5" fmla="*/ 12 h 27"/>
                <a:gd name="T6" fmla="*/ 25 w 79"/>
                <a:gd name="T7" fmla="*/ 12 h 27"/>
                <a:gd name="T8" fmla="*/ 15 w 79"/>
                <a:gd name="T9" fmla="*/ 12 h 27"/>
                <a:gd name="T10" fmla="*/ 11 w 79"/>
                <a:gd name="T11" fmla="*/ 10 h 27"/>
                <a:gd name="T12" fmla="*/ 9 w 79"/>
                <a:gd name="T13" fmla="*/ 10 h 27"/>
                <a:gd name="T14" fmla="*/ 4 w 79"/>
                <a:gd name="T15" fmla="*/ 8 h 27"/>
                <a:gd name="T16" fmla="*/ 0 w 79"/>
                <a:gd name="T17" fmla="*/ 19 h 27"/>
                <a:gd name="T18" fmla="*/ 6 w 79"/>
                <a:gd name="T19" fmla="*/ 17 h 27"/>
                <a:gd name="T20" fmla="*/ 9 w 79"/>
                <a:gd name="T21" fmla="*/ 15 h 27"/>
                <a:gd name="T22" fmla="*/ 15 w 79"/>
                <a:gd name="T23" fmla="*/ 15 h 27"/>
                <a:gd name="T24" fmla="*/ 25 w 79"/>
                <a:gd name="T25" fmla="*/ 17 h 27"/>
                <a:gd name="T26" fmla="*/ 38 w 79"/>
                <a:gd name="T27" fmla="*/ 23 h 27"/>
                <a:gd name="T28" fmla="*/ 50 w 79"/>
                <a:gd name="T29" fmla="*/ 27 h 27"/>
                <a:gd name="T30" fmla="*/ 79 w 79"/>
                <a:gd name="T31" fmla="*/ 17 h 27"/>
                <a:gd name="T32" fmla="*/ 79 w 79"/>
                <a:gd name="T33" fmla="*/ 4 h 27"/>
                <a:gd name="T34" fmla="*/ 50 w 79"/>
                <a:gd name="T35" fmla="*/ 0 h 2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9"/>
                <a:gd name="T55" fmla="*/ 0 h 27"/>
                <a:gd name="T56" fmla="*/ 79 w 79"/>
                <a:gd name="T57" fmla="*/ 27 h 2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9" h="27">
                  <a:moveTo>
                    <a:pt x="50" y="0"/>
                  </a:moveTo>
                  <a:lnTo>
                    <a:pt x="42" y="4"/>
                  </a:lnTo>
                  <a:lnTo>
                    <a:pt x="23" y="12"/>
                  </a:lnTo>
                  <a:lnTo>
                    <a:pt x="25" y="12"/>
                  </a:lnTo>
                  <a:lnTo>
                    <a:pt x="15" y="12"/>
                  </a:lnTo>
                  <a:lnTo>
                    <a:pt x="11" y="10"/>
                  </a:lnTo>
                  <a:lnTo>
                    <a:pt x="9" y="1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6" y="17"/>
                  </a:lnTo>
                  <a:lnTo>
                    <a:pt x="9" y="15"/>
                  </a:lnTo>
                  <a:lnTo>
                    <a:pt x="15" y="15"/>
                  </a:lnTo>
                  <a:lnTo>
                    <a:pt x="25" y="17"/>
                  </a:lnTo>
                  <a:lnTo>
                    <a:pt x="38" y="23"/>
                  </a:lnTo>
                  <a:lnTo>
                    <a:pt x="50" y="27"/>
                  </a:lnTo>
                  <a:lnTo>
                    <a:pt x="79" y="17"/>
                  </a:lnTo>
                  <a:lnTo>
                    <a:pt x="79" y="4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1" name="Freeform 266"/>
            <p:cNvSpPr>
              <a:spLocks/>
            </p:cNvSpPr>
            <p:nvPr/>
          </p:nvSpPr>
          <p:spPr bwMode="gray">
            <a:xfrm>
              <a:off x="1578" y="1360"/>
              <a:ext cx="137" cy="70"/>
            </a:xfrm>
            <a:custGeom>
              <a:avLst/>
              <a:gdLst>
                <a:gd name="T0" fmla="*/ 174 w 274"/>
                <a:gd name="T1" fmla="*/ 3 h 140"/>
                <a:gd name="T2" fmla="*/ 170 w 274"/>
                <a:gd name="T3" fmla="*/ 17 h 140"/>
                <a:gd name="T4" fmla="*/ 169 w 274"/>
                <a:gd name="T5" fmla="*/ 42 h 140"/>
                <a:gd name="T6" fmla="*/ 184 w 274"/>
                <a:gd name="T7" fmla="*/ 50 h 140"/>
                <a:gd name="T8" fmla="*/ 178 w 274"/>
                <a:gd name="T9" fmla="*/ 65 h 140"/>
                <a:gd name="T10" fmla="*/ 192 w 274"/>
                <a:gd name="T11" fmla="*/ 76 h 140"/>
                <a:gd name="T12" fmla="*/ 153 w 274"/>
                <a:gd name="T13" fmla="*/ 75 h 140"/>
                <a:gd name="T14" fmla="*/ 126 w 274"/>
                <a:gd name="T15" fmla="*/ 67 h 140"/>
                <a:gd name="T16" fmla="*/ 111 w 274"/>
                <a:gd name="T17" fmla="*/ 53 h 140"/>
                <a:gd name="T18" fmla="*/ 98 w 274"/>
                <a:gd name="T19" fmla="*/ 53 h 140"/>
                <a:gd name="T20" fmla="*/ 86 w 274"/>
                <a:gd name="T21" fmla="*/ 50 h 140"/>
                <a:gd name="T22" fmla="*/ 73 w 274"/>
                <a:gd name="T23" fmla="*/ 42 h 140"/>
                <a:gd name="T24" fmla="*/ 38 w 274"/>
                <a:gd name="T25" fmla="*/ 38 h 140"/>
                <a:gd name="T26" fmla="*/ 23 w 274"/>
                <a:gd name="T27" fmla="*/ 42 h 140"/>
                <a:gd name="T28" fmla="*/ 15 w 274"/>
                <a:gd name="T29" fmla="*/ 61 h 140"/>
                <a:gd name="T30" fmla="*/ 19 w 274"/>
                <a:gd name="T31" fmla="*/ 65 h 140"/>
                <a:gd name="T32" fmla="*/ 3 w 274"/>
                <a:gd name="T33" fmla="*/ 80 h 140"/>
                <a:gd name="T34" fmla="*/ 19 w 274"/>
                <a:gd name="T35" fmla="*/ 82 h 140"/>
                <a:gd name="T36" fmla="*/ 0 w 274"/>
                <a:gd name="T37" fmla="*/ 100 h 140"/>
                <a:gd name="T38" fmla="*/ 21 w 274"/>
                <a:gd name="T39" fmla="*/ 96 h 140"/>
                <a:gd name="T40" fmla="*/ 32 w 274"/>
                <a:gd name="T41" fmla="*/ 98 h 140"/>
                <a:gd name="T42" fmla="*/ 38 w 274"/>
                <a:gd name="T43" fmla="*/ 103 h 140"/>
                <a:gd name="T44" fmla="*/ 48 w 274"/>
                <a:gd name="T45" fmla="*/ 92 h 140"/>
                <a:gd name="T46" fmla="*/ 42 w 274"/>
                <a:gd name="T47" fmla="*/ 96 h 140"/>
                <a:gd name="T48" fmla="*/ 48 w 274"/>
                <a:gd name="T49" fmla="*/ 105 h 140"/>
                <a:gd name="T50" fmla="*/ 50 w 274"/>
                <a:gd name="T51" fmla="*/ 100 h 140"/>
                <a:gd name="T52" fmla="*/ 57 w 274"/>
                <a:gd name="T53" fmla="*/ 92 h 140"/>
                <a:gd name="T54" fmla="*/ 57 w 274"/>
                <a:gd name="T55" fmla="*/ 69 h 140"/>
                <a:gd name="T56" fmla="*/ 69 w 274"/>
                <a:gd name="T57" fmla="*/ 86 h 140"/>
                <a:gd name="T58" fmla="*/ 78 w 274"/>
                <a:gd name="T59" fmla="*/ 94 h 140"/>
                <a:gd name="T60" fmla="*/ 103 w 274"/>
                <a:gd name="T61" fmla="*/ 92 h 140"/>
                <a:gd name="T62" fmla="*/ 113 w 274"/>
                <a:gd name="T63" fmla="*/ 86 h 140"/>
                <a:gd name="T64" fmla="*/ 142 w 274"/>
                <a:gd name="T65" fmla="*/ 92 h 140"/>
                <a:gd name="T66" fmla="*/ 149 w 274"/>
                <a:gd name="T67" fmla="*/ 92 h 140"/>
                <a:gd name="T68" fmla="*/ 130 w 274"/>
                <a:gd name="T69" fmla="*/ 103 h 140"/>
                <a:gd name="T70" fmla="*/ 96 w 274"/>
                <a:gd name="T71" fmla="*/ 107 h 140"/>
                <a:gd name="T72" fmla="*/ 78 w 274"/>
                <a:gd name="T73" fmla="*/ 117 h 140"/>
                <a:gd name="T74" fmla="*/ 71 w 274"/>
                <a:gd name="T75" fmla="*/ 126 h 140"/>
                <a:gd name="T76" fmla="*/ 73 w 274"/>
                <a:gd name="T77" fmla="*/ 138 h 140"/>
                <a:gd name="T78" fmla="*/ 96 w 274"/>
                <a:gd name="T79" fmla="*/ 140 h 140"/>
                <a:gd name="T80" fmla="*/ 122 w 274"/>
                <a:gd name="T81" fmla="*/ 128 h 140"/>
                <a:gd name="T82" fmla="*/ 142 w 274"/>
                <a:gd name="T83" fmla="*/ 107 h 140"/>
                <a:gd name="T84" fmla="*/ 161 w 274"/>
                <a:gd name="T85" fmla="*/ 111 h 140"/>
                <a:gd name="T86" fmla="*/ 180 w 274"/>
                <a:gd name="T87" fmla="*/ 101 h 140"/>
                <a:gd name="T88" fmla="*/ 199 w 274"/>
                <a:gd name="T89" fmla="*/ 101 h 140"/>
                <a:gd name="T90" fmla="*/ 222 w 274"/>
                <a:gd name="T91" fmla="*/ 107 h 140"/>
                <a:gd name="T92" fmla="*/ 232 w 274"/>
                <a:gd name="T93" fmla="*/ 96 h 140"/>
                <a:gd name="T94" fmla="*/ 259 w 274"/>
                <a:gd name="T95" fmla="*/ 96 h 140"/>
                <a:gd name="T96" fmla="*/ 272 w 274"/>
                <a:gd name="T97" fmla="*/ 57 h 140"/>
                <a:gd name="T98" fmla="*/ 259 w 274"/>
                <a:gd name="T99" fmla="*/ 42 h 140"/>
                <a:gd name="T100" fmla="*/ 251 w 274"/>
                <a:gd name="T101" fmla="*/ 44 h 140"/>
                <a:gd name="T102" fmla="*/ 249 w 274"/>
                <a:gd name="T103" fmla="*/ 69 h 140"/>
                <a:gd name="T104" fmla="*/ 243 w 274"/>
                <a:gd name="T105" fmla="*/ 61 h 140"/>
                <a:gd name="T106" fmla="*/ 238 w 274"/>
                <a:gd name="T107" fmla="*/ 51 h 140"/>
                <a:gd name="T108" fmla="*/ 230 w 274"/>
                <a:gd name="T109" fmla="*/ 57 h 140"/>
                <a:gd name="T110" fmla="*/ 213 w 274"/>
                <a:gd name="T111" fmla="*/ 38 h 140"/>
                <a:gd name="T112" fmla="*/ 184 w 274"/>
                <a:gd name="T113" fmla="*/ 19 h 140"/>
                <a:gd name="T114" fmla="*/ 188 w 274"/>
                <a:gd name="T115" fmla="*/ 13 h 140"/>
                <a:gd name="T116" fmla="*/ 184 w 274"/>
                <a:gd name="T117" fmla="*/ 5 h 140"/>
                <a:gd name="T118" fmla="*/ 176 w 274"/>
                <a:gd name="T119" fmla="*/ 0 h 14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4"/>
                <a:gd name="T181" fmla="*/ 0 h 140"/>
                <a:gd name="T182" fmla="*/ 274 w 274"/>
                <a:gd name="T183" fmla="*/ 140 h 14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4" h="140">
                  <a:moveTo>
                    <a:pt x="176" y="0"/>
                  </a:moveTo>
                  <a:lnTo>
                    <a:pt x="174" y="3"/>
                  </a:lnTo>
                  <a:lnTo>
                    <a:pt x="169" y="3"/>
                  </a:lnTo>
                  <a:lnTo>
                    <a:pt x="170" y="17"/>
                  </a:lnTo>
                  <a:lnTo>
                    <a:pt x="170" y="26"/>
                  </a:lnTo>
                  <a:lnTo>
                    <a:pt x="169" y="42"/>
                  </a:lnTo>
                  <a:lnTo>
                    <a:pt x="180" y="46"/>
                  </a:lnTo>
                  <a:lnTo>
                    <a:pt x="184" y="50"/>
                  </a:lnTo>
                  <a:lnTo>
                    <a:pt x="180" y="57"/>
                  </a:lnTo>
                  <a:lnTo>
                    <a:pt x="178" y="65"/>
                  </a:lnTo>
                  <a:lnTo>
                    <a:pt x="188" y="65"/>
                  </a:lnTo>
                  <a:lnTo>
                    <a:pt x="192" y="76"/>
                  </a:lnTo>
                  <a:lnTo>
                    <a:pt x="174" y="76"/>
                  </a:lnTo>
                  <a:lnTo>
                    <a:pt x="153" y="75"/>
                  </a:lnTo>
                  <a:lnTo>
                    <a:pt x="134" y="73"/>
                  </a:lnTo>
                  <a:lnTo>
                    <a:pt x="126" y="67"/>
                  </a:lnTo>
                  <a:lnTo>
                    <a:pt x="119" y="59"/>
                  </a:lnTo>
                  <a:lnTo>
                    <a:pt x="111" y="53"/>
                  </a:lnTo>
                  <a:lnTo>
                    <a:pt x="105" y="51"/>
                  </a:lnTo>
                  <a:lnTo>
                    <a:pt x="98" y="53"/>
                  </a:lnTo>
                  <a:lnTo>
                    <a:pt x="92" y="53"/>
                  </a:lnTo>
                  <a:lnTo>
                    <a:pt x="86" y="50"/>
                  </a:lnTo>
                  <a:lnTo>
                    <a:pt x="78" y="44"/>
                  </a:lnTo>
                  <a:lnTo>
                    <a:pt x="73" y="42"/>
                  </a:lnTo>
                  <a:lnTo>
                    <a:pt x="50" y="38"/>
                  </a:lnTo>
                  <a:lnTo>
                    <a:pt x="38" y="38"/>
                  </a:lnTo>
                  <a:lnTo>
                    <a:pt x="34" y="46"/>
                  </a:lnTo>
                  <a:lnTo>
                    <a:pt x="23" y="42"/>
                  </a:lnTo>
                  <a:lnTo>
                    <a:pt x="15" y="42"/>
                  </a:lnTo>
                  <a:lnTo>
                    <a:pt x="15" y="61"/>
                  </a:lnTo>
                  <a:lnTo>
                    <a:pt x="30" y="59"/>
                  </a:lnTo>
                  <a:lnTo>
                    <a:pt x="19" y="65"/>
                  </a:lnTo>
                  <a:lnTo>
                    <a:pt x="3" y="69"/>
                  </a:lnTo>
                  <a:lnTo>
                    <a:pt x="3" y="80"/>
                  </a:lnTo>
                  <a:lnTo>
                    <a:pt x="26" y="78"/>
                  </a:lnTo>
                  <a:lnTo>
                    <a:pt x="19" y="82"/>
                  </a:lnTo>
                  <a:lnTo>
                    <a:pt x="0" y="88"/>
                  </a:lnTo>
                  <a:lnTo>
                    <a:pt x="0" y="100"/>
                  </a:lnTo>
                  <a:lnTo>
                    <a:pt x="11" y="98"/>
                  </a:lnTo>
                  <a:lnTo>
                    <a:pt x="21" y="96"/>
                  </a:lnTo>
                  <a:lnTo>
                    <a:pt x="30" y="96"/>
                  </a:lnTo>
                  <a:lnTo>
                    <a:pt x="32" y="98"/>
                  </a:lnTo>
                  <a:lnTo>
                    <a:pt x="32" y="101"/>
                  </a:lnTo>
                  <a:lnTo>
                    <a:pt x="38" y="103"/>
                  </a:lnTo>
                  <a:lnTo>
                    <a:pt x="38" y="92"/>
                  </a:lnTo>
                  <a:lnTo>
                    <a:pt x="48" y="92"/>
                  </a:lnTo>
                  <a:lnTo>
                    <a:pt x="46" y="96"/>
                  </a:lnTo>
                  <a:lnTo>
                    <a:pt x="42" y="96"/>
                  </a:lnTo>
                  <a:lnTo>
                    <a:pt x="46" y="107"/>
                  </a:lnTo>
                  <a:lnTo>
                    <a:pt x="48" y="105"/>
                  </a:lnTo>
                  <a:lnTo>
                    <a:pt x="51" y="103"/>
                  </a:lnTo>
                  <a:lnTo>
                    <a:pt x="50" y="100"/>
                  </a:lnTo>
                  <a:lnTo>
                    <a:pt x="57" y="100"/>
                  </a:lnTo>
                  <a:lnTo>
                    <a:pt x="57" y="92"/>
                  </a:lnTo>
                  <a:lnTo>
                    <a:pt x="55" y="78"/>
                  </a:lnTo>
                  <a:lnTo>
                    <a:pt x="57" y="69"/>
                  </a:lnTo>
                  <a:lnTo>
                    <a:pt x="67" y="71"/>
                  </a:lnTo>
                  <a:lnTo>
                    <a:pt x="69" y="86"/>
                  </a:lnTo>
                  <a:lnTo>
                    <a:pt x="65" y="96"/>
                  </a:lnTo>
                  <a:lnTo>
                    <a:pt x="78" y="94"/>
                  </a:lnTo>
                  <a:lnTo>
                    <a:pt x="88" y="94"/>
                  </a:lnTo>
                  <a:lnTo>
                    <a:pt x="103" y="92"/>
                  </a:lnTo>
                  <a:lnTo>
                    <a:pt x="103" y="84"/>
                  </a:lnTo>
                  <a:lnTo>
                    <a:pt x="113" y="86"/>
                  </a:lnTo>
                  <a:lnTo>
                    <a:pt x="126" y="92"/>
                  </a:lnTo>
                  <a:lnTo>
                    <a:pt x="142" y="92"/>
                  </a:lnTo>
                  <a:lnTo>
                    <a:pt x="153" y="80"/>
                  </a:lnTo>
                  <a:lnTo>
                    <a:pt x="149" y="92"/>
                  </a:lnTo>
                  <a:lnTo>
                    <a:pt x="145" y="96"/>
                  </a:lnTo>
                  <a:lnTo>
                    <a:pt x="130" y="103"/>
                  </a:lnTo>
                  <a:lnTo>
                    <a:pt x="117" y="103"/>
                  </a:lnTo>
                  <a:lnTo>
                    <a:pt x="96" y="107"/>
                  </a:lnTo>
                  <a:lnTo>
                    <a:pt x="90" y="111"/>
                  </a:lnTo>
                  <a:lnTo>
                    <a:pt x="78" y="117"/>
                  </a:lnTo>
                  <a:lnTo>
                    <a:pt x="69" y="123"/>
                  </a:lnTo>
                  <a:lnTo>
                    <a:pt x="71" y="126"/>
                  </a:lnTo>
                  <a:lnTo>
                    <a:pt x="71" y="132"/>
                  </a:lnTo>
                  <a:lnTo>
                    <a:pt x="73" y="138"/>
                  </a:lnTo>
                  <a:lnTo>
                    <a:pt x="84" y="138"/>
                  </a:lnTo>
                  <a:lnTo>
                    <a:pt x="96" y="140"/>
                  </a:lnTo>
                  <a:lnTo>
                    <a:pt x="111" y="138"/>
                  </a:lnTo>
                  <a:lnTo>
                    <a:pt x="122" y="128"/>
                  </a:lnTo>
                  <a:lnTo>
                    <a:pt x="132" y="115"/>
                  </a:lnTo>
                  <a:lnTo>
                    <a:pt x="142" y="107"/>
                  </a:lnTo>
                  <a:lnTo>
                    <a:pt x="145" y="107"/>
                  </a:lnTo>
                  <a:lnTo>
                    <a:pt x="161" y="111"/>
                  </a:lnTo>
                  <a:lnTo>
                    <a:pt x="170" y="107"/>
                  </a:lnTo>
                  <a:lnTo>
                    <a:pt x="180" y="101"/>
                  </a:lnTo>
                  <a:lnTo>
                    <a:pt x="188" y="100"/>
                  </a:lnTo>
                  <a:lnTo>
                    <a:pt x="199" y="101"/>
                  </a:lnTo>
                  <a:lnTo>
                    <a:pt x="209" y="107"/>
                  </a:lnTo>
                  <a:lnTo>
                    <a:pt x="222" y="107"/>
                  </a:lnTo>
                  <a:lnTo>
                    <a:pt x="222" y="96"/>
                  </a:lnTo>
                  <a:lnTo>
                    <a:pt x="232" y="96"/>
                  </a:lnTo>
                  <a:lnTo>
                    <a:pt x="230" y="100"/>
                  </a:lnTo>
                  <a:lnTo>
                    <a:pt x="259" y="96"/>
                  </a:lnTo>
                  <a:lnTo>
                    <a:pt x="274" y="84"/>
                  </a:lnTo>
                  <a:lnTo>
                    <a:pt x="272" y="57"/>
                  </a:lnTo>
                  <a:lnTo>
                    <a:pt x="266" y="44"/>
                  </a:lnTo>
                  <a:lnTo>
                    <a:pt x="259" y="42"/>
                  </a:lnTo>
                  <a:lnTo>
                    <a:pt x="249" y="38"/>
                  </a:lnTo>
                  <a:lnTo>
                    <a:pt x="251" y="44"/>
                  </a:lnTo>
                  <a:lnTo>
                    <a:pt x="249" y="57"/>
                  </a:lnTo>
                  <a:lnTo>
                    <a:pt x="249" y="69"/>
                  </a:lnTo>
                  <a:lnTo>
                    <a:pt x="241" y="67"/>
                  </a:lnTo>
                  <a:lnTo>
                    <a:pt x="243" y="61"/>
                  </a:lnTo>
                  <a:lnTo>
                    <a:pt x="241" y="53"/>
                  </a:lnTo>
                  <a:lnTo>
                    <a:pt x="238" y="51"/>
                  </a:lnTo>
                  <a:lnTo>
                    <a:pt x="232" y="55"/>
                  </a:lnTo>
                  <a:lnTo>
                    <a:pt x="230" y="57"/>
                  </a:lnTo>
                  <a:lnTo>
                    <a:pt x="230" y="38"/>
                  </a:lnTo>
                  <a:lnTo>
                    <a:pt x="213" y="38"/>
                  </a:lnTo>
                  <a:lnTo>
                    <a:pt x="199" y="30"/>
                  </a:lnTo>
                  <a:lnTo>
                    <a:pt x="184" y="19"/>
                  </a:lnTo>
                  <a:lnTo>
                    <a:pt x="186" y="15"/>
                  </a:lnTo>
                  <a:lnTo>
                    <a:pt x="188" y="13"/>
                  </a:lnTo>
                  <a:lnTo>
                    <a:pt x="188" y="7"/>
                  </a:lnTo>
                  <a:lnTo>
                    <a:pt x="184" y="5"/>
                  </a:lnTo>
                  <a:lnTo>
                    <a:pt x="180" y="1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2" name="Freeform 267"/>
            <p:cNvSpPr>
              <a:spLocks/>
            </p:cNvSpPr>
            <p:nvPr/>
          </p:nvSpPr>
          <p:spPr bwMode="gray">
            <a:xfrm>
              <a:off x="1833" y="1360"/>
              <a:ext cx="207" cy="69"/>
            </a:xfrm>
            <a:custGeom>
              <a:avLst/>
              <a:gdLst>
                <a:gd name="T0" fmla="*/ 8 w 415"/>
                <a:gd name="T1" fmla="*/ 19 h 138"/>
                <a:gd name="T2" fmla="*/ 46 w 415"/>
                <a:gd name="T3" fmla="*/ 38 h 138"/>
                <a:gd name="T4" fmla="*/ 69 w 415"/>
                <a:gd name="T5" fmla="*/ 40 h 138"/>
                <a:gd name="T6" fmla="*/ 88 w 415"/>
                <a:gd name="T7" fmla="*/ 48 h 138"/>
                <a:gd name="T8" fmla="*/ 113 w 415"/>
                <a:gd name="T9" fmla="*/ 84 h 138"/>
                <a:gd name="T10" fmla="*/ 110 w 415"/>
                <a:gd name="T11" fmla="*/ 115 h 138"/>
                <a:gd name="T12" fmla="*/ 119 w 415"/>
                <a:gd name="T13" fmla="*/ 136 h 138"/>
                <a:gd name="T14" fmla="*/ 125 w 415"/>
                <a:gd name="T15" fmla="*/ 126 h 138"/>
                <a:gd name="T16" fmla="*/ 136 w 415"/>
                <a:gd name="T17" fmla="*/ 138 h 138"/>
                <a:gd name="T18" fmla="*/ 148 w 415"/>
                <a:gd name="T19" fmla="*/ 130 h 138"/>
                <a:gd name="T20" fmla="*/ 177 w 415"/>
                <a:gd name="T21" fmla="*/ 111 h 138"/>
                <a:gd name="T22" fmla="*/ 184 w 415"/>
                <a:gd name="T23" fmla="*/ 134 h 138"/>
                <a:gd name="T24" fmla="*/ 229 w 415"/>
                <a:gd name="T25" fmla="*/ 124 h 138"/>
                <a:gd name="T26" fmla="*/ 236 w 415"/>
                <a:gd name="T27" fmla="*/ 128 h 138"/>
                <a:gd name="T28" fmla="*/ 254 w 415"/>
                <a:gd name="T29" fmla="*/ 128 h 138"/>
                <a:gd name="T30" fmla="*/ 265 w 415"/>
                <a:gd name="T31" fmla="*/ 134 h 138"/>
                <a:gd name="T32" fmla="*/ 292 w 415"/>
                <a:gd name="T33" fmla="*/ 126 h 138"/>
                <a:gd name="T34" fmla="*/ 311 w 415"/>
                <a:gd name="T35" fmla="*/ 130 h 138"/>
                <a:gd name="T36" fmla="*/ 317 w 415"/>
                <a:gd name="T37" fmla="*/ 117 h 138"/>
                <a:gd name="T38" fmla="*/ 330 w 415"/>
                <a:gd name="T39" fmla="*/ 130 h 138"/>
                <a:gd name="T40" fmla="*/ 342 w 415"/>
                <a:gd name="T41" fmla="*/ 126 h 138"/>
                <a:gd name="T42" fmla="*/ 399 w 415"/>
                <a:gd name="T43" fmla="*/ 103 h 138"/>
                <a:gd name="T44" fmla="*/ 415 w 415"/>
                <a:gd name="T45" fmla="*/ 96 h 138"/>
                <a:gd name="T46" fmla="*/ 394 w 415"/>
                <a:gd name="T47" fmla="*/ 73 h 138"/>
                <a:gd name="T48" fmla="*/ 373 w 415"/>
                <a:gd name="T49" fmla="*/ 73 h 138"/>
                <a:gd name="T50" fmla="*/ 359 w 415"/>
                <a:gd name="T51" fmla="*/ 63 h 138"/>
                <a:gd name="T52" fmla="*/ 330 w 415"/>
                <a:gd name="T53" fmla="*/ 57 h 138"/>
                <a:gd name="T54" fmla="*/ 317 w 415"/>
                <a:gd name="T55" fmla="*/ 61 h 138"/>
                <a:gd name="T56" fmla="*/ 305 w 415"/>
                <a:gd name="T57" fmla="*/ 57 h 138"/>
                <a:gd name="T58" fmla="*/ 257 w 415"/>
                <a:gd name="T59" fmla="*/ 71 h 138"/>
                <a:gd name="T60" fmla="*/ 215 w 415"/>
                <a:gd name="T61" fmla="*/ 80 h 138"/>
                <a:gd name="T62" fmla="*/ 207 w 415"/>
                <a:gd name="T63" fmla="*/ 73 h 138"/>
                <a:gd name="T64" fmla="*/ 196 w 415"/>
                <a:gd name="T65" fmla="*/ 76 h 138"/>
                <a:gd name="T66" fmla="*/ 171 w 415"/>
                <a:gd name="T67" fmla="*/ 65 h 138"/>
                <a:gd name="T68" fmla="*/ 167 w 415"/>
                <a:gd name="T69" fmla="*/ 57 h 138"/>
                <a:gd name="T70" fmla="*/ 144 w 415"/>
                <a:gd name="T71" fmla="*/ 61 h 138"/>
                <a:gd name="T72" fmla="*/ 135 w 415"/>
                <a:gd name="T73" fmla="*/ 51 h 138"/>
                <a:gd name="T74" fmla="*/ 152 w 415"/>
                <a:gd name="T75" fmla="*/ 53 h 138"/>
                <a:gd name="T76" fmla="*/ 163 w 415"/>
                <a:gd name="T77" fmla="*/ 38 h 138"/>
                <a:gd name="T78" fmla="*/ 136 w 415"/>
                <a:gd name="T79" fmla="*/ 32 h 138"/>
                <a:gd name="T80" fmla="*/ 123 w 415"/>
                <a:gd name="T81" fmla="*/ 19 h 138"/>
                <a:gd name="T82" fmla="*/ 98 w 415"/>
                <a:gd name="T83" fmla="*/ 23 h 138"/>
                <a:gd name="T84" fmla="*/ 73 w 415"/>
                <a:gd name="T85" fmla="*/ 11 h 138"/>
                <a:gd name="T86" fmla="*/ 29 w 415"/>
                <a:gd name="T87" fmla="*/ 1 h 1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15"/>
                <a:gd name="T133" fmla="*/ 0 h 138"/>
                <a:gd name="T134" fmla="*/ 415 w 415"/>
                <a:gd name="T135" fmla="*/ 138 h 13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15" h="138">
                  <a:moveTo>
                    <a:pt x="12" y="0"/>
                  </a:moveTo>
                  <a:lnTo>
                    <a:pt x="0" y="11"/>
                  </a:lnTo>
                  <a:lnTo>
                    <a:pt x="8" y="19"/>
                  </a:lnTo>
                  <a:lnTo>
                    <a:pt x="16" y="30"/>
                  </a:lnTo>
                  <a:lnTo>
                    <a:pt x="23" y="38"/>
                  </a:lnTo>
                  <a:lnTo>
                    <a:pt x="46" y="38"/>
                  </a:lnTo>
                  <a:lnTo>
                    <a:pt x="54" y="46"/>
                  </a:lnTo>
                  <a:lnTo>
                    <a:pt x="64" y="44"/>
                  </a:lnTo>
                  <a:lnTo>
                    <a:pt x="69" y="40"/>
                  </a:lnTo>
                  <a:lnTo>
                    <a:pt x="77" y="38"/>
                  </a:lnTo>
                  <a:lnTo>
                    <a:pt x="81" y="46"/>
                  </a:lnTo>
                  <a:lnTo>
                    <a:pt x="88" y="48"/>
                  </a:lnTo>
                  <a:lnTo>
                    <a:pt x="104" y="57"/>
                  </a:lnTo>
                  <a:lnTo>
                    <a:pt x="115" y="73"/>
                  </a:lnTo>
                  <a:lnTo>
                    <a:pt x="113" y="84"/>
                  </a:lnTo>
                  <a:lnTo>
                    <a:pt x="110" y="94"/>
                  </a:lnTo>
                  <a:lnTo>
                    <a:pt x="108" y="103"/>
                  </a:lnTo>
                  <a:lnTo>
                    <a:pt x="110" y="115"/>
                  </a:lnTo>
                  <a:lnTo>
                    <a:pt x="113" y="126"/>
                  </a:lnTo>
                  <a:lnTo>
                    <a:pt x="115" y="138"/>
                  </a:lnTo>
                  <a:lnTo>
                    <a:pt x="119" y="136"/>
                  </a:lnTo>
                  <a:lnTo>
                    <a:pt x="121" y="134"/>
                  </a:lnTo>
                  <a:lnTo>
                    <a:pt x="125" y="134"/>
                  </a:lnTo>
                  <a:lnTo>
                    <a:pt x="125" y="126"/>
                  </a:lnTo>
                  <a:lnTo>
                    <a:pt x="133" y="128"/>
                  </a:lnTo>
                  <a:lnTo>
                    <a:pt x="135" y="134"/>
                  </a:lnTo>
                  <a:lnTo>
                    <a:pt x="136" y="138"/>
                  </a:lnTo>
                  <a:lnTo>
                    <a:pt x="140" y="136"/>
                  </a:lnTo>
                  <a:lnTo>
                    <a:pt x="144" y="132"/>
                  </a:lnTo>
                  <a:lnTo>
                    <a:pt x="148" y="130"/>
                  </a:lnTo>
                  <a:lnTo>
                    <a:pt x="165" y="126"/>
                  </a:lnTo>
                  <a:lnTo>
                    <a:pt x="171" y="123"/>
                  </a:lnTo>
                  <a:lnTo>
                    <a:pt x="177" y="111"/>
                  </a:lnTo>
                  <a:lnTo>
                    <a:pt x="179" y="117"/>
                  </a:lnTo>
                  <a:lnTo>
                    <a:pt x="183" y="126"/>
                  </a:lnTo>
                  <a:lnTo>
                    <a:pt x="184" y="134"/>
                  </a:lnTo>
                  <a:lnTo>
                    <a:pt x="223" y="134"/>
                  </a:lnTo>
                  <a:lnTo>
                    <a:pt x="225" y="130"/>
                  </a:lnTo>
                  <a:lnTo>
                    <a:pt x="229" y="124"/>
                  </a:lnTo>
                  <a:lnTo>
                    <a:pt x="230" y="123"/>
                  </a:lnTo>
                  <a:lnTo>
                    <a:pt x="236" y="124"/>
                  </a:lnTo>
                  <a:lnTo>
                    <a:pt x="236" y="128"/>
                  </a:lnTo>
                  <a:lnTo>
                    <a:pt x="238" y="134"/>
                  </a:lnTo>
                  <a:lnTo>
                    <a:pt x="248" y="130"/>
                  </a:lnTo>
                  <a:lnTo>
                    <a:pt x="254" y="128"/>
                  </a:lnTo>
                  <a:lnTo>
                    <a:pt x="261" y="126"/>
                  </a:lnTo>
                  <a:lnTo>
                    <a:pt x="261" y="134"/>
                  </a:lnTo>
                  <a:lnTo>
                    <a:pt x="265" y="134"/>
                  </a:lnTo>
                  <a:lnTo>
                    <a:pt x="273" y="132"/>
                  </a:lnTo>
                  <a:lnTo>
                    <a:pt x="284" y="128"/>
                  </a:lnTo>
                  <a:lnTo>
                    <a:pt x="292" y="126"/>
                  </a:lnTo>
                  <a:lnTo>
                    <a:pt x="296" y="126"/>
                  </a:lnTo>
                  <a:lnTo>
                    <a:pt x="303" y="130"/>
                  </a:lnTo>
                  <a:lnTo>
                    <a:pt x="311" y="130"/>
                  </a:lnTo>
                  <a:lnTo>
                    <a:pt x="319" y="123"/>
                  </a:lnTo>
                  <a:lnTo>
                    <a:pt x="315" y="119"/>
                  </a:lnTo>
                  <a:lnTo>
                    <a:pt x="317" y="117"/>
                  </a:lnTo>
                  <a:lnTo>
                    <a:pt x="323" y="115"/>
                  </a:lnTo>
                  <a:lnTo>
                    <a:pt x="326" y="126"/>
                  </a:lnTo>
                  <a:lnTo>
                    <a:pt x="330" y="130"/>
                  </a:lnTo>
                  <a:lnTo>
                    <a:pt x="334" y="126"/>
                  </a:lnTo>
                  <a:lnTo>
                    <a:pt x="342" y="123"/>
                  </a:lnTo>
                  <a:lnTo>
                    <a:pt x="342" y="126"/>
                  </a:lnTo>
                  <a:lnTo>
                    <a:pt x="396" y="126"/>
                  </a:lnTo>
                  <a:lnTo>
                    <a:pt x="396" y="109"/>
                  </a:lnTo>
                  <a:lnTo>
                    <a:pt x="399" y="103"/>
                  </a:lnTo>
                  <a:lnTo>
                    <a:pt x="403" y="100"/>
                  </a:lnTo>
                  <a:lnTo>
                    <a:pt x="411" y="98"/>
                  </a:lnTo>
                  <a:lnTo>
                    <a:pt x="415" y="96"/>
                  </a:lnTo>
                  <a:lnTo>
                    <a:pt x="415" y="84"/>
                  </a:lnTo>
                  <a:lnTo>
                    <a:pt x="407" y="80"/>
                  </a:lnTo>
                  <a:lnTo>
                    <a:pt x="394" y="73"/>
                  </a:lnTo>
                  <a:lnTo>
                    <a:pt x="388" y="69"/>
                  </a:lnTo>
                  <a:lnTo>
                    <a:pt x="378" y="69"/>
                  </a:lnTo>
                  <a:lnTo>
                    <a:pt x="373" y="73"/>
                  </a:lnTo>
                  <a:lnTo>
                    <a:pt x="365" y="73"/>
                  </a:lnTo>
                  <a:lnTo>
                    <a:pt x="361" y="69"/>
                  </a:lnTo>
                  <a:lnTo>
                    <a:pt x="359" y="63"/>
                  </a:lnTo>
                  <a:lnTo>
                    <a:pt x="357" y="61"/>
                  </a:lnTo>
                  <a:lnTo>
                    <a:pt x="338" y="57"/>
                  </a:lnTo>
                  <a:lnTo>
                    <a:pt x="330" y="57"/>
                  </a:lnTo>
                  <a:lnTo>
                    <a:pt x="326" y="65"/>
                  </a:lnTo>
                  <a:lnTo>
                    <a:pt x="321" y="65"/>
                  </a:lnTo>
                  <a:lnTo>
                    <a:pt x="317" y="61"/>
                  </a:lnTo>
                  <a:lnTo>
                    <a:pt x="311" y="61"/>
                  </a:lnTo>
                  <a:lnTo>
                    <a:pt x="311" y="59"/>
                  </a:lnTo>
                  <a:lnTo>
                    <a:pt x="305" y="57"/>
                  </a:lnTo>
                  <a:lnTo>
                    <a:pt x="300" y="57"/>
                  </a:lnTo>
                  <a:lnTo>
                    <a:pt x="284" y="65"/>
                  </a:lnTo>
                  <a:lnTo>
                    <a:pt x="257" y="71"/>
                  </a:lnTo>
                  <a:lnTo>
                    <a:pt x="238" y="73"/>
                  </a:lnTo>
                  <a:lnTo>
                    <a:pt x="215" y="69"/>
                  </a:lnTo>
                  <a:lnTo>
                    <a:pt x="215" y="80"/>
                  </a:lnTo>
                  <a:lnTo>
                    <a:pt x="211" y="78"/>
                  </a:lnTo>
                  <a:lnTo>
                    <a:pt x="209" y="75"/>
                  </a:lnTo>
                  <a:lnTo>
                    <a:pt x="207" y="73"/>
                  </a:lnTo>
                  <a:lnTo>
                    <a:pt x="202" y="73"/>
                  </a:lnTo>
                  <a:lnTo>
                    <a:pt x="200" y="75"/>
                  </a:lnTo>
                  <a:lnTo>
                    <a:pt x="196" y="76"/>
                  </a:lnTo>
                  <a:lnTo>
                    <a:pt x="188" y="75"/>
                  </a:lnTo>
                  <a:lnTo>
                    <a:pt x="179" y="69"/>
                  </a:lnTo>
                  <a:lnTo>
                    <a:pt x="171" y="65"/>
                  </a:lnTo>
                  <a:lnTo>
                    <a:pt x="171" y="69"/>
                  </a:lnTo>
                  <a:lnTo>
                    <a:pt x="167" y="73"/>
                  </a:lnTo>
                  <a:lnTo>
                    <a:pt x="167" y="57"/>
                  </a:lnTo>
                  <a:lnTo>
                    <a:pt x="161" y="57"/>
                  </a:lnTo>
                  <a:lnTo>
                    <a:pt x="150" y="61"/>
                  </a:lnTo>
                  <a:lnTo>
                    <a:pt x="144" y="61"/>
                  </a:lnTo>
                  <a:lnTo>
                    <a:pt x="144" y="53"/>
                  </a:lnTo>
                  <a:lnTo>
                    <a:pt x="138" y="51"/>
                  </a:lnTo>
                  <a:lnTo>
                    <a:pt x="135" y="51"/>
                  </a:lnTo>
                  <a:lnTo>
                    <a:pt x="133" y="50"/>
                  </a:lnTo>
                  <a:lnTo>
                    <a:pt x="140" y="50"/>
                  </a:lnTo>
                  <a:lnTo>
                    <a:pt x="152" y="53"/>
                  </a:lnTo>
                  <a:lnTo>
                    <a:pt x="158" y="48"/>
                  </a:lnTo>
                  <a:lnTo>
                    <a:pt x="163" y="46"/>
                  </a:lnTo>
                  <a:lnTo>
                    <a:pt x="163" y="38"/>
                  </a:lnTo>
                  <a:lnTo>
                    <a:pt x="152" y="38"/>
                  </a:lnTo>
                  <a:lnTo>
                    <a:pt x="144" y="36"/>
                  </a:lnTo>
                  <a:lnTo>
                    <a:pt x="136" y="32"/>
                  </a:lnTo>
                  <a:lnTo>
                    <a:pt x="129" y="30"/>
                  </a:lnTo>
                  <a:lnTo>
                    <a:pt x="125" y="25"/>
                  </a:lnTo>
                  <a:lnTo>
                    <a:pt x="123" y="19"/>
                  </a:lnTo>
                  <a:lnTo>
                    <a:pt x="123" y="15"/>
                  </a:lnTo>
                  <a:lnTo>
                    <a:pt x="111" y="17"/>
                  </a:lnTo>
                  <a:lnTo>
                    <a:pt x="98" y="23"/>
                  </a:lnTo>
                  <a:lnTo>
                    <a:pt x="81" y="23"/>
                  </a:lnTo>
                  <a:lnTo>
                    <a:pt x="77" y="19"/>
                  </a:lnTo>
                  <a:lnTo>
                    <a:pt x="73" y="11"/>
                  </a:lnTo>
                  <a:lnTo>
                    <a:pt x="69" y="7"/>
                  </a:lnTo>
                  <a:lnTo>
                    <a:pt x="50" y="3"/>
                  </a:lnTo>
                  <a:lnTo>
                    <a:pt x="29" y="1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3" name="Freeform 268"/>
            <p:cNvSpPr>
              <a:spLocks/>
            </p:cNvSpPr>
            <p:nvPr/>
          </p:nvSpPr>
          <p:spPr bwMode="gray">
            <a:xfrm>
              <a:off x="1756" y="1362"/>
              <a:ext cx="67" cy="54"/>
            </a:xfrm>
            <a:custGeom>
              <a:avLst/>
              <a:gdLst>
                <a:gd name="T0" fmla="*/ 53 w 134"/>
                <a:gd name="T1" fmla="*/ 4 h 108"/>
                <a:gd name="T2" fmla="*/ 69 w 134"/>
                <a:gd name="T3" fmla="*/ 16 h 108"/>
                <a:gd name="T4" fmla="*/ 50 w 134"/>
                <a:gd name="T5" fmla="*/ 23 h 108"/>
                <a:gd name="T6" fmla="*/ 55 w 134"/>
                <a:gd name="T7" fmla="*/ 35 h 108"/>
                <a:gd name="T8" fmla="*/ 65 w 134"/>
                <a:gd name="T9" fmla="*/ 39 h 108"/>
                <a:gd name="T10" fmla="*/ 59 w 134"/>
                <a:gd name="T11" fmla="*/ 47 h 108"/>
                <a:gd name="T12" fmla="*/ 69 w 134"/>
                <a:gd name="T13" fmla="*/ 56 h 108"/>
                <a:gd name="T14" fmla="*/ 65 w 134"/>
                <a:gd name="T15" fmla="*/ 62 h 108"/>
                <a:gd name="T16" fmla="*/ 53 w 134"/>
                <a:gd name="T17" fmla="*/ 60 h 108"/>
                <a:gd name="T18" fmla="*/ 57 w 134"/>
                <a:gd name="T19" fmla="*/ 50 h 108"/>
                <a:gd name="T20" fmla="*/ 42 w 134"/>
                <a:gd name="T21" fmla="*/ 37 h 108"/>
                <a:gd name="T22" fmla="*/ 30 w 134"/>
                <a:gd name="T23" fmla="*/ 20 h 108"/>
                <a:gd name="T24" fmla="*/ 15 w 134"/>
                <a:gd name="T25" fmla="*/ 31 h 108"/>
                <a:gd name="T26" fmla="*/ 23 w 134"/>
                <a:gd name="T27" fmla="*/ 37 h 108"/>
                <a:gd name="T28" fmla="*/ 19 w 134"/>
                <a:gd name="T29" fmla="*/ 47 h 108"/>
                <a:gd name="T30" fmla="*/ 26 w 134"/>
                <a:gd name="T31" fmla="*/ 52 h 108"/>
                <a:gd name="T32" fmla="*/ 30 w 134"/>
                <a:gd name="T33" fmla="*/ 70 h 108"/>
                <a:gd name="T34" fmla="*/ 3 w 134"/>
                <a:gd name="T35" fmla="*/ 75 h 108"/>
                <a:gd name="T36" fmla="*/ 2 w 134"/>
                <a:gd name="T37" fmla="*/ 83 h 108"/>
                <a:gd name="T38" fmla="*/ 3 w 134"/>
                <a:gd name="T39" fmla="*/ 93 h 108"/>
                <a:gd name="T40" fmla="*/ 40 w 134"/>
                <a:gd name="T41" fmla="*/ 77 h 108"/>
                <a:gd name="T42" fmla="*/ 65 w 134"/>
                <a:gd name="T43" fmla="*/ 73 h 108"/>
                <a:gd name="T44" fmla="*/ 69 w 134"/>
                <a:gd name="T45" fmla="*/ 77 h 108"/>
                <a:gd name="T46" fmla="*/ 55 w 134"/>
                <a:gd name="T47" fmla="*/ 85 h 108"/>
                <a:gd name="T48" fmla="*/ 53 w 134"/>
                <a:gd name="T49" fmla="*/ 108 h 108"/>
                <a:gd name="T50" fmla="*/ 69 w 134"/>
                <a:gd name="T51" fmla="*/ 106 h 108"/>
                <a:gd name="T52" fmla="*/ 80 w 134"/>
                <a:gd name="T53" fmla="*/ 106 h 108"/>
                <a:gd name="T54" fmla="*/ 130 w 134"/>
                <a:gd name="T55" fmla="*/ 104 h 108"/>
                <a:gd name="T56" fmla="*/ 134 w 134"/>
                <a:gd name="T57" fmla="*/ 93 h 108"/>
                <a:gd name="T58" fmla="*/ 128 w 134"/>
                <a:gd name="T59" fmla="*/ 83 h 108"/>
                <a:gd name="T60" fmla="*/ 128 w 134"/>
                <a:gd name="T61" fmla="*/ 77 h 108"/>
                <a:gd name="T62" fmla="*/ 130 w 134"/>
                <a:gd name="T63" fmla="*/ 66 h 108"/>
                <a:gd name="T64" fmla="*/ 117 w 134"/>
                <a:gd name="T65" fmla="*/ 50 h 108"/>
                <a:gd name="T66" fmla="*/ 115 w 134"/>
                <a:gd name="T67" fmla="*/ 23 h 108"/>
                <a:gd name="T68" fmla="*/ 99 w 134"/>
                <a:gd name="T69" fmla="*/ 12 h 108"/>
                <a:gd name="T70" fmla="*/ 96 w 134"/>
                <a:gd name="T71" fmla="*/ 4 h 108"/>
                <a:gd name="T72" fmla="*/ 88 w 134"/>
                <a:gd name="T73" fmla="*/ 12 h 108"/>
                <a:gd name="T74" fmla="*/ 86 w 134"/>
                <a:gd name="T75" fmla="*/ 20 h 108"/>
                <a:gd name="T76" fmla="*/ 92 w 134"/>
                <a:gd name="T77" fmla="*/ 23 h 108"/>
                <a:gd name="T78" fmla="*/ 74 w 134"/>
                <a:gd name="T79" fmla="*/ 22 h 108"/>
                <a:gd name="T80" fmla="*/ 73 w 134"/>
                <a:gd name="T81" fmla="*/ 14 h 108"/>
                <a:gd name="T82" fmla="*/ 65 w 134"/>
                <a:gd name="T83" fmla="*/ 0 h 10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34"/>
                <a:gd name="T127" fmla="*/ 0 h 108"/>
                <a:gd name="T128" fmla="*/ 134 w 134"/>
                <a:gd name="T129" fmla="*/ 108 h 10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34" h="108">
                  <a:moveTo>
                    <a:pt x="65" y="0"/>
                  </a:moveTo>
                  <a:lnTo>
                    <a:pt x="53" y="4"/>
                  </a:lnTo>
                  <a:lnTo>
                    <a:pt x="53" y="10"/>
                  </a:lnTo>
                  <a:lnTo>
                    <a:pt x="69" y="16"/>
                  </a:lnTo>
                  <a:lnTo>
                    <a:pt x="69" y="23"/>
                  </a:lnTo>
                  <a:lnTo>
                    <a:pt x="50" y="23"/>
                  </a:lnTo>
                  <a:lnTo>
                    <a:pt x="53" y="27"/>
                  </a:lnTo>
                  <a:lnTo>
                    <a:pt x="55" y="35"/>
                  </a:lnTo>
                  <a:lnTo>
                    <a:pt x="61" y="39"/>
                  </a:lnTo>
                  <a:lnTo>
                    <a:pt x="65" y="39"/>
                  </a:lnTo>
                  <a:lnTo>
                    <a:pt x="63" y="43"/>
                  </a:lnTo>
                  <a:lnTo>
                    <a:pt x="59" y="47"/>
                  </a:lnTo>
                  <a:lnTo>
                    <a:pt x="69" y="54"/>
                  </a:lnTo>
                  <a:lnTo>
                    <a:pt x="69" y="56"/>
                  </a:lnTo>
                  <a:lnTo>
                    <a:pt x="65" y="58"/>
                  </a:lnTo>
                  <a:lnTo>
                    <a:pt x="65" y="62"/>
                  </a:lnTo>
                  <a:lnTo>
                    <a:pt x="53" y="62"/>
                  </a:lnTo>
                  <a:lnTo>
                    <a:pt x="53" y="60"/>
                  </a:lnTo>
                  <a:lnTo>
                    <a:pt x="55" y="54"/>
                  </a:lnTo>
                  <a:lnTo>
                    <a:pt x="57" y="50"/>
                  </a:lnTo>
                  <a:lnTo>
                    <a:pt x="50" y="45"/>
                  </a:lnTo>
                  <a:lnTo>
                    <a:pt x="42" y="37"/>
                  </a:lnTo>
                  <a:lnTo>
                    <a:pt x="36" y="27"/>
                  </a:lnTo>
                  <a:lnTo>
                    <a:pt x="30" y="20"/>
                  </a:lnTo>
                  <a:lnTo>
                    <a:pt x="19" y="20"/>
                  </a:lnTo>
                  <a:lnTo>
                    <a:pt x="15" y="31"/>
                  </a:lnTo>
                  <a:lnTo>
                    <a:pt x="23" y="31"/>
                  </a:lnTo>
                  <a:lnTo>
                    <a:pt x="23" y="37"/>
                  </a:lnTo>
                  <a:lnTo>
                    <a:pt x="21" y="41"/>
                  </a:lnTo>
                  <a:lnTo>
                    <a:pt x="19" y="47"/>
                  </a:lnTo>
                  <a:lnTo>
                    <a:pt x="23" y="48"/>
                  </a:lnTo>
                  <a:lnTo>
                    <a:pt x="26" y="52"/>
                  </a:lnTo>
                  <a:lnTo>
                    <a:pt x="30" y="54"/>
                  </a:lnTo>
                  <a:lnTo>
                    <a:pt x="30" y="70"/>
                  </a:lnTo>
                  <a:lnTo>
                    <a:pt x="5" y="70"/>
                  </a:lnTo>
                  <a:lnTo>
                    <a:pt x="3" y="75"/>
                  </a:lnTo>
                  <a:lnTo>
                    <a:pt x="0" y="77"/>
                  </a:lnTo>
                  <a:lnTo>
                    <a:pt x="2" y="83"/>
                  </a:lnTo>
                  <a:lnTo>
                    <a:pt x="3" y="87"/>
                  </a:lnTo>
                  <a:lnTo>
                    <a:pt x="3" y="93"/>
                  </a:lnTo>
                  <a:lnTo>
                    <a:pt x="21" y="85"/>
                  </a:lnTo>
                  <a:lnTo>
                    <a:pt x="40" y="77"/>
                  </a:lnTo>
                  <a:lnTo>
                    <a:pt x="61" y="73"/>
                  </a:lnTo>
                  <a:lnTo>
                    <a:pt x="65" y="73"/>
                  </a:lnTo>
                  <a:lnTo>
                    <a:pt x="69" y="75"/>
                  </a:lnTo>
                  <a:lnTo>
                    <a:pt x="69" y="77"/>
                  </a:lnTo>
                  <a:lnTo>
                    <a:pt x="63" y="79"/>
                  </a:lnTo>
                  <a:lnTo>
                    <a:pt x="55" y="85"/>
                  </a:lnTo>
                  <a:lnTo>
                    <a:pt x="50" y="89"/>
                  </a:lnTo>
                  <a:lnTo>
                    <a:pt x="53" y="108"/>
                  </a:lnTo>
                  <a:lnTo>
                    <a:pt x="61" y="108"/>
                  </a:lnTo>
                  <a:lnTo>
                    <a:pt x="69" y="106"/>
                  </a:lnTo>
                  <a:lnTo>
                    <a:pt x="76" y="108"/>
                  </a:lnTo>
                  <a:lnTo>
                    <a:pt x="80" y="106"/>
                  </a:lnTo>
                  <a:lnTo>
                    <a:pt x="94" y="104"/>
                  </a:lnTo>
                  <a:lnTo>
                    <a:pt x="130" y="104"/>
                  </a:lnTo>
                  <a:lnTo>
                    <a:pt x="130" y="95"/>
                  </a:lnTo>
                  <a:lnTo>
                    <a:pt x="134" y="93"/>
                  </a:lnTo>
                  <a:lnTo>
                    <a:pt x="132" y="89"/>
                  </a:lnTo>
                  <a:lnTo>
                    <a:pt x="128" y="83"/>
                  </a:lnTo>
                  <a:lnTo>
                    <a:pt x="126" y="85"/>
                  </a:lnTo>
                  <a:lnTo>
                    <a:pt x="128" y="77"/>
                  </a:lnTo>
                  <a:lnTo>
                    <a:pt x="130" y="72"/>
                  </a:lnTo>
                  <a:lnTo>
                    <a:pt x="130" y="66"/>
                  </a:lnTo>
                  <a:lnTo>
                    <a:pt x="119" y="66"/>
                  </a:lnTo>
                  <a:lnTo>
                    <a:pt x="117" y="50"/>
                  </a:lnTo>
                  <a:lnTo>
                    <a:pt x="117" y="37"/>
                  </a:lnTo>
                  <a:lnTo>
                    <a:pt x="115" y="23"/>
                  </a:lnTo>
                  <a:lnTo>
                    <a:pt x="99" y="20"/>
                  </a:lnTo>
                  <a:lnTo>
                    <a:pt x="99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0" y="6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6" y="20"/>
                  </a:lnTo>
                  <a:lnTo>
                    <a:pt x="94" y="20"/>
                  </a:lnTo>
                  <a:lnTo>
                    <a:pt x="92" y="23"/>
                  </a:lnTo>
                  <a:lnTo>
                    <a:pt x="80" y="25"/>
                  </a:lnTo>
                  <a:lnTo>
                    <a:pt x="74" y="22"/>
                  </a:lnTo>
                  <a:lnTo>
                    <a:pt x="76" y="20"/>
                  </a:lnTo>
                  <a:lnTo>
                    <a:pt x="73" y="14"/>
                  </a:lnTo>
                  <a:lnTo>
                    <a:pt x="67" y="6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4" name="Freeform 269"/>
            <p:cNvSpPr>
              <a:spLocks/>
            </p:cNvSpPr>
            <p:nvPr/>
          </p:nvSpPr>
          <p:spPr bwMode="gray">
            <a:xfrm>
              <a:off x="1733" y="1364"/>
              <a:ext cx="29" cy="37"/>
            </a:xfrm>
            <a:custGeom>
              <a:avLst/>
              <a:gdLst>
                <a:gd name="T0" fmla="*/ 7 w 57"/>
                <a:gd name="T1" fmla="*/ 0 h 73"/>
                <a:gd name="T2" fmla="*/ 1 w 57"/>
                <a:gd name="T3" fmla="*/ 10 h 73"/>
                <a:gd name="T4" fmla="*/ 3 w 57"/>
                <a:gd name="T5" fmla="*/ 21 h 73"/>
                <a:gd name="T6" fmla="*/ 7 w 57"/>
                <a:gd name="T7" fmla="*/ 19 h 73"/>
                <a:gd name="T8" fmla="*/ 5 w 57"/>
                <a:gd name="T9" fmla="*/ 25 h 73"/>
                <a:gd name="T10" fmla="*/ 3 w 57"/>
                <a:gd name="T11" fmla="*/ 25 h 73"/>
                <a:gd name="T12" fmla="*/ 0 w 57"/>
                <a:gd name="T13" fmla="*/ 27 h 73"/>
                <a:gd name="T14" fmla="*/ 3 w 57"/>
                <a:gd name="T15" fmla="*/ 39 h 73"/>
                <a:gd name="T16" fmla="*/ 11 w 57"/>
                <a:gd name="T17" fmla="*/ 37 h 73"/>
                <a:gd name="T18" fmla="*/ 21 w 57"/>
                <a:gd name="T19" fmla="*/ 37 h 73"/>
                <a:gd name="T20" fmla="*/ 23 w 57"/>
                <a:gd name="T21" fmla="*/ 35 h 73"/>
                <a:gd name="T22" fmla="*/ 34 w 57"/>
                <a:gd name="T23" fmla="*/ 37 h 73"/>
                <a:gd name="T24" fmla="*/ 34 w 57"/>
                <a:gd name="T25" fmla="*/ 39 h 73"/>
                <a:gd name="T26" fmla="*/ 26 w 57"/>
                <a:gd name="T27" fmla="*/ 41 h 73"/>
                <a:gd name="T28" fmla="*/ 21 w 57"/>
                <a:gd name="T29" fmla="*/ 43 h 73"/>
                <a:gd name="T30" fmla="*/ 15 w 57"/>
                <a:gd name="T31" fmla="*/ 46 h 73"/>
                <a:gd name="T32" fmla="*/ 11 w 57"/>
                <a:gd name="T33" fmla="*/ 52 h 73"/>
                <a:gd name="T34" fmla="*/ 25 w 57"/>
                <a:gd name="T35" fmla="*/ 50 h 73"/>
                <a:gd name="T36" fmla="*/ 23 w 57"/>
                <a:gd name="T37" fmla="*/ 54 h 73"/>
                <a:gd name="T38" fmla="*/ 23 w 57"/>
                <a:gd name="T39" fmla="*/ 62 h 73"/>
                <a:gd name="T40" fmla="*/ 17 w 57"/>
                <a:gd name="T41" fmla="*/ 66 h 73"/>
                <a:gd name="T42" fmla="*/ 11 w 57"/>
                <a:gd name="T43" fmla="*/ 71 h 73"/>
                <a:gd name="T44" fmla="*/ 19 w 57"/>
                <a:gd name="T45" fmla="*/ 73 h 73"/>
                <a:gd name="T46" fmla="*/ 34 w 57"/>
                <a:gd name="T47" fmla="*/ 69 h 73"/>
                <a:gd name="T48" fmla="*/ 46 w 57"/>
                <a:gd name="T49" fmla="*/ 64 h 73"/>
                <a:gd name="T50" fmla="*/ 57 w 57"/>
                <a:gd name="T51" fmla="*/ 54 h 73"/>
                <a:gd name="T52" fmla="*/ 53 w 57"/>
                <a:gd name="T53" fmla="*/ 50 h 73"/>
                <a:gd name="T54" fmla="*/ 57 w 57"/>
                <a:gd name="T55" fmla="*/ 43 h 73"/>
                <a:gd name="T56" fmla="*/ 53 w 57"/>
                <a:gd name="T57" fmla="*/ 31 h 73"/>
                <a:gd name="T58" fmla="*/ 44 w 57"/>
                <a:gd name="T59" fmla="*/ 31 h 73"/>
                <a:gd name="T60" fmla="*/ 42 w 57"/>
                <a:gd name="T61" fmla="*/ 27 h 73"/>
                <a:gd name="T62" fmla="*/ 42 w 57"/>
                <a:gd name="T63" fmla="*/ 16 h 73"/>
                <a:gd name="T64" fmla="*/ 23 w 57"/>
                <a:gd name="T65" fmla="*/ 16 h 73"/>
                <a:gd name="T66" fmla="*/ 25 w 57"/>
                <a:gd name="T67" fmla="*/ 16 h 73"/>
                <a:gd name="T68" fmla="*/ 23 w 57"/>
                <a:gd name="T69" fmla="*/ 16 h 73"/>
                <a:gd name="T70" fmla="*/ 25 w 57"/>
                <a:gd name="T71" fmla="*/ 14 h 73"/>
                <a:gd name="T72" fmla="*/ 25 w 57"/>
                <a:gd name="T73" fmla="*/ 8 h 73"/>
                <a:gd name="T74" fmla="*/ 26 w 57"/>
                <a:gd name="T75" fmla="*/ 4 h 73"/>
                <a:gd name="T76" fmla="*/ 19 w 57"/>
                <a:gd name="T77" fmla="*/ 2 h 73"/>
                <a:gd name="T78" fmla="*/ 13 w 57"/>
                <a:gd name="T79" fmla="*/ 2 h 73"/>
                <a:gd name="T80" fmla="*/ 7 w 57"/>
                <a:gd name="T81" fmla="*/ 0 h 7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7"/>
                <a:gd name="T124" fmla="*/ 0 h 73"/>
                <a:gd name="T125" fmla="*/ 57 w 57"/>
                <a:gd name="T126" fmla="*/ 73 h 7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7" h="73">
                  <a:moveTo>
                    <a:pt x="7" y="0"/>
                  </a:moveTo>
                  <a:lnTo>
                    <a:pt x="1" y="10"/>
                  </a:lnTo>
                  <a:lnTo>
                    <a:pt x="3" y="21"/>
                  </a:lnTo>
                  <a:lnTo>
                    <a:pt x="7" y="19"/>
                  </a:lnTo>
                  <a:lnTo>
                    <a:pt x="5" y="25"/>
                  </a:lnTo>
                  <a:lnTo>
                    <a:pt x="3" y="25"/>
                  </a:lnTo>
                  <a:lnTo>
                    <a:pt x="0" y="27"/>
                  </a:lnTo>
                  <a:lnTo>
                    <a:pt x="3" y="39"/>
                  </a:lnTo>
                  <a:lnTo>
                    <a:pt x="11" y="37"/>
                  </a:lnTo>
                  <a:lnTo>
                    <a:pt x="21" y="37"/>
                  </a:lnTo>
                  <a:lnTo>
                    <a:pt x="23" y="35"/>
                  </a:lnTo>
                  <a:lnTo>
                    <a:pt x="34" y="37"/>
                  </a:lnTo>
                  <a:lnTo>
                    <a:pt x="34" y="39"/>
                  </a:lnTo>
                  <a:lnTo>
                    <a:pt x="26" y="41"/>
                  </a:lnTo>
                  <a:lnTo>
                    <a:pt x="21" y="43"/>
                  </a:lnTo>
                  <a:lnTo>
                    <a:pt x="15" y="46"/>
                  </a:lnTo>
                  <a:lnTo>
                    <a:pt x="11" y="52"/>
                  </a:lnTo>
                  <a:lnTo>
                    <a:pt x="25" y="50"/>
                  </a:lnTo>
                  <a:lnTo>
                    <a:pt x="23" y="54"/>
                  </a:lnTo>
                  <a:lnTo>
                    <a:pt x="23" y="62"/>
                  </a:lnTo>
                  <a:lnTo>
                    <a:pt x="17" y="66"/>
                  </a:lnTo>
                  <a:lnTo>
                    <a:pt x="11" y="71"/>
                  </a:lnTo>
                  <a:lnTo>
                    <a:pt x="19" y="73"/>
                  </a:lnTo>
                  <a:lnTo>
                    <a:pt x="34" y="69"/>
                  </a:lnTo>
                  <a:lnTo>
                    <a:pt x="46" y="64"/>
                  </a:lnTo>
                  <a:lnTo>
                    <a:pt x="57" y="54"/>
                  </a:lnTo>
                  <a:lnTo>
                    <a:pt x="53" y="50"/>
                  </a:lnTo>
                  <a:lnTo>
                    <a:pt x="57" y="43"/>
                  </a:lnTo>
                  <a:lnTo>
                    <a:pt x="53" y="31"/>
                  </a:lnTo>
                  <a:lnTo>
                    <a:pt x="44" y="31"/>
                  </a:lnTo>
                  <a:lnTo>
                    <a:pt x="42" y="27"/>
                  </a:lnTo>
                  <a:lnTo>
                    <a:pt x="42" y="16"/>
                  </a:lnTo>
                  <a:lnTo>
                    <a:pt x="23" y="16"/>
                  </a:lnTo>
                  <a:lnTo>
                    <a:pt x="25" y="16"/>
                  </a:lnTo>
                  <a:lnTo>
                    <a:pt x="23" y="16"/>
                  </a:lnTo>
                  <a:lnTo>
                    <a:pt x="25" y="14"/>
                  </a:lnTo>
                  <a:lnTo>
                    <a:pt x="25" y="8"/>
                  </a:lnTo>
                  <a:lnTo>
                    <a:pt x="26" y="4"/>
                  </a:lnTo>
                  <a:lnTo>
                    <a:pt x="19" y="2"/>
                  </a:lnTo>
                  <a:lnTo>
                    <a:pt x="13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5" name="Freeform 270"/>
            <p:cNvSpPr>
              <a:spLocks/>
            </p:cNvSpPr>
            <p:nvPr/>
          </p:nvSpPr>
          <p:spPr bwMode="gray">
            <a:xfrm>
              <a:off x="1833" y="1395"/>
              <a:ext cx="33" cy="31"/>
            </a:xfrm>
            <a:custGeom>
              <a:avLst/>
              <a:gdLst>
                <a:gd name="T0" fmla="*/ 23 w 65"/>
                <a:gd name="T1" fmla="*/ 0 h 61"/>
                <a:gd name="T2" fmla="*/ 19 w 65"/>
                <a:gd name="T3" fmla="*/ 4 h 61"/>
                <a:gd name="T4" fmla="*/ 17 w 65"/>
                <a:gd name="T5" fmla="*/ 13 h 61"/>
                <a:gd name="T6" fmla="*/ 16 w 65"/>
                <a:gd name="T7" fmla="*/ 19 h 61"/>
                <a:gd name="T8" fmla="*/ 8 w 65"/>
                <a:gd name="T9" fmla="*/ 19 h 61"/>
                <a:gd name="T10" fmla="*/ 4 w 65"/>
                <a:gd name="T11" fmla="*/ 34 h 61"/>
                <a:gd name="T12" fmla="*/ 0 w 65"/>
                <a:gd name="T13" fmla="*/ 42 h 61"/>
                <a:gd name="T14" fmla="*/ 16 w 65"/>
                <a:gd name="T15" fmla="*/ 42 h 61"/>
                <a:gd name="T16" fmla="*/ 19 w 65"/>
                <a:gd name="T17" fmla="*/ 50 h 61"/>
                <a:gd name="T18" fmla="*/ 29 w 65"/>
                <a:gd name="T19" fmla="*/ 54 h 61"/>
                <a:gd name="T20" fmla="*/ 37 w 65"/>
                <a:gd name="T21" fmla="*/ 52 h 61"/>
                <a:gd name="T22" fmla="*/ 46 w 65"/>
                <a:gd name="T23" fmla="*/ 54 h 61"/>
                <a:gd name="T24" fmla="*/ 54 w 65"/>
                <a:gd name="T25" fmla="*/ 61 h 61"/>
                <a:gd name="T26" fmla="*/ 58 w 65"/>
                <a:gd name="T27" fmla="*/ 55 h 61"/>
                <a:gd name="T28" fmla="*/ 64 w 65"/>
                <a:gd name="T29" fmla="*/ 48 h 61"/>
                <a:gd name="T30" fmla="*/ 65 w 65"/>
                <a:gd name="T31" fmla="*/ 42 h 61"/>
                <a:gd name="T32" fmla="*/ 64 w 65"/>
                <a:gd name="T33" fmla="*/ 25 h 61"/>
                <a:gd name="T34" fmla="*/ 58 w 65"/>
                <a:gd name="T35" fmla="*/ 11 h 61"/>
                <a:gd name="T36" fmla="*/ 50 w 65"/>
                <a:gd name="T37" fmla="*/ 0 h 61"/>
                <a:gd name="T38" fmla="*/ 42 w 65"/>
                <a:gd name="T39" fmla="*/ 0 h 61"/>
                <a:gd name="T40" fmla="*/ 33 w 65"/>
                <a:gd name="T41" fmla="*/ 2 h 61"/>
                <a:gd name="T42" fmla="*/ 31 w 65"/>
                <a:gd name="T43" fmla="*/ 4 h 61"/>
                <a:gd name="T44" fmla="*/ 29 w 65"/>
                <a:gd name="T45" fmla="*/ 2 h 61"/>
                <a:gd name="T46" fmla="*/ 25 w 65"/>
                <a:gd name="T47" fmla="*/ 0 h 61"/>
                <a:gd name="T48" fmla="*/ 23 w 65"/>
                <a:gd name="T49" fmla="*/ 0 h 6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5"/>
                <a:gd name="T76" fmla="*/ 0 h 61"/>
                <a:gd name="T77" fmla="*/ 65 w 65"/>
                <a:gd name="T78" fmla="*/ 61 h 6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5" h="61">
                  <a:moveTo>
                    <a:pt x="23" y="0"/>
                  </a:moveTo>
                  <a:lnTo>
                    <a:pt x="19" y="4"/>
                  </a:lnTo>
                  <a:lnTo>
                    <a:pt x="17" y="13"/>
                  </a:lnTo>
                  <a:lnTo>
                    <a:pt x="16" y="19"/>
                  </a:lnTo>
                  <a:lnTo>
                    <a:pt x="8" y="19"/>
                  </a:lnTo>
                  <a:lnTo>
                    <a:pt x="4" y="34"/>
                  </a:lnTo>
                  <a:lnTo>
                    <a:pt x="0" y="42"/>
                  </a:lnTo>
                  <a:lnTo>
                    <a:pt x="16" y="42"/>
                  </a:lnTo>
                  <a:lnTo>
                    <a:pt x="19" y="50"/>
                  </a:lnTo>
                  <a:lnTo>
                    <a:pt x="29" y="54"/>
                  </a:lnTo>
                  <a:lnTo>
                    <a:pt x="37" y="52"/>
                  </a:lnTo>
                  <a:lnTo>
                    <a:pt x="46" y="54"/>
                  </a:lnTo>
                  <a:lnTo>
                    <a:pt x="54" y="61"/>
                  </a:lnTo>
                  <a:lnTo>
                    <a:pt x="58" y="55"/>
                  </a:lnTo>
                  <a:lnTo>
                    <a:pt x="64" y="48"/>
                  </a:lnTo>
                  <a:lnTo>
                    <a:pt x="65" y="42"/>
                  </a:lnTo>
                  <a:lnTo>
                    <a:pt x="64" y="25"/>
                  </a:lnTo>
                  <a:lnTo>
                    <a:pt x="58" y="11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33" y="2"/>
                  </a:lnTo>
                  <a:lnTo>
                    <a:pt x="31" y="4"/>
                  </a:lnTo>
                  <a:lnTo>
                    <a:pt x="29" y="2"/>
                  </a:lnTo>
                  <a:lnTo>
                    <a:pt x="25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6" name="Freeform 271"/>
            <p:cNvSpPr>
              <a:spLocks/>
            </p:cNvSpPr>
            <p:nvPr/>
          </p:nvSpPr>
          <p:spPr bwMode="gray">
            <a:xfrm>
              <a:off x="1480" y="1422"/>
              <a:ext cx="119" cy="86"/>
            </a:xfrm>
            <a:custGeom>
              <a:avLst/>
              <a:gdLst>
                <a:gd name="T0" fmla="*/ 79 w 238"/>
                <a:gd name="T1" fmla="*/ 1 h 173"/>
                <a:gd name="T2" fmla="*/ 65 w 238"/>
                <a:gd name="T3" fmla="*/ 11 h 173"/>
                <a:gd name="T4" fmla="*/ 29 w 238"/>
                <a:gd name="T5" fmla="*/ 21 h 173"/>
                <a:gd name="T6" fmla="*/ 11 w 238"/>
                <a:gd name="T7" fmla="*/ 46 h 173"/>
                <a:gd name="T8" fmla="*/ 19 w 238"/>
                <a:gd name="T9" fmla="*/ 80 h 173"/>
                <a:gd name="T10" fmla="*/ 13 w 238"/>
                <a:gd name="T11" fmla="*/ 84 h 173"/>
                <a:gd name="T12" fmla="*/ 9 w 238"/>
                <a:gd name="T13" fmla="*/ 88 h 173"/>
                <a:gd name="T14" fmla="*/ 15 w 238"/>
                <a:gd name="T15" fmla="*/ 99 h 173"/>
                <a:gd name="T16" fmla="*/ 6 w 238"/>
                <a:gd name="T17" fmla="*/ 119 h 173"/>
                <a:gd name="T18" fmla="*/ 8 w 238"/>
                <a:gd name="T19" fmla="*/ 138 h 173"/>
                <a:gd name="T20" fmla="*/ 23 w 238"/>
                <a:gd name="T21" fmla="*/ 149 h 173"/>
                <a:gd name="T22" fmla="*/ 29 w 238"/>
                <a:gd name="T23" fmla="*/ 167 h 173"/>
                <a:gd name="T24" fmla="*/ 40 w 238"/>
                <a:gd name="T25" fmla="*/ 173 h 173"/>
                <a:gd name="T26" fmla="*/ 54 w 238"/>
                <a:gd name="T27" fmla="*/ 173 h 173"/>
                <a:gd name="T28" fmla="*/ 67 w 238"/>
                <a:gd name="T29" fmla="*/ 153 h 173"/>
                <a:gd name="T30" fmla="*/ 79 w 238"/>
                <a:gd name="T31" fmla="*/ 146 h 173"/>
                <a:gd name="T32" fmla="*/ 84 w 238"/>
                <a:gd name="T33" fmla="*/ 149 h 173"/>
                <a:gd name="T34" fmla="*/ 100 w 238"/>
                <a:gd name="T35" fmla="*/ 149 h 173"/>
                <a:gd name="T36" fmla="*/ 121 w 238"/>
                <a:gd name="T37" fmla="*/ 140 h 173"/>
                <a:gd name="T38" fmla="*/ 127 w 238"/>
                <a:gd name="T39" fmla="*/ 115 h 173"/>
                <a:gd name="T40" fmla="*/ 186 w 238"/>
                <a:gd name="T41" fmla="*/ 69 h 173"/>
                <a:gd name="T42" fmla="*/ 222 w 238"/>
                <a:gd name="T43" fmla="*/ 57 h 173"/>
                <a:gd name="T44" fmla="*/ 230 w 238"/>
                <a:gd name="T45" fmla="*/ 61 h 173"/>
                <a:gd name="T46" fmla="*/ 234 w 238"/>
                <a:gd name="T47" fmla="*/ 55 h 173"/>
                <a:gd name="T48" fmla="*/ 238 w 238"/>
                <a:gd name="T49" fmla="*/ 46 h 173"/>
                <a:gd name="T50" fmla="*/ 228 w 238"/>
                <a:gd name="T51" fmla="*/ 44 h 173"/>
                <a:gd name="T52" fmla="*/ 215 w 238"/>
                <a:gd name="T53" fmla="*/ 30 h 173"/>
                <a:gd name="T54" fmla="*/ 184 w 238"/>
                <a:gd name="T55" fmla="*/ 21 h 173"/>
                <a:gd name="T56" fmla="*/ 142 w 238"/>
                <a:gd name="T57" fmla="*/ 26 h 173"/>
                <a:gd name="T58" fmla="*/ 119 w 238"/>
                <a:gd name="T59" fmla="*/ 15 h 173"/>
                <a:gd name="T60" fmla="*/ 90 w 238"/>
                <a:gd name="T61" fmla="*/ 5 h 173"/>
                <a:gd name="T62" fmla="*/ 88 w 238"/>
                <a:gd name="T63" fmla="*/ 0 h 17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38"/>
                <a:gd name="T97" fmla="*/ 0 h 173"/>
                <a:gd name="T98" fmla="*/ 238 w 238"/>
                <a:gd name="T99" fmla="*/ 173 h 17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38" h="173">
                  <a:moveTo>
                    <a:pt x="84" y="0"/>
                  </a:moveTo>
                  <a:lnTo>
                    <a:pt x="79" y="1"/>
                  </a:lnTo>
                  <a:lnTo>
                    <a:pt x="71" y="7"/>
                  </a:lnTo>
                  <a:lnTo>
                    <a:pt x="65" y="11"/>
                  </a:lnTo>
                  <a:lnTo>
                    <a:pt x="46" y="17"/>
                  </a:lnTo>
                  <a:lnTo>
                    <a:pt x="29" y="21"/>
                  </a:lnTo>
                  <a:lnTo>
                    <a:pt x="11" y="26"/>
                  </a:lnTo>
                  <a:lnTo>
                    <a:pt x="11" y="46"/>
                  </a:lnTo>
                  <a:lnTo>
                    <a:pt x="13" y="67"/>
                  </a:lnTo>
                  <a:lnTo>
                    <a:pt x="19" y="80"/>
                  </a:lnTo>
                  <a:lnTo>
                    <a:pt x="15" y="82"/>
                  </a:lnTo>
                  <a:lnTo>
                    <a:pt x="13" y="84"/>
                  </a:lnTo>
                  <a:lnTo>
                    <a:pt x="8" y="84"/>
                  </a:lnTo>
                  <a:lnTo>
                    <a:pt x="9" y="88"/>
                  </a:lnTo>
                  <a:lnTo>
                    <a:pt x="11" y="96"/>
                  </a:lnTo>
                  <a:lnTo>
                    <a:pt x="15" y="99"/>
                  </a:lnTo>
                  <a:lnTo>
                    <a:pt x="11" y="105"/>
                  </a:lnTo>
                  <a:lnTo>
                    <a:pt x="6" y="119"/>
                  </a:lnTo>
                  <a:lnTo>
                    <a:pt x="0" y="134"/>
                  </a:lnTo>
                  <a:lnTo>
                    <a:pt x="8" y="138"/>
                  </a:lnTo>
                  <a:lnTo>
                    <a:pt x="17" y="144"/>
                  </a:lnTo>
                  <a:lnTo>
                    <a:pt x="23" y="149"/>
                  </a:lnTo>
                  <a:lnTo>
                    <a:pt x="27" y="157"/>
                  </a:lnTo>
                  <a:lnTo>
                    <a:pt x="29" y="167"/>
                  </a:lnTo>
                  <a:lnTo>
                    <a:pt x="34" y="173"/>
                  </a:lnTo>
                  <a:lnTo>
                    <a:pt x="40" y="173"/>
                  </a:lnTo>
                  <a:lnTo>
                    <a:pt x="48" y="171"/>
                  </a:lnTo>
                  <a:lnTo>
                    <a:pt x="54" y="173"/>
                  </a:lnTo>
                  <a:lnTo>
                    <a:pt x="59" y="163"/>
                  </a:lnTo>
                  <a:lnTo>
                    <a:pt x="67" y="153"/>
                  </a:lnTo>
                  <a:lnTo>
                    <a:pt x="73" y="146"/>
                  </a:lnTo>
                  <a:lnTo>
                    <a:pt x="79" y="146"/>
                  </a:lnTo>
                  <a:lnTo>
                    <a:pt x="77" y="149"/>
                  </a:lnTo>
                  <a:lnTo>
                    <a:pt x="84" y="149"/>
                  </a:lnTo>
                  <a:lnTo>
                    <a:pt x="80" y="153"/>
                  </a:lnTo>
                  <a:lnTo>
                    <a:pt x="100" y="149"/>
                  </a:lnTo>
                  <a:lnTo>
                    <a:pt x="115" y="149"/>
                  </a:lnTo>
                  <a:lnTo>
                    <a:pt x="121" y="140"/>
                  </a:lnTo>
                  <a:lnTo>
                    <a:pt x="123" y="126"/>
                  </a:lnTo>
                  <a:lnTo>
                    <a:pt x="127" y="115"/>
                  </a:lnTo>
                  <a:lnTo>
                    <a:pt x="150" y="92"/>
                  </a:lnTo>
                  <a:lnTo>
                    <a:pt x="186" y="69"/>
                  </a:lnTo>
                  <a:lnTo>
                    <a:pt x="219" y="57"/>
                  </a:lnTo>
                  <a:lnTo>
                    <a:pt x="222" y="57"/>
                  </a:lnTo>
                  <a:lnTo>
                    <a:pt x="224" y="61"/>
                  </a:lnTo>
                  <a:lnTo>
                    <a:pt x="230" y="61"/>
                  </a:lnTo>
                  <a:lnTo>
                    <a:pt x="232" y="59"/>
                  </a:lnTo>
                  <a:lnTo>
                    <a:pt x="234" y="55"/>
                  </a:lnTo>
                  <a:lnTo>
                    <a:pt x="238" y="53"/>
                  </a:lnTo>
                  <a:lnTo>
                    <a:pt x="238" y="46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22" y="42"/>
                  </a:lnTo>
                  <a:lnTo>
                    <a:pt x="215" y="30"/>
                  </a:lnTo>
                  <a:lnTo>
                    <a:pt x="211" y="26"/>
                  </a:lnTo>
                  <a:lnTo>
                    <a:pt x="184" y="21"/>
                  </a:lnTo>
                  <a:lnTo>
                    <a:pt x="161" y="25"/>
                  </a:lnTo>
                  <a:lnTo>
                    <a:pt x="142" y="26"/>
                  </a:lnTo>
                  <a:lnTo>
                    <a:pt x="134" y="19"/>
                  </a:lnTo>
                  <a:lnTo>
                    <a:pt x="119" y="15"/>
                  </a:lnTo>
                  <a:lnTo>
                    <a:pt x="92" y="7"/>
                  </a:lnTo>
                  <a:lnTo>
                    <a:pt x="90" y="5"/>
                  </a:lnTo>
                  <a:lnTo>
                    <a:pt x="90" y="1"/>
                  </a:lnTo>
                  <a:lnTo>
                    <a:pt x="88" y="0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7" name="Freeform 272"/>
            <p:cNvSpPr>
              <a:spLocks/>
            </p:cNvSpPr>
            <p:nvPr/>
          </p:nvSpPr>
          <p:spPr bwMode="gray">
            <a:xfrm>
              <a:off x="1752" y="1429"/>
              <a:ext cx="84" cy="77"/>
            </a:xfrm>
            <a:custGeom>
              <a:avLst/>
              <a:gdLst>
                <a:gd name="T0" fmla="*/ 111 w 167"/>
                <a:gd name="T1" fmla="*/ 8 h 154"/>
                <a:gd name="T2" fmla="*/ 84 w 167"/>
                <a:gd name="T3" fmla="*/ 27 h 154"/>
                <a:gd name="T4" fmla="*/ 54 w 167"/>
                <a:gd name="T5" fmla="*/ 23 h 154"/>
                <a:gd name="T6" fmla="*/ 44 w 167"/>
                <a:gd name="T7" fmla="*/ 29 h 154"/>
                <a:gd name="T8" fmla="*/ 38 w 167"/>
                <a:gd name="T9" fmla="*/ 38 h 154"/>
                <a:gd name="T10" fmla="*/ 36 w 167"/>
                <a:gd name="T11" fmla="*/ 46 h 154"/>
                <a:gd name="T12" fmla="*/ 48 w 167"/>
                <a:gd name="T13" fmla="*/ 52 h 154"/>
                <a:gd name="T14" fmla="*/ 65 w 167"/>
                <a:gd name="T15" fmla="*/ 54 h 154"/>
                <a:gd name="T16" fmla="*/ 61 w 167"/>
                <a:gd name="T17" fmla="*/ 77 h 154"/>
                <a:gd name="T18" fmla="*/ 46 w 167"/>
                <a:gd name="T19" fmla="*/ 79 h 154"/>
                <a:gd name="T20" fmla="*/ 19 w 167"/>
                <a:gd name="T21" fmla="*/ 73 h 154"/>
                <a:gd name="T22" fmla="*/ 11 w 167"/>
                <a:gd name="T23" fmla="*/ 63 h 154"/>
                <a:gd name="T24" fmla="*/ 0 w 167"/>
                <a:gd name="T25" fmla="*/ 65 h 154"/>
                <a:gd name="T26" fmla="*/ 2 w 167"/>
                <a:gd name="T27" fmla="*/ 81 h 154"/>
                <a:gd name="T28" fmla="*/ 15 w 167"/>
                <a:gd name="T29" fmla="*/ 96 h 154"/>
                <a:gd name="T30" fmla="*/ 34 w 167"/>
                <a:gd name="T31" fmla="*/ 102 h 154"/>
                <a:gd name="T32" fmla="*/ 50 w 167"/>
                <a:gd name="T33" fmla="*/ 102 h 154"/>
                <a:gd name="T34" fmla="*/ 58 w 167"/>
                <a:gd name="T35" fmla="*/ 115 h 154"/>
                <a:gd name="T36" fmla="*/ 71 w 167"/>
                <a:gd name="T37" fmla="*/ 117 h 154"/>
                <a:gd name="T38" fmla="*/ 81 w 167"/>
                <a:gd name="T39" fmla="*/ 129 h 154"/>
                <a:gd name="T40" fmla="*/ 88 w 167"/>
                <a:gd name="T41" fmla="*/ 150 h 154"/>
                <a:gd name="T42" fmla="*/ 100 w 167"/>
                <a:gd name="T43" fmla="*/ 154 h 154"/>
                <a:gd name="T44" fmla="*/ 117 w 167"/>
                <a:gd name="T45" fmla="*/ 140 h 154"/>
                <a:gd name="T46" fmla="*/ 134 w 167"/>
                <a:gd name="T47" fmla="*/ 127 h 154"/>
                <a:gd name="T48" fmla="*/ 150 w 167"/>
                <a:gd name="T49" fmla="*/ 125 h 154"/>
                <a:gd name="T50" fmla="*/ 161 w 167"/>
                <a:gd name="T51" fmla="*/ 119 h 154"/>
                <a:gd name="T52" fmla="*/ 165 w 167"/>
                <a:gd name="T53" fmla="*/ 111 h 154"/>
                <a:gd name="T54" fmla="*/ 163 w 167"/>
                <a:gd name="T55" fmla="*/ 88 h 154"/>
                <a:gd name="T56" fmla="*/ 167 w 167"/>
                <a:gd name="T57" fmla="*/ 77 h 154"/>
                <a:gd name="T58" fmla="*/ 153 w 167"/>
                <a:gd name="T59" fmla="*/ 73 h 154"/>
                <a:gd name="T60" fmla="*/ 136 w 167"/>
                <a:gd name="T61" fmla="*/ 67 h 154"/>
                <a:gd name="T62" fmla="*/ 119 w 167"/>
                <a:gd name="T63" fmla="*/ 61 h 154"/>
                <a:gd name="T64" fmla="*/ 117 w 167"/>
                <a:gd name="T65" fmla="*/ 50 h 154"/>
                <a:gd name="T66" fmla="*/ 138 w 167"/>
                <a:gd name="T67" fmla="*/ 40 h 154"/>
                <a:gd name="T68" fmla="*/ 127 w 167"/>
                <a:gd name="T69" fmla="*/ 19 h 154"/>
                <a:gd name="T70" fmla="*/ 125 w 167"/>
                <a:gd name="T71" fmla="*/ 2 h 1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67"/>
                <a:gd name="T109" fmla="*/ 0 h 154"/>
                <a:gd name="T110" fmla="*/ 167 w 167"/>
                <a:gd name="T111" fmla="*/ 154 h 15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67" h="154">
                  <a:moveTo>
                    <a:pt x="111" y="0"/>
                  </a:moveTo>
                  <a:lnTo>
                    <a:pt x="111" y="8"/>
                  </a:lnTo>
                  <a:lnTo>
                    <a:pt x="77" y="19"/>
                  </a:lnTo>
                  <a:lnTo>
                    <a:pt x="84" y="27"/>
                  </a:lnTo>
                  <a:lnTo>
                    <a:pt x="58" y="23"/>
                  </a:lnTo>
                  <a:lnTo>
                    <a:pt x="54" y="23"/>
                  </a:lnTo>
                  <a:lnTo>
                    <a:pt x="48" y="25"/>
                  </a:lnTo>
                  <a:lnTo>
                    <a:pt x="44" y="29"/>
                  </a:lnTo>
                  <a:lnTo>
                    <a:pt x="38" y="31"/>
                  </a:lnTo>
                  <a:lnTo>
                    <a:pt x="38" y="38"/>
                  </a:lnTo>
                  <a:lnTo>
                    <a:pt x="34" y="38"/>
                  </a:lnTo>
                  <a:lnTo>
                    <a:pt x="36" y="46"/>
                  </a:lnTo>
                  <a:lnTo>
                    <a:pt x="38" y="50"/>
                  </a:lnTo>
                  <a:lnTo>
                    <a:pt x="48" y="52"/>
                  </a:lnTo>
                  <a:lnTo>
                    <a:pt x="56" y="52"/>
                  </a:lnTo>
                  <a:lnTo>
                    <a:pt x="65" y="54"/>
                  </a:lnTo>
                  <a:lnTo>
                    <a:pt x="65" y="69"/>
                  </a:lnTo>
                  <a:lnTo>
                    <a:pt x="61" y="77"/>
                  </a:lnTo>
                  <a:lnTo>
                    <a:pt x="58" y="81"/>
                  </a:lnTo>
                  <a:lnTo>
                    <a:pt x="46" y="79"/>
                  </a:lnTo>
                  <a:lnTo>
                    <a:pt x="31" y="77"/>
                  </a:lnTo>
                  <a:lnTo>
                    <a:pt x="19" y="73"/>
                  </a:lnTo>
                  <a:lnTo>
                    <a:pt x="15" y="61"/>
                  </a:lnTo>
                  <a:lnTo>
                    <a:pt x="11" y="63"/>
                  </a:lnTo>
                  <a:lnTo>
                    <a:pt x="6" y="63"/>
                  </a:lnTo>
                  <a:lnTo>
                    <a:pt x="0" y="65"/>
                  </a:lnTo>
                  <a:lnTo>
                    <a:pt x="0" y="71"/>
                  </a:lnTo>
                  <a:lnTo>
                    <a:pt x="2" y="81"/>
                  </a:lnTo>
                  <a:lnTo>
                    <a:pt x="4" y="84"/>
                  </a:lnTo>
                  <a:lnTo>
                    <a:pt x="15" y="96"/>
                  </a:lnTo>
                  <a:lnTo>
                    <a:pt x="29" y="104"/>
                  </a:lnTo>
                  <a:lnTo>
                    <a:pt x="34" y="102"/>
                  </a:lnTo>
                  <a:lnTo>
                    <a:pt x="46" y="96"/>
                  </a:lnTo>
                  <a:lnTo>
                    <a:pt x="50" y="102"/>
                  </a:lnTo>
                  <a:lnTo>
                    <a:pt x="54" y="109"/>
                  </a:lnTo>
                  <a:lnTo>
                    <a:pt x="58" y="115"/>
                  </a:lnTo>
                  <a:lnTo>
                    <a:pt x="63" y="115"/>
                  </a:lnTo>
                  <a:lnTo>
                    <a:pt x="71" y="117"/>
                  </a:lnTo>
                  <a:lnTo>
                    <a:pt x="77" y="119"/>
                  </a:lnTo>
                  <a:lnTo>
                    <a:pt x="81" y="129"/>
                  </a:lnTo>
                  <a:lnTo>
                    <a:pt x="82" y="140"/>
                  </a:lnTo>
                  <a:lnTo>
                    <a:pt x="88" y="150"/>
                  </a:lnTo>
                  <a:lnTo>
                    <a:pt x="92" y="150"/>
                  </a:lnTo>
                  <a:lnTo>
                    <a:pt x="100" y="154"/>
                  </a:lnTo>
                  <a:lnTo>
                    <a:pt x="109" y="146"/>
                  </a:lnTo>
                  <a:lnTo>
                    <a:pt x="117" y="140"/>
                  </a:lnTo>
                  <a:lnTo>
                    <a:pt x="130" y="134"/>
                  </a:lnTo>
                  <a:lnTo>
                    <a:pt x="134" y="127"/>
                  </a:lnTo>
                  <a:lnTo>
                    <a:pt x="144" y="125"/>
                  </a:lnTo>
                  <a:lnTo>
                    <a:pt x="150" y="125"/>
                  </a:lnTo>
                  <a:lnTo>
                    <a:pt x="157" y="123"/>
                  </a:lnTo>
                  <a:lnTo>
                    <a:pt x="161" y="119"/>
                  </a:lnTo>
                  <a:lnTo>
                    <a:pt x="161" y="115"/>
                  </a:lnTo>
                  <a:lnTo>
                    <a:pt x="165" y="111"/>
                  </a:lnTo>
                  <a:lnTo>
                    <a:pt x="163" y="100"/>
                  </a:lnTo>
                  <a:lnTo>
                    <a:pt x="163" y="88"/>
                  </a:lnTo>
                  <a:lnTo>
                    <a:pt x="161" y="81"/>
                  </a:lnTo>
                  <a:lnTo>
                    <a:pt x="167" y="77"/>
                  </a:lnTo>
                  <a:lnTo>
                    <a:pt x="159" y="75"/>
                  </a:lnTo>
                  <a:lnTo>
                    <a:pt x="153" y="73"/>
                  </a:lnTo>
                  <a:lnTo>
                    <a:pt x="142" y="84"/>
                  </a:lnTo>
                  <a:lnTo>
                    <a:pt x="136" y="67"/>
                  </a:lnTo>
                  <a:lnTo>
                    <a:pt x="134" y="63"/>
                  </a:lnTo>
                  <a:lnTo>
                    <a:pt x="119" y="61"/>
                  </a:lnTo>
                  <a:lnTo>
                    <a:pt x="119" y="58"/>
                  </a:lnTo>
                  <a:lnTo>
                    <a:pt x="117" y="50"/>
                  </a:lnTo>
                  <a:lnTo>
                    <a:pt x="115" y="46"/>
                  </a:lnTo>
                  <a:lnTo>
                    <a:pt x="138" y="40"/>
                  </a:lnTo>
                  <a:lnTo>
                    <a:pt x="140" y="35"/>
                  </a:lnTo>
                  <a:lnTo>
                    <a:pt x="127" y="19"/>
                  </a:lnTo>
                  <a:lnTo>
                    <a:pt x="115" y="13"/>
                  </a:lnTo>
                  <a:lnTo>
                    <a:pt x="125" y="2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8" name="Freeform 273"/>
            <p:cNvSpPr>
              <a:spLocks/>
            </p:cNvSpPr>
            <p:nvPr/>
          </p:nvSpPr>
          <p:spPr bwMode="gray">
            <a:xfrm>
              <a:off x="1547" y="1447"/>
              <a:ext cx="235" cy="123"/>
            </a:xfrm>
            <a:custGeom>
              <a:avLst/>
              <a:gdLst>
                <a:gd name="T0" fmla="*/ 92 w 470"/>
                <a:gd name="T1" fmla="*/ 26 h 246"/>
                <a:gd name="T2" fmla="*/ 46 w 470"/>
                <a:gd name="T3" fmla="*/ 38 h 246"/>
                <a:gd name="T4" fmla="*/ 35 w 470"/>
                <a:gd name="T5" fmla="*/ 55 h 246"/>
                <a:gd name="T6" fmla="*/ 12 w 470"/>
                <a:gd name="T7" fmla="*/ 80 h 246"/>
                <a:gd name="T8" fmla="*/ 8 w 470"/>
                <a:gd name="T9" fmla="*/ 101 h 246"/>
                <a:gd name="T10" fmla="*/ 31 w 470"/>
                <a:gd name="T11" fmla="*/ 98 h 246"/>
                <a:gd name="T12" fmla="*/ 29 w 470"/>
                <a:gd name="T13" fmla="*/ 109 h 246"/>
                <a:gd name="T14" fmla="*/ 42 w 470"/>
                <a:gd name="T15" fmla="*/ 115 h 246"/>
                <a:gd name="T16" fmla="*/ 88 w 470"/>
                <a:gd name="T17" fmla="*/ 101 h 246"/>
                <a:gd name="T18" fmla="*/ 81 w 470"/>
                <a:gd name="T19" fmla="*/ 109 h 246"/>
                <a:gd name="T20" fmla="*/ 44 w 470"/>
                <a:gd name="T21" fmla="*/ 124 h 246"/>
                <a:gd name="T22" fmla="*/ 42 w 470"/>
                <a:gd name="T23" fmla="*/ 142 h 246"/>
                <a:gd name="T24" fmla="*/ 138 w 470"/>
                <a:gd name="T25" fmla="*/ 134 h 246"/>
                <a:gd name="T26" fmla="*/ 167 w 470"/>
                <a:gd name="T27" fmla="*/ 132 h 246"/>
                <a:gd name="T28" fmla="*/ 190 w 470"/>
                <a:gd name="T29" fmla="*/ 140 h 246"/>
                <a:gd name="T30" fmla="*/ 181 w 470"/>
                <a:gd name="T31" fmla="*/ 161 h 246"/>
                <a:gd name="T32" fmla="*/ 113 w 470"/>
                <a:gd name="T33" fmla="*/ 159 h 246"/>
                <a:gd name="T34" fmla="*/ 75 w 470"/>
                <a:gd name="T35" fmla="*/ 169 h 246"/>
                <a:gd name="T36" fmla="*/ 71 w 470"/>
                <a:gd name="T37" fmla="*/ 197 h 246"/>
                <a:gd name="T38" fmla="*/ 117 w 470"/>
                <a:gd name="T39" fmla="*/ 213 h 246"/>
                <a:gd name="T40" fmla="*/ 144 w 470"/>
                <a:gd name="T41" fmla="*/ 238 h 246"/>
                <a:gd name="T42" fmla="*/ 217 w 470"/>
                <a:gd name="T43" fmla="*/ 240 h 246"/>
                <a:gd name="T44" fmla="*/ 280 w 470"/>
                <a:gd name="T45" fmla="*/ 213 h 246"/>
                <a:gd name="T46" fmla="*/ 307 w 470"/>
                <a:gd name="T47" fmla="*/ 205 h 246"/>
                <a:gd name="T48" fmla="*/ 338 w 470"/>
                <a:gd name="T49" fmla="*/ 182 h 246"/>
                <a:gd name="T50" fmla="*/ 342 w 470"/>
                <a:gd name="T51" fmla="*/ 205 h 246"/>
                <a:gd name="T52" fmla="*/ 367 w 470"/>
                <a:gd name="T53" fmla="*/ 221 h 246"/>
                <a:gd name="T54" fmla="*/ 394 w 470"/>
                <a:gd name="T55" fmla="*/ 221 h 246"/>
                <a:gd name="T56" fmla="*/ 409 w 470"/>
                <a:gd name="T57" fmla="*/ 221 h 246"/>
                <a:gd name="T58" fmla="*/ 438 w 470"/>
                <a:gd name="T59" fmla="*/ 219 h 246"/>
                <a:gd name="T60" fmla="*/ 434 w 470"/>
                <a:gd name="T61" fmla="*/ 197 h 246"/>
                <a:gd name="T62" fmla="*/ 413 w 470"/>
                <a:gd name="T63" fmla="*/ 201 h 246"/>
                <a:gd name="T64" fmla="*/ 403 w 470"/>
                <a:gd name="T65" fmla="*/ 192 h 246"/>
                <a:gd name="T66" fmla="*/ 442 w 470"/>
                <a:gd name="T67" fmla="*/ 192 h 246"/>
                <a:gd name="T68" fmla="*/ 440 w 470"/>
                <a:gd name="T69" fmla="*/ 176 h 246"/>
                <a:gd name="T70" fmla="*/ 453 w 470"/>
                <a:gd name="T71" fmla="*/ 182 h 246"/>
                <a:gd name="T72" fmla="*/ 470 w 470"/>
                <a:gd name="T73" fmla="*/ 186 h 246"/>
                <a:gd name="T74" fmla="*/ 465 w 470"/>
                <a:gd name="T75" fmla="*/ 161 h 246"/>
                <a:gd name="T76" fmla="*/ 411 w 470"/>
                <a:gd name="T77" fmla="*/ 134 h 246"/>
                <a:gd name="T78" fmla="*/ 403 w 470"/>
                <a:gd name="T79" fmla="*/ 149 h 246"/>
                <a:gd name="T80" fmla="*/ 384 w 470"/>
                <a:gd name="T81" fmla="*/ 142 h 246"/>
                <a:gd name="T82" fmla="*/ 369 w 470"/>
                <a:gd name="T83" fmla="*/ 103 h 246"/>
                <a:gd name="T84" fmla="*/ 351 w 470"/>
                <a:gd name="T85" fmla="*/ 76 h 246"/>
                <a:gd name="T86" fmla="*/ 332 w 470"/>
                <a:gd name="T87" fmla="*/ 61 h 246"/>
                <a:gd name="T88" fmla="*/ 328 w 470"/>
                <a:gd name="T89" fmla="*/ 30 h 246"/>
                <a:gd name="T90" fmla="*/ 296 w 470"/>
                <a:gd name="T91" fmla="*/ 40 h 246"/>
                <a:gd name="T92" fmla="*/ 326 w 470"/>
                <a:gd name="T93" fmla="*/ 63 h 246"/>
                <a:gd name="T94" fmla="*/ 315 w 470"/>
                <a:gd name="T95" fmla="*/ 61 h 246"/>
                <a:gd name="T96" fmla="*/ 302 w 470"/>
                <a:gd name="T97" fmla="*/ 63 h 246"/>
                <a:gd name="T98" fmla="*/ 292 w 470"/>
                <a:gd name="T99" fmla="*/ 73 h 246"/>
                <a:gd name="T100" fmla="*/ 269 w 470"/>
                <a:gd name="T101" fmla="*/ 92 h 246"/>
                <a:gd name="T102" fmla="*/ 280 w 470"/>
                <a:gd name="T103" fmla="*/ 55 h 246"/>
                <a:gd name="T104" fmla="*/ 265 w 470"/>
                <a:gd name="T105" fmla="*/ 32 h 246"/>
                <a:gd name="T106" fmla="*/ 254 w 470"/>
                <a:gd name="T107" fmla="*/ 30 h 246"/>
                <a:gd name="T108" fmla="*/ 238 w 470"/>
                <a:gd name="T109" fmla="*/ 32 h 246"/>
                <a:gd name="T110" fmla="*/ 204 w 470"/>
                <a:gd name="T111" fmla="*/ 26 h 246"/>
                <a:gd name="T112" fmla="*/ 179 w 470"/>
                <a:gd name="T113" fmla="*/ 49 h 246"/>
                <a:gd name="T114" fmla="*/ 138 w 470"/>
                <a:gd name="T115" fmla="*/ 49 h 246"/>
                <a:gd name="T116" fmla="*/ 133 w 470"/>
                <a:gd name="T117" fmla="*/ 1 h 24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70"/>
                <a:gd name="T178" fmla="*/ 0 h 246"/>
                <a:gd name="T179" fmla="*/ 470 w 470"/>
                <a:gd name="T180" fmla="*/ 246 h 24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70" h="246">
                  <a:moveTo>
                    <a:pt x="119" y="0"/>
                  </a:moveTo>
                  <a:lnTo>
                    <a:pt x="112" y="7"/>
                  </a:lnTo>
                  <a:lnTo>
                    <a:pt x="102" y="19"/>
                  </a:lnTo>
                  <a:lnTo>
                    <a:pt x="92" y="26"/>
                  </a:lnTo>
                  <a:lnTo>
                    <a:pt x="65" y="26"/>
                  </a:lnTo>
                  <a:lnTo>
                    <a:pt x="60" y="28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2" y="36"/>
                  </a:lnTo>
                  <a:lnTo>
                    <a:pt x="39" y="38"/>
                  </a:lnTo>
                  <a:lnTo>
                    <a:pt x="33" y="48"/>
                  </a:lnTo>
                  <a:lnTo>
                    <a:pt x="35" y="55"/>
                  </a:lnTo>
                  <a:lnTo>
                    <a:pt x="35" y="65"/>
                  </a:lnTo>
                  <a:lnTo>
                    <a:pt x="31" y="65"/>
                  </a:lnTo>
                  <a:lnTo>
                    <a:pt x="21" y="71"/>
                  </a:lnTo>
                  <a:lnTo>
                    <a:pt x="12" y="80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9"/>
                  </a:lnTo>
                  <a:lnTo>
                    <a:pt x="8" y="101"/>
                  </a:lnTo>
                  <a:lnTo>
                    <a:pt x="17" y="103"/>
                  </a:lnTo>
                  <a:lnTo>
                    <a:pt x="27" y="103"/>
                  </a:lnTo>
                  <a:lnTo>
                    <a:pt x="29" y="101"/>
                  </a:lnTo>
                  <a:lnTo>
                    <a:pt x="31" y="98"/>
                  </a:lnTo>
                  <a:lnTo>
                    <a:pt x="35" y="96"/>
                  </a:lnTo>
                  <a:lnTo>
                    <a:pt x="35" y="99"/>
                  </a:lnTo>
                  <a:lnTo>
                    <a:pt x="42" y="107"/>
                  </a:lnTo>
                  <a:lnTo>
                    <a:pt x="29" y="109"/>
                  </a:lnTo>
                  <a:lnTo>
                    <a:pt x="27" y="111"/>
                  </a:lnTo>
                  <a:lnTo>
                    <a:pt x="27" y="115"/>
                  </a:lnTo>
                  <a:lnTo>
                    <a:pt x="35" y="113"/>
                  </a:lnTo>
                  <a:lnTo>
                    <a:pt x="42" y="115"/>
                  </a:lnTo>
                  <a:lnTo>
                    <a:pt x="50" y="115"/>
                  </a:lnTo>
                  <a:lnTo>
                    <a:pt x="50" y="103"/>
                  </a:lnTo>
                  <a:lnTo>
                    <a:pt x="69" y="103"/>
                  </a:lnTo>
                  <a:lnTo>
                    <a:pt x="88" y="101"/>
                  </a:lnTo>
                  <a:lnTo>
                    <a:pt x="112" y="99"/>
                  </a:lnTo>
                  <a:lnTo>
                    <a:pt x="115" y="107"/>
                  </a:lnTo>
                  <a:lnTo>
                    <a:pt x="96" y="109"/>
                  </a:lnTo>
                  <a:lnTo>
                    <a:pt x="81" y="109"/>
                  </a:lnTo>
                  <a:lnTo>
                    <a:pt x="65" y="115"/>
                  </a:lnTo>
                  <a:lnTo>
                    <a:pt x="62" y="123"/>
                  </a:lnTo>
                  <a:lnTo>
                    <a:pt x="52" y="124"/>
                  </a:lnTo>
                  <a:lnTo>
                    <a:pt x="44" y="124"/>
                  </a:lnTo>
                  <a:lnTo>
                    <a:pt x="35" y="126"/>
                  </a:lnTo>
                  <a:lnTo>
                    <a:pt x="35" y="138"/>
                  </a:lnTo>
                  <a:lnTo>
                    <a:pt x="41" y="138"/>
                  </a:lnTo>
                  <a:lnTo>
                    <a:pt x="42" y="142"/>
                  </a:lnTo>
                  <a:lnTo>
                    <a:pt x="119" y="142"/>
                  </a:lnTo>
                  <a:lnTo>
                    <a:pt x="125" y="140"/>
                  </a:lnTo>
                  <a:lnTo>
                    <a:pt x="133" y="136"/>
                  </a:lnTo>
                  <a:lnTo>
                    <a:pt x="138" y="134"/>
                  </a:lnTo>
                  <a:lnTo>
                    <a:pt x="144" y="140"/>
                  </a:lnTo>
                  <a:lnTo>
                    <a:pt x="150" y="142"/>
                  </a:lnTo>
                  <a:lnTo>
                    <a:pt x="161" y="130"/>
                  </a:lnTo>
                  <a:lnTo>
                    <a:pt x="167" y="132"/>
                  </a:lnTo>
                  <a:lnTo>
                    <a:pt x="171" y="138"/>
                  </a:lnTo>
                  <a:lnTo>
                    <a:pt x="173" y="142"/>
                  </a:lnTo>
                  <a:lnTo>
                    <a:pt x="183" y="142"/>
                  </a:lnTo>
                  <a:lnTo>
                    <a:pt x="190" y="140"/>
                  </a:lnTo>
                  <a:lnTo>
                    <a:pt x="200" y="138"/>
                  </a:lnTo>
                  <a:lnTo>
                    <a:pt x="194" y="146"/>
                  </a:lnTo>
                  <a:lnTo>
                    <a:pt x="186" y="155"/>
                  </a:lnTo>
                  <a:lnTo>
                    <a:pt x="181" y="161"/>
                  </a:lnTo>
                  <a:lnTo>
                    <a:pt x="160" y="161"/>
                  </a:lnTo>
                  <a:lnTo>
                    <a:pt x="140" y="157"/>
                  </a:lnTo>
                  <a:lnTo>
                    <a:pt x="119" y="157"/>
                  </a:lnTo>
                  <a:lnTo>
                    <a:pt x="113" y="159"/>
                  </a:lnTo>
                  <a:lnTo>
                    <a:pt x="106" y="165"/>
                  </a:lnTo>
                  <a:lnTo>
                    <a:pt x="100" y="167"/>
                  </a:lnTo>
                  <a:lnTo>
                    <a:pt x="87" y="169"/>
                  </a:lnTo>
                  <a:lnTo>
                    <a:pt x="75" y="169"/>
                  </a:lnTo>
                  <a:lnTo>
                    <a:pt x="62" y="167"/>
                  </a:lnTo>
                  <a:lnTo>
                    <a:pt x="62" y="196"/>
                  </a:lnTo>
                  <a:lnTo>
                    <a:pt x="67" y="196"/>
                  </a:lnTo>
                  <a:lnTo>
                    <a:pt x="71" y="197"/>
                  </a:lnTo>
                  <a:lnTo>
                    <a:pt x="77" y="199"/>
                  </a:lnTo>
                  <a:lnTo>
                    <a:pt x="77" y="205"/>
                  </a:lnTo>
                  <a:lnTo>
                    <a:pt x="96" y="211"/>
                  </a:lnTo>
                  <a:lnTo>
                    <a:pt x="117" y="213"/>
                  </a:lnTo>
                  <a:lnTo>
                    <a:pt x="135" y="219"/>
                  </a:lnTo>
                  <a:lnTo>
                    <a:pt x="135" y="240"/>
                  </a:lnTo>
                  <a:lnTo>
                    <a:pt x="140" y="240"/>
                  </a:lnTo>
                  <a:lnTo>
                    <a:pt x="144" y="238"/>
                  </a:lnTo>
                  <a:lnTo>
                    <a:pt x="150" y="238"/>
                  </a:lnTo>
                  <a:lnTo>
                    <a:pt x="150" y="246"/>
                  </a:lnTo>
                  <a:lnTo>
                    <a:pt x="184" y="242"/>
                  </a:lnTo>
                  <a:lnTo>
                    <a:pt x="217" y="240"/>
                  </a:lnTo>
                  <a:lnTo>
                    <a:pt x="246" y="234"/>
                  </a:lnTo>
                  <a:lnTo>
                    <a:pt x="250" y="226"/>
                  </a:lnTo>
                  <a:lnTo>
                    <a:pt x="261" y="221"/>
                  </a:lnTo>
                  <a:lnTo>
                    <a:pt x="280" y="213"/>
                  </a:lnTo>
                  <a:lnTo>
                    <a:pt x="286" y="213"/>
                  </a:lnTo>
                  <a:lnTo>
                    <a:pt x="290" y="215"/>
                  </a:lnTo>
                  <a:lnTo>
                    <a:pt x="296" y="213"/>
                  </a:lnTo>
                  <a:lnTo>
                    <a:pt x="307" y="205"/>
                  </a:lnTo>
                  <a:lnTo>
                    <a:pt x="321" y="192"/>
                  </a:lnTo>
                  <a:lnTo>
                    <a:pt x="330" y="184"/>
                  </a:lnTo>
                  <a:lnTo>
                    <a:pt x="334" y="182"/>
                  </a:lnTo>
                  <a:lnTo>
                    <a:pt x="338" y="182"/>
                  </a:lnTo>
                  <a:lnTo>
                    <a:pt x="342" y="184"/>
                  </a:lnTo>
                  <a:lnTo>
                    <a:pt x="340" y="192"/>
                  </a:lnTo>
                  <a:lnTo>
                    <a:pt x="334" y="203"/>
                  </a:lnTo>
                  <a:lnTo>
                    <a:pt x="342" y="205"/>
                  </a:lnTo>
                  <a:lnTo>
                    <a:pt x="351" y="207"/>
                  </a:lnTo>
                  <a:lnTo>
                    <a:pt x="361" y="211"/>
                  </a:lnTo>
                  <a:lnTo>
                    <a:pt x="361" y="222"/>
                  </a:lnTo>
                  <a:lnTo>
                    <a:pt x="367" y="221"/>
                  </a:lnTo>
                  <a:lnTo>
                    <a:pt x="371" y="217"/>
                  </a:lnTo>
                  <a:lnTo>
                    <a:pt x="376" y="213"/>
                  </a:lnTo>
                  <a:lnTo>
                    <a:pt x="380" y="222"/>
                  </a:lnTo>
                  <a:lnTo>
                    <a:pt x="394" y="221"/>
                  </a:lnTo>
                  <a:lnTo>
                    <a:pt x="399" y="222"/>
                  </a:lnTo>
                  <a:lnTo>
                    <a:pt x="399" y="226"/>
                  </a:lnTo>
                  <a:lnTo>
                    <a:pt x="407" y="224"/>
                  </a:lnTo>
                  <a:lnTo>
                    <a:pt x="409" y="221"/>
                  </a:lnTo>
                  <a:lnTo>
                    <a:pt x="411" y="219"/>
                  </a:lnTo>
                  <a:lnTo>
                    <a:pt x="419" y="219"/>
                  </a:lnTo>
                  <a:lnTo>
                    <a:pt x="428" y="221"/>
                  </a:lnTo>
                  <a:lnTo>
                    <a:pt x="438" y="219"/>
                  </a:lnTo>
                  <a:lnTo>
                    <a:pt x="440" y="215"/>
                  </a:lnTo>
                  <a:lnTo>
                    <a:pt x="444" y="209"/>
                  </a:lnTo>
                  <a:lnTo>
                    <a:pt x="445" y="205"/>
                  </a:lnTo>
                  <a:lnTo>
                    <a:pt x="434" y="197"/>
                  </a:lnTo>
                  <a:lnTo>
                    <a:pt x="426" y="196"/>
                  </a:lnTo>
                  <a:lnTo>
                    <a:pt x="422" y="203"/>
                  </a:lnTo>
                  <a:lnTo>
                    <a:pt x="415" y="201"/>
                  </a:lnTo>
                  <a:lnTo>
                    <a:pt x="413" y="201"/>
                  </a:lnTo>
                  <a:lnTo>
                    <a:pt x="407" y="203"/>
                  </a:lnTo>
                  <a:lnTo>
                    <a:pt x="405" y="197"/>
                  </a:lnTo>
                  <a:lnTo>
                    <a:pt x="405" y="194"/>
                  </a:lnTo>
                  <a:lnTo>
                    <a:pt x="403" y="192"/>
                  </a:lnTo>
                  <a:lnTo>
                    <a:pt x="401" y="186"/>
                  </a:lnTo>
                  <a:lnTo>
                    <a:pt x="421" y="188"/>
                  </a:lnTo>
                  <a:lnTo>
                    <a:pt x="438" y="192"/>
                  </a:lnTo>
                  <a:lnTo>
                    <a:pt x="442" y="192"/>
                  </a:lnTo>
                  <a:lnTo>
                    <a:pt x="430" y="186"/>
                  </a:lnTo>
                  <a:lnTo>
                    <a:pt x="430" y="178"/>
                  </a:lnTo>
                  <a:lnTo>
                    <a:pt x="436" y="178"/>
                  </a:lnTo>
                  <a:lnTo>
                    <a:pt x="440" y="176"/>
                  </a:lnTo>
                  <a:lnTo>
                    <a:pt x="445" y="176"/>
                  </a:lnTo>
                  <a:lnTo>
                    <a:pt x="445" y="184"/>
                  </a:lnTo>
                  <a:lnTo>
                    <a:pt x="449" y="184"/>
                  </a:lnTo>
                  <a:lnTo>
                    <a:pt x="453" y="182"/>
                  </a:lnTo>
                  <a:lnTo>
                    <a:pt x="457" y="184"/>
                  </a:lnTo>
                  <a:lnTo>
                    <a:pt x="457" y="196"/>
                  </a:lnTo>
                  <a:lnTo>
                    <a:pt x="469" y="194"/>
                  </a:lnTo>
                  <a:lnTo>
                    <a:pt x="470" y="186"/>
                  </a:lnTo>
                  <a:lnTo>
                    <a:pt x="465" y="184"/>
                  </a:lnTo>
                  <a:lnTo>
                    <a:pt x="467" y="176"/>
                  </a:lnTo>
                  <a:lnTo>
                    <a:pt x="469" y="167"/>
                  </a:lnTo>
                  <a:lnTo>
                    <a:pt x="465" y="161"/>
                  </a:lnTo>
                  <a:lnTo>
                    <a:pt x="444" y="157"/>
                  </a:lnTo>
                  <a:lnTo>
                    <a:pt x="424" y="157"/>
                  </a:lnTo>
                  <a:lnTo>
                    <a:pt x="411" y="146"/>
                  </a:lnTo>
                  <a:lnTo>
                    <a:pt x="411" y="134"/>
                  </a:lnTo>
                  <a:lnTo>
                    <a:pt x="403" y="134"/>
                  </a:lnTo>
                  <a:lnTo>
                    <a:pt x="407" y="146"/>
                  </a:lnTo>
                  <a:lnTo>
                    <a:pt x="407" y="149"/>
                  </a:lnTo>
                  <a:lnTo>
                    <a:pt x="403" y="149"/>
                  </a:lnTo>
                  <a:lnTo>
                    <a:pt x="403" y="146"/>
                  </a:lnTo>
                  <a:lnTo>
                    <a:pt x="398" y="144"/>
                  </a:lnTo>
                  <a:lnTo>
                    <a:pt x="390" y="142"/>
                  </a:lnTo>
                  <a:lnTo>
                    <a:pt x="384" y="142"/>
                  </a:lnTo>
                  <a:lnTo>
                    <a:pt x="384" y="134"/>
                  </a:lnTo>
                  <a:lnTo>
                    <a:pt x="376" y="123"/>
                  </a:lnTo>
                  <a:lnTo>
                    <a:pt x="374" y="115"/>
                  </a:lnTo>
                  <a:lnTo>
                    <a:pt x="369" y="103"/>
                  </a:lnTo>
                  <a:lnTo>
                    <a:pt x="361" y="99"/>
                  </a:lnTo>
                  <a:lnTo>
                    <a:pt x="357" y="99"/>
                  </a:lnTo>
                  <a:lnTo>
                    <a:pt x="353" y="88"/>
                  </a:lnTo>
                  <a:lnTo>
                    <a:pt x="351" y="76"/>
                  </a:lnTo>
                  <a:lnTo>
                    <a:pt x="346" y="69"/>
                  </a:lnTo>
                  <a:lnTo>
                    <a:pt x="346" y="65"/>
                  </a:lnTo>
                  <a:lnTo>
                    <a:pt x="330" y="65"/>
                  </a:lnTo>
                  <a:lnTo>
                    <a:pt x="332" y="61"/>
                  </a:lnTo>
                  <a:lnTo>
                    <a:pt x="334" y="59"/>
                  </a:lnTo>
                  <a:lnTo>
                    <a:pt x="338" y="57"/>
                  </a:lnTo>
                  <a:lnTo>
                    <a:pt x="338" y="42"/>
                  </a:lnTo>
                  <a:lnTo>
                    <a:pt x="328" y="30"/>
                  </a:lnTo>
                  <a:lnTo>
                    <a:pt x="315" y="15"/>
                  </a:lnTo>
                  <a:lnTo>
                    <a:pt x="303" y="3"/>
                  </a:lnTo>
                  <a:lnTo>
                    <a:pt x="292" y="11"/>
                  </a:lnTo>
                  <a:lnTo>
                    <a:pt x="296" y="40"/>
                  </a:lnTo>
                  <a:lnTo>
                    <a:pt x="303" y="49"/>
                  </a:lnTo>
                  <a:lnTo>
                    <a:pt x="330" y="57"/>
                  </a:lnTo>
                  <a:lnTo>
                    <a:pt x="328" y="59"/>
                  </a:lnTo>
                  <a:lnTo>
                    <a:pt x="326" y="63"/>
                  </a:lnTo>
                  <a:lnTo>
                    <a:pt x="326" y="65"/>
                  </a:lnTo>
                  <a:lnTo>
                    <a:pt x="321" y="63"/>
                  </a:lnTo>
                  <a:lnTo>
                    <a:pt x="319" y="61"/>
                  </a:lnTo>
                  <a:lnTo>
                    <a:pt x="315" y="61"/>
                  </a:lnTo>
                  <a:lnTo>
                    <a:pt x="309" y="67"/>
                  </a:lnTo>
                  <a:lnTo>
                    <a:pt x="303" y="69"/>
                  </a:lnTo>
                  <a:lnTo>
                    <a:pt x="302" y="65"/>
                  </a:lnTo>
                  <a:lnTo>
                    <a:pt x="302" y="63"/>
                  </a:lnTo>
                  <a:lnTo>
                    <a:pt x="296" y="61"/>
                  </a:lnTo>
                  <a:lnTo>
                    <a:pt x="294" y="63"/>
                  </a:lnTo>
                  <a:lnTo>
                    <a:pt x="294" y="69"/>
                  </a:lnTo>
                  <a:lnTo>
                    <a:pt x="292" y="73"/>
                  </a:lnTo>
                  <a:lnTo>
                    <a:pt x="288" y="76"/>
                  </a:lnTo>
                  <a:lnTo>
                    <a:pt x="284" y="88"/>
                  </a:lnTo>
                  <a:lnTo>
                    <a:pt x="280" y="88"/>
                  </a:lnTo>
                  <a:lnTo>
                    <a:pt x="269" y="92"/>
                  </a:lnTo>
                  <a:lnTo>
                    <a:pt x="269" y="82"/>
                  </a:lnTo>
                  <a:lnTo>
                    <a:pt x="271" y="74"/>
                  </a:lnTo>
                  <a:lnTo>
                    <a:pt x="275" y="63"/>
                  </a:lnTo>
                  <a:lnTo>
                    <a:pt x="280" y="55"/>
                  </a:lnTo>
                  <a:lnTo>
                    <a:pt x="280" y="49"/>
                  </a:lnTo>
                  <a:lnTo>
                    <a:pt x="269" y="46"/>
                  </a:lnTo>
                  <a:lnTo>
                    <a:pt x="265" y="40"/>
                  </a:lnTo>
                  <a:lnTo>
                    <a:pt x="265" y="32"/>
                  </a:lnTo>
                  <a:lnTo>
                    <a:pt x="261" y="26"/>
                  </a:lnTo>
                  <a:lnTo>
                    <a:pt x="259" y="26"/>
                  </a:lnTo>
                  <a:lnTo>
                    <a:pt x="257" y="28"/>
                  </a:lnTo>
                  <a:lnTo>
                    <a:pt x="254" y="30"/>
                  </a:lnTo>
                  <a:lnTo>
                    <a:pt x="252" y="28"/>
                  </a:lnTo>
                  <a:lnTo>
                    <a:pt x="246" y="25"/>
                  </a:lnTo>
                  <a:lnTo>
                    <a:pt x="242" y="23"/>
                  </a:lnTo>
                  <a:lnTo>
                    <a:pt x="238" y="32"/>
                  </a:lnTo>
                  <a:lnTo>
                    <a:pt x="234" y="40"/>
                  </a:lnTo>
                  <a:lnTo>
                    <a:pt x="231" y="49"/>
                  </a:lnTo>
                  <a:lnTo>
                    <a:pt x="219" y="49"/>
                  </a:lnTo>
                  <a:lnTo>
                    <a:pt x="204" y="26"/>
                  </a:lnTo>
                  <a:lnTo>
                    <a:pt x="192" y="19"/>
                  </a:lnTo>
                  <a:lnTo>
                    <a:pt x="177" y="19"/>
                  </a:lnTo>
                  <a:lnTo>
                    <a:pt x="177" y="36"/>
                  </a:lnTo>
                  <a:lnTo>
                    <a:pt x="179" y="49"/>
                  </a:lnTo>
                  <a:lnTo>
                    <a:pt x="181" y="65"/>
                  </a:lnTo>
                  <a:lnTo>
                    <a:pt x="169" y="69"/>
                  </a:lnTo>
                  <a:lnTo>
                    <a:pt x="160" y="63"/>
                  </a:lnTo>
                  <a:lnTo>
                    <a:pt x="138" y="49"/>
                  </a:lnTo>
                  <a:lnTo>
                    <a:pt x="138" y="36"/>
                  </a:lnTo>
                  <a:lnTo>
                    <a:pt x="140" y="15"/>
                  </a:lnTo>
                  <a:lnTo>
                    <a:pt x="138" y="3"/>
                  </a:lnTo>
                  <a:lnTo>
                    <a:pt x="133" y="1"/>
                  </a:lnTo>
                  <a:lnTo>
                    <a:pt x="125" y="1"/>
                  </a:lnTo>
                  <a:lnTo>
                    <a:pt x="119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69" name="Freeform 274"/>
            <p:cNvSpPr>
              <a:spLocks/>
            </p:cNvSpPr>
            <p:nvPr/>
          </p:nvSpPr>
          <p:spPr bwMode="gray">
            <a:xfrm>
              <a:off x="2037" y="1383"/>
              <a:ext cx="9" cy="10"/>
            </a:xfrm>
            <a:custGeom>
              <a:avLst/>
              <a:gdLst>
                <a:gd name="T0" fmla="*/ 12 w 19"/>
                <a:gd name="T1" fmla="*/ 0 h 19"/>
                <a:gd name="T2" fmla="*/ 0 w 19"/>
                <a:gd name="T3" fmla="*/ 5 h 19"/>
                <a:gd name="T4" fmla="*/ 2 w 19"/>
                <a:gd name="T5" fmla="*/ 11 h 19"/>
                <a:gd name="T6" fmla="*/ 12 w 19"/>
                <a:gd name="T7" fmla="*/ 19 h 19"/>
                <a:gd name="T8" fmla="*/ 15 w 19"/>
                <a:gd name="T9" fmla="*/ 11 h 19"/>
                <a:gd name="T10" fmla="*/ 19 w 19"/>
                <a:gd name="T11" fmla="*/ 2 h 19"/>
                <a:gd name="T12" fmla="*/ 12 w 19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19"/>
                <a:gd name="T23" fmla="*/ 19 w 19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19">
                  <a:moveTo>
                    <a:pt x="12" y="0"/>
                  </a:moveTo>
                  <a:lnTo>
                    <a:pt x="0" y="5"/>
                  </a:lnTo>
                  <a:lnTo>
                    <a:pt x="2" y="11"/>
                  </a:lnTo>
                  <a:lnTo>
                    <a:pt x="12" y="19"/>
                  </a:lnTo>
                  <a:lnTo>
                    <a:pt x="15" y="11"/>
                  </a:lnTo>
                  <a:lnTo>
                    <a:pt x="19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0" name="Freeform 275"/>
            <p:cNvSpPr>
              <a:spLocks/>
            </p:cNvSpPr>
            <p:nvPr/>
          </p:nvSpPr>
          <p:spPr bwMode="gray">
            <a:xfrm>
              <a:off x="2127" y="1499"/>
              <a:ext cx="2" cy="3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8 h 8"/>
                <a:gd name="T4" fmla="*/ 4 w 4"/>
                <a:gd name="T5" fmla="*/ 0 h 8"/>
                <a:gd name="T6" fmla="*/ 0 w 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8"/>
                <a:gd name="T14" fmla="*/ 4 w 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8">
                  <a:moveTo>
                    <a:pt x="0" y="0"/>
                  </a:moveTo>
                  <a:lnTo>
                    <a:pt x="4" y="8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1" name="Freeform 276"/>
            <p:cNvSpPr>
              <a:spLocks/>
            </p:cNvSpPr>
            <p:nvPr/>
          </p:nvSpPr>
          <p:spPr bwMode="gray">
            <a:xfrm>
              <a:off x="3133" y="2571"/>
              <a:ext cx="103" cy="172"/>
            </a:xfrm>
            <a:custGeom>
              <a:avLst/>
              <a:gdLst>
                <a:gd name="T0" fmla="*/ 13 w 205"/>
                <a:gd name="T1" fmla="*/ 277 h 344"/>
                <a:gd name="T2" fmla="*/ 9 w 205"/>
                <a:gd name="T3" fmla="*/ 290 h 344"/>
                <a:gd name="T4" fmla="*/ 25 w 205"/>
                <a:gd name="T5" fmla="*/ 300 h 344"/>
                <a:gd name="T6" fmla="*/ 36 w 205"/>
                <a:gd name="T7" fmla="*/ 317 h 344"/>
                <a:gd name="T8" fmla="*/ 34 w 205"/>
                <a:gd name="T9" fmla="*/ 340 h 344"/>
                <a:gd name="T10" fmla="*/ 100 w 205"/>
                <a:gd name="T11" fmla="*/ 334 h 344"/>
                <a:gd name="T12" fmla="*/ 119 w 205"/>
                <a:gd name="T13" fmla="*/ 332 h 344"/>
                <a:gd name="T14" fmla="*/ 155 w 205"/>
                <a:gd name="T15" fmla="*/ 332 h 344"/>
                <a:gd name="T16" fmla="*/ 171 w 205"/>
                <a:gd name="T17" fmla="*/ 342 h 344"/>
                <a:gd name="T18" fmla="*/ 203 w 205"/>
                <a:gd name="T19" fmla="*/ 344 h 344"/>
                <a:gd name="T20" fmla="*/ 199 w 205"/>
                <a:gd name="T21" fmla="*/ 332 h 344"/>
                <a:gd name="T22" fmla="*/ 205 w 205"/>
                <a:gd name="T23" fmla="*/ 319 h 344"/>
                <a:gd name="T24" fmla="*/ 190 w 205"/>
                <a:gd name="T25" fmla="*/ 300 h 344"/>
                <a:gd name="T26" fmla="*/ 159 w 205"/>
                <a:gd name="T27" fmla="*/ 257 h 344"/>
                <a:gd name="T28" fmla="*/ 150 w 205"/>
                <a:gd name="T29" fmla="*/ 234 h 344"/>
                <a:gd name="T30" fmla="*/ 142 w 205"/>
                <a:gd name="T31" fmla="*/ 223 h 344"/>
                <a:gd name="T32" fmla="*/ 163 w 205"/>
                <a:gd name="T33" fmla="*/ 194 h 344"/>
                <a:gd name="T34" fmla="*/ 171 w 205"/>
                <a:gd name="T35" fmla="*/ 165 h 344"/>
                <a:gd name="T36" fmla="*/ 159 w 205"/>
                <a:gd name="T37" fmla="*/ 140 h 344"/>
                <a:gd name="T38" fmla="*/ 146 w 205"/>
                <a:gd name="T39" fmla="*/ 119 h 344"/>
                <a:gd name="T40" fmla="*/ 161 w 205"/>
                <a:gd name="T41" fmla="*/ 108 h 344"/>
                <a:gd name="T42" fmla="*/ 182 w 205"/>
                <a:gd name="T43" fmla="*/ 104 h 344"/>
                <a:gd name="T44" fmla="*/ 176 w 205"/>
                <a:gd name="T45" fmla="*/ 83 h 344"/>
                <a:gd name="T46" fmla="*/ 173 w 205"/>
                <a:gd name="T47" fmla="*/ 56 h 344"/>
                <a:gd name="T48" fmla="*/ 176 w 205"/>
                <a:gd name="T49" fmla="*/ 38 h 344"/>
                <a:gd name="T50" fmla="*/ 171 w 205"/>
                <a:gd name="T51" fmla="*/ 21 h 344"/>
                <a:gd name="T52" fmla="*/ 155 w 205"/>
                <a:gd name="T53" fmla="*/ 4 h 344"/>
                <a:gd name="T54" fmla="*/ 151 w 205"/>
                <a:gd name="T55" fmla="*/ 23 h 344"/>
                <a:gd name="T56" fmla="*/ 155 w 205"/>
                <a:gd name="T57" fmla="*/ 36 h 344"/>
                <a:gd name="T58" fmla="*/ 144 w 205"/>
                <a:gd name="T59" fmla="*/ 54 h 344"/>
                <a:gd name="T60" fmla="*/ 134 w 205"/>
                <a:gd name="T61" fmla="*/ 69 h 344"/>
                <a:gd name="T62" fmla="*/ 130 w 205"/>
                <a:gd name="T63" fmla="*/ 81 h 344"/>
                <a:gd name="T64" fmla="*/ 119 w 205"/>
                <a:gd name="T65" fmla="*/ 102 h 344"/>
                <a:gd name="T66" fmla="*/ 119 w 205"/>
                <a:gd name="T67" fmla="*/ 121 h 344"/>
                <a:gd name="T68" fmla="*/ 100 w 205"/>
                <a:gd name="T69" fmla="*/ 129 h 344"/>
                <a:gd name="T70" fmla="*/ 92 w 205"/>
                <a:gd name="T71" fmla="*/ 140 h 344"/>
                <a:gd name="T72" fmla="*/ 84 w 205"/>
                <a:gd name="T73" fmla="*/ 163 h 344"/>
                <a:gd name="T74" fmla="*/ 75 w 205"/>
                <a:gd name="T75" fmla="*/ 177 h 344"/>
                <a:gd name="T76" fmla="*/ 65 w 205"/>
                <a:gd name="T77" fmla="*/ 194 h 344"/>
                <a:gd name="T78" fmla="*/ 67 w 205"/>
                <a:gd name="T79" fmla="*/ 207 h 344"/>
                <a:gd name="T80" fmla="*/ 56 w 205"/>
                <a:gd name="T81" fmla="*/ 225 h 344"/>
                <a:gd name="T82" fmla="*/ 46 w 205"/>
                <a:gd name="T83" fmla="*/ 209 h 344"/>
                <a:gd name="T84" fmla="*/ 34 w 205"/>
                <a:gd name="T85" fmla="*/ 206 h 344"/>
                <a:gd name="T86" fmla="*/ 21 w 205"/>
                <a:gd name="T87" fmla="*/ 213 h 344"/>
                <a:gd name="T88" fmla="*/ 8 w 205"/>
                <a:gd name="T89" fmla="*/ 227 h 344"/>
                <a:gd name="T90" fmla="*/ 0 w 205"/>
                <a:gd name="T91" fmla="*/ 238 h 344"/>
                <a:gd name="T92" fmla="*/ 4 w 205"/>
                <a:gd name="T93" fmla="*/ 252 h 344"/>
                <a:gd name="T94" fmla="*/ 2 w 205"/>
                <a:gd name="T95" fmla="*/ 282 h 34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5"/>
                <a:gd name="T145" fmla="*/ 0 h 344"/>
                <a:gd name="T146" fmla="*/ 205 w 205"/>
                <a:gd name="T147" fmla="*/ 344 h 34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5" h="344">
                  <a:moveTo>
                    <a:pt x="6" y="282"/>
                  </a:moveTo>
                  <a:lnTo>
                    <a:pt x="6" y="275"/>
                  </a:lnTo>
                  <a:lnTo>
                    <a:pt x="13" y="277"/>
                  </a:lnTo>
                  <a:lnTo>
                    <a:pt x="11" y="279"/>
                  </a:lnTo>
                  <a:lnTo>
                    <a:pt x="9" y="286"/>
                  </a:lnTo>
                  <a:lnTo>
                    <a:pt x="9" y="290"/>
                  </a:lnTo>
                  <a:lnTo>
                    <a:pt x="13" y="292"/>
                  </a:lnTo>
                  <a:lnTo>
                    <a:pt x="25" y="296"/>
                  </a:lnTo>
                  <a:lnTo>
                    <a:pt x="25" y="300"/>
                  </a:lnTo>
                  <a:lnTo>
                    <a:pt x="27" y="305"/>
                  </a:lnTo>
                  <a:lnTo>
                    <a:pt x="32" y="313"/>
                  </a:lnTo>
                  <a:lnTo>
                    <a:pt x="36" y="317"/>
                  </a:lnTo>
                  <a:lnTo>
                    <a:pt x="36" y="327"/>
                  </a:lnTo>
                  <a:lnTo>
                    <a:pt x="34" y="336"/>
                  </a:lnTo>
                  <a:lnTo>
                    <a:pt x="34" y="340"/>
                  </a:lnTo>
                  <a:lnTo>
                    <a:pt x="84" y="340"/>
                  </a:lnTo>
                  <a:lnTo>
                    <a:pt x="96" y="336"/>
                  </a:lnTo>
                  <a:lnTo>
                    <a:pt x="100" y="334"/>
                  </a:lnTo>
                  <a:lnTo>
                    <a:pt x="105" y="336"/>
                  </a:lnTo>
                  <a:lnTo>
                    <a:pt x="111" y="334"/>
                  </a:lnTo>
                  <a:lnTo>
                    <a:pt x="119" y="332"/>
                  </a:lnTo>
                  <a:lnTo>
                    <a:pt x="125" y="334"/>
                  </a:lnTo>
                  <a:lnTo>
                    <a:pt x="148" y="334"/>
                  </a:lnTo>
                  <a:lnTo>
                    <a:pt x="155" y="332"/>
                  </a:lnTo>
                  <a:lnTo>
                    <a:pt x="161" y="334"/>
                  </a:lnTo>
                  <a:lnTo>
                    <a:pt x="167" y="338"/>
                  </a:lnTo>
                  <a:lnTo>
                    <a:pt x="171" y="342"/>
                  </a:lnTo>
                  <a:lnTo>
                    <a:pt x="190" y="342"/>
                  </a:lnTo>
                  <a:lnTo>
                    <a:pt x="198" y="344"/>
                  </a:lnTo>
                  <a:lnTo>
                    <a:pt x="203" y="344"/>
                  </a:lnTo>
                  <a:lnTo>
                    <a:pt x="203" y="342"/>
                  </a:lnTo>
                  <a:lnTo>
                    <a:pt x="201" y="338"/>
                  </a:lnTo>
                  <a:lnTo>
                    <a:pt x="199" y="332"/>
                  </a:lnTo>
                  <a:lnTo>
                    <a:pt x="199" y="327"/>
                  </a:lnTo>
                  <a:lnTo>
                    <a:pt x="203" y="323"/>
                  </a:lnTo>
                  <a:lnTo>
                    <a:pt x="205" y="319"/>
                  </a:lnTo>
                  <a:lnTo>
                    <a:pt x="201" y="317"/>
                  </a:lnTo>
                  <a:lnTo>
                    <a:pt x="196" y="309"/>
                  </a:lnTo>
                  <a:lnTo>
                    <a:pt x="190" y="300"/>
                  </a:lnTo>
                  <a:lnTo>
                    <a:pt x="169" y="279"/>
                  </a:lnTo>
                  <a:lnTo>
                    <a:pt x="167" y="273"/>
                  </a:lnTo>
                  <a:lnTo>
                    <a:pt x="159" y="257"/>
                  </a:lnTo>
                  <a:lnTo>
                    <a:pt x="155" y="248"/>
                  </a:lnTo>
                  <a:lnTo>
                    <a:pt x="151" y="240"/>
                  </a:lnTo>
                  <a:lnTo>
                    <a:pt x="150" y="234"/>
                  </a:lnTo>
                  <a:lnTo>
                    <a:pt x="142" y="231"/>
                  </a:lnTo>
                  <a:lnTo>
                    <a:pt x="140" y="227"/>
                  </a:lnTo>
                  <a:lnTo>
                    <a:pt x="142" y="223"/>
                  </a:lnTo>
                  <a:lnTo>
                    <a:pt x="148" y="219"/>
                  </a:lnTo>
                  <a:lnTo>
                    <a:pt x="155" y="207"/>
                  </a:lnTo>
                  <a:lnTo>
                    <a:pt x="163" y="194"/>
                  </a:lnTo>
                  <a:lnTo>
                    <a:pt x="165" y="186"/>
                  </a:lnTo>
                  <a:lnTo>
                    <a:pt x="173" y="171"/>
                  </a:lnTo>
                  <a:lnTo>
                    <a:pt x="171" y="165"/>
                  </a:lnTo>
                  <a:lnTo>
                    <a:pt x="169" y="154"/>
                  </a:lnTo>
                  <a:lnTo>
                    <a:pt x="165" y="146"/>
                  </a:lnTo>
                  <a:lnTo>
                    <a:pt x="159" y="140"/>
                  </a:lnTo>
                  <a:lnTo>
                    <a:pt x="153" y="131"/>
                  </a:lnTo>
                  <a:lnTo>
                    <a:pt x="148" y="125"/>
                  </a:lnTo>
                  <a:lnTo>
                    <a:pt x="146" y="119"/>
                  </a:lnTo>
                  <a:lnTo>
                    <a:pt x="148" y="115"/>
                  </a:lnTo>
                  <a:lnTo>
                    <a:pt x="151" y="109"/>
                  </a:lnTo>
                  <a:lnTo>
                    <a:pt x="161" y="108"/>
                  </a:lnTo>
                  <a:lnTo>
                    <a:pt x="175" y="108"/>
                  </a:lnTo>
                  <a:lnTo>
                    <a:pt x="182" y="109"/>
                  </a:lnTo>
                  <a:lnTo>
                    <a:pt x="182" y="104"/>
                  </a:lnTo>
                  <a:lnTo>
                    <a:pt x="178" y="98"/>
                  </a:lnTo>
                  <a:lnTo>
                    <a:pt x="178" y="86"/>
                  </a:lnTo>
                  <a:lnTo>
                    <a:pt x="176" y="83"/>
                  </a:lnTo>
                  <a:lnTo>
                    <a:pt x="175" y="77"/>
                  </a:lnTo>
                  <a:lnTo>
                    <a:pt x="171" y="61"/>
                  </a:lnTo>
                  <a:lnTo>
                    <a:pt x="173" y="56"/>
                  </a:lnTo>
                  <a:lnTo>
                    <a:pt x="175" y="52"/>
                  </a:lnTo>
                  <a:lnTo>
                    <a:pt x="175" y="42"/>
                  </a:lnTo>
                  <a:lnTo>
                    <a:pt x="176" y="38"/>
                  </a:lnTo>
                  <a:lnTo>
                    <a:pt x="175" y="35"/>
                  </a:lnTo>
                  <a:lnTo>
                    <a:pt x="171" y="31"/>
                  </a:lnTo>
                  <a:lnTo>
                    <a:pt x="171" y="21"/>
                  </a:lnTo>
                  <a:lnTo>
                    <a:pt x="169" y="15"/>
                  </a:lnTo>
                  <a:lnTo>
                    <a:pt x="163" y="10"/>
                  </a:lnTo>
                  <a:lnTo>
                    <a:pt x="155" y="4"/>
                  </a:lnTo>
                  <a:lnTo>
                    <a:pt x="153" y="0"/>
                  </a:lnTo>
                  <a:lnTo>
                    <a:pt x="150" y="23"/>
                  </a:lnTo>
                  <a:lnTo>
                    <a:pt x="151" y="23"/>
                  </a:lnTo>
                  <a:lnTo>
                    <a:pt x="155" y="27"/>
                  </a:lnTo>
                  <a:lnTo>
                    <a:pt x="157" y="31"/>
                  </a:lnTo>
                  <a:lnTo>
                    <a:pt x="155" y="36"/>
                  </a:lnTo>
                  <a:lnTo>
                    <a:pt x="153" y="48"/>
                  </a:lnTo>
                  <a:lnTo>
                    <a:pt x="148" y="52"/>
                  </a:lnTo>
                  <a:lnTo>
                    <a:pt x="144" y="54"/>
                  </a:lnTo>
                  <a:lnTo>
                    <a:pt x="140" y="58"/>
                  </a:lnTo>
                  <a:lnTo>
                    <a:pt x="138" y="63"/>
                  </a:lnTo>
                  <a:lnTo>
                    <a:pt x="134" y="69"/>
                  </a:lnTo>
                  <a:lnTo>
                    <a:pt x="130" y="73"/>
                  </a:lnTo>
                  <a:lnTo>
                    <a:pt x="128" y="77"/>
                  </a:lnTo>
                  <a:lnTo>
                    <a:pt x="130" y="81"/>
                  </a:lnTo>
                  <a:lnTo>
                    <a:pt x="127" y="92"/>
                  </a:lnTo>
                  <a:lnTo>
                    <a:pt x="125" y="96"/>
                  </a:lnTo>
                  <a:lnTo>
                    <a:pt x="119" y="102"/>
                  </a:lnTo>
                  <a:lnTo>
                    <a:pt x="119" y="111"/>
                  </a:lnTo>
                  <a:lnTo>
                    <a:pt x="121" y="117"/>
                  </a:lnTo>
                  <a:lnTo>
                    <a:pt x="119" y="121"/>
                  </a:lnTo>
                  <a:lnTo>
                    <a:pt x="113" y="123"/>
                  </a:lnTo>
                  <a:lnTo>
                    <a:pt x="107" y="127"/>
                  </a:lnTo>
                  <a:lnTo>
                    <a:pt x="100" y="129"/>
                  </a:lnTo>
                  <a:lnTo>
                    <a:pt x="96" y="131"/>
                  </a:lnTo>
                  <a:lnTo>
                    <a:pt x="94" y="134"/>
                  </a:lnTo>
                  <a:lnTo>
                    <a:pt x="92" y="140"/>
                  </a:lnTo>
                  <a:lnTo>
                    <a:pt x="92" y="152"/>
                  </a:lnTo>
                  <a:lnTo>
                    <a:pt x="84" y="159"/>
                  </a:lnTo>
                  <a:lnTo>
                    <a:pt x="84" y="163"/>
                  </a:lnTo>
                  <a:lnTo>
                    <a:pt x="82" y="169"/>
                  </a:lnTo>
                  <a:lnTo>
                    <a:pt x="79" y="175"/>
                  </a:lnTo>
                  <a:lnTo>
                    <a:pt x="75" y="177"/>
                  </a:lnTo>
                  <a:lnTo>
                    <a:pt x="71" y="181"/>
                  </a:lnTo>
                  <a:lnTo>
                    <a:pt x="67" y="188"/>
                  </a:lnTo>
                  <a:lnTo>
                    <a:pt x="65" y="194"/>
                  </a:lnTo>
                  <a:lnTo>
                    <a:pt x="65" y="198"/>
                  </a:lnTo>
                  <a:lnTo>
                    <a:pt x="67" y="204"/>
                  </a:lnTo>
                  <a:lnTo>
                    <a:pt x="67" y="207"/>
                  </a:lnTo>
                  <a:lnTo>
                    <a:pt x="65" y="211"/>
                  </a:lnTo>
                  <a:lnTo>
                    <a:pt x="61" y="217"/>
                  </a:lnTo>
                  <a:lnTo>
                    <a:pt x="56" y="225"/>
                  </a:lnTo>
                  <a:lnTo>
                    <a:pt x="48" y="227"/>
                  </a:lnTo>
                  <a:lnTo>
                    <a:pt x="48" y="213"/>
                  </a:lnTo>
                  <a:lnTo>
                    <a:pt x="46" y="209"/>
                  </a:lnTo>
                  <a:lnTo>
                    <a:pt x="40" y="207"/>
                  </a:lnTo>
                  <a:lnTo>
                    <a:pt x="36" y="207"/>
                  </a:lnTo>
                  <a:lnTo>
                    <a:pt x="34" y="206"/>
                  </a:lnTo>
                  <a:lnTo>
                    <a:pt x="32" y="207"/>
                  </a:lnTo>
                  <a:lnTo>
                    <a:pt x="27" y="209"/>
                  </a:lnTo>
                  <a:lnTo>
                    <a:pt x="21" y="213"/>
                  </a:lnTo>
                  <a:lnTo>
                    <a:pt x="13" y="215"/>
                  </a:lnTo>
                  <a:lnTo>
                    <a:pt x="9" y="219"/>
                  </a:lnTo>
                  <a:lnTo>
                    <a:pt x="8" y="227"/>
                  </a:lnTo>
                  <a:lnTo>
                    <a:pt x="6" y="232"/>
                  </a:lnTo>
                  <a:lnTo>
                    <a:pt x="4" y="236"/>
                  </a:lnTo>
                  <a:lnTo>
                    <a:pt x="0" y="238"/>
                  </a:lnTo>
                  <a:lnTo>
                    <a:pt x="0" y="244"/>
                  </a:lnTo>
                  <a:lnTo>
                    <a:pt x="2" y="250"/>
                  </a:lnTo>
                  <a:lnTo>
                    <a:pt x="4" y="252"/>
                  </a:lnTo>
                  <a:lnTo>
                    <a:pt x="6" y="252"/>
                  </a:lnTo>
                  <a:lnTo>
                    <a:pt x="0" y="263"/>
                  </a:lnTo>
                  <a:lnTo>
                    <a:pt x="2" y="282"/>
                  </a:lnTo>
                  <a:lnTo>
                    <a:pt x="6" y="28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2" name="Freeform 277"/>
            <p:cNvSpPr>
              <a:spLocks/>
            </p:cNvSpPr>
            <p:nvPr/>
          </p:nvSpPr>
          <p:spPr bwMode="gray">
            <a:xfrm>
              <a:off x="3394" y="2826"/>
              <a:ext cx="27" cy="30"/>
            </a:xfrm>
            <a:custGeom>
              <a:avLst/>
              <a:gdLst>
                <a:gd name="T0" fmla="*/ 2 w 56"/>
                <a:gd name="T1" fmla="*/ 21 h 62"/>
                <a:gd name="T2" fmla="*/ 2 w 56"/>
                <a:gd name="T3" fmla="*/ 17 h 62"/>
                <a:gd name="T4" fmla="*/ 0 w 56"/>
                <a:gd name="T5" fmla="*/ 6 h 62"/>
                <a:gd name="T6" fmla="*/ 2 w 56"/>
                <a:gd name="T7" fmla="*/ 4 h 62"/>
                <a:gd name="T8" fmla="*/ 6 w 56"/>
                <a:gd name="T9" fmla="*/ 2 h 62"/>
                <a:gd name="T10" fmla="*/ 10 w 56"/>
                <a:gd name="T11" fmla="*/ 4 h 62"/>
                <a:gd name="T12" fmla="*/ 15 w 56"/>
                <a:gd name="T13" fmla="*/ 16 h 62"/>
                <a:gd name="T14" fmla="*/ 19 w 56"/>
                <a:gd name="T15" fmla="*/ 14 h 62"/>
                <a:gd name="T16" fmla="*/ 25 w 56"/>
                <a:gd name="T17" fmla="*/ 6 h 62"/>
                <a:gd name="T18" fmla="*/ 27 w 56"/>
                <a:gd name="T19" fmla="*/ 0 h 62"/>
                <a:gd name="T20" fmla="*/ 29 w 56"/>
                <a:gd name="T21" fmla="*/ 0 h 62"/>
                <a:gd name="T22" fmla="*/ 36 w 56"/>
                <a:gd name="T23" fmla="*/ 2 h 62"/>
                <a:gd name="T24" fmla="*/ 42 w 56"/>
                <a:gd name="T25" fmla="*/ 4 h 62"/>
                <a:gd name="T26" fmla="*/ 46 w 56"/>
                <a:gd name="T27" fmla="*/ 4 h 62"/>
                <a:gd name="T28" fmla="*/ 44 w 56"/>
                <a:gd name="T29" fmla="*/ 8 h 62"/>
                <a:gd name="T30" fmla="*/ 44 w 56"/>
                <a:gd name="T31" fmla="*/ 16 h 62"/>
                <a:gd name="T32" fmla="*/ 48 w 56"/>
                <a:gd name="T33" fmla="*/ 21 h 62"/>
                <a:gd name="T34" fmla="*/ 54 w 56"/>
                <a:gd name="T35" fmla="*/ 23 h 62"/>
                <a:gd name="T36" fmla="*/ 56 w 56"/>
                <a:gd name="T37" fmla="*/ 23 h 62"/>
                <a:gd name="T38" fmla="*/ 56 w 56"/>
                <a:gd name="T39" fmla="*/ 25 h 62"/>
                <a:gd name="T40" fmla="*/ 54 w 56"/>
                <a:gd name="T41" fmla="*/ 31 h 62"/>
                <a:gd name="T42" fmla="*/ 52 w 56"/>
                <a:gd name="T43" fmla="*/ 35 h 62"/>
                <a:gd name="T44" fmla="*/ 48 w 56"/>
                <a:gd name="T45" fmla="*/ 39 h 62"/>
                <a:gd name="T46" fmla="*/ 42 w 56"/>
                <a:gd name="T47" fmla="*/ 42 h 62"/>
                <a:gd name="T48" fmla="*/ 40 w 56"/>
                <a:gd name="T49" fmla="*/ 42 h 62"/>
                <a:gd name="T50" fmla="*/ 38 w 56"/>
                <a:gd name="T51" fmla="*/ 58 h 62"/>
                <a:gd name="T52" fmla="*/ 31 w 56"/>
                <a:gd name="T53" fmla="*/ 62 h 62"/>
                <a:gd name="T54" fmla="*/ 8 w 56"/>
                <a:gd name="T55" fmla="*/ 62 h 62"/>
                <a:gd name="T56" fmla="*/ 8 w 56"/>
                <a:gd name="T57" fmla="*/ 19 h 62"/>
                <a:gd name="T58" fmla="*/ 2 w 56"/>
                <a:gd name="T59" fmla="*/ 21 h 6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6"/>
                <a:gd name="T91" fmla="*/ 0 h 62"/>
                <a:gd name="T92" fmla="*/ 56 w 56"/>
                <a:gd name="T93" fmla="*/ 62 h 6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6" h="62">
                  <a:moveTo>
                    <a:pt x="2" y="21"/>
                  </a:moveTo>
                  <a:lnTo>
                    <a:pt x="2" y="17"/>
                  </a:lnTo>
                  <a:lnTo>
                    <a:pt x="0" y="6"/>
                  </a:lnTo>
                  <a:lnTo>
                    <a:pt x="2" y="4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5" y="16"/>
                  </a:lnTo>
                  <a:lnTo>
                    <a:pt x="19" y="14"/>
                  </a:lnTo>
                  <a:lnTo>
                    <a:pt x="25" y="6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36" y="2"/>
                  </a:lnTo>
                  <a:lnTo>
                    <a:pt x="42" y="4"/>
                  </a:lnTo>
                  <a:lnTo>
                    <a:pt x="46" y="4"/>
                  </a:lnTo>
                  <a:lnTo>
                    <a:pt x="44" y="8"/>
                  </a:lnTo>
                  <a:lnTo>
                    <a:pt x="44" y="16"/>
                  </a:lnTo>
                  <a:lnTo>
                    <a:pt x="48" y="21"/>
                  </a:lnTo>
                  <a:lnTo>
                    <a:pt x="54" y="23"/>
                  </a:lnTo>
                  <a:lnTo>
                    <a:pt x="56" y="23"/>
                  </a:lnTo>
                  <a:lnTo>
                    <a:pt x="56" y="25"/>
                  </a:lnTo>
                  <a:lnTo>
                    <a:pt x="54" y="31"/>
                  </a:lnTo>
                  <a:lnTo>
                    <a:pt x="52" y="35"/>
                  </a:lnTo>
                  <a:lnTo>
                    <a:pt x="48" y="39"/>
                  </a:lnTo>
                  <a:lnTo>
                    <a:pt x="42" y="42"/>
                  </a:lnTo>
                  <a:lnTo>
                    <a:pt x="40" y="42"/>
                  </a:lnTo>
                  <a:lnTo>
                    <a:pt x="38" y="58"/>
                  </a:lnTo>
                  <a:lnTo>
                    <a:pt x="31" y="62"/>
                  </a:lnTo>
                  <a:lnTo>
                    <a:pt x="8" y="62"/>
                  </a:lnTo>
                  <a:lnTo>
                    <a:pt x="8" y="19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3" name="Freeform 278"/>
            <p:cNvSpPr>
              <a:spLocks/>
            </p:cNvSpPr>
            <p:nvPr/>
          </p:nvSpPr>
          <p:spPr bwMode="gray">
            <a:xfrm>
              <a:off x="4184" y="2356"/>
              <a:ext cx="107" cy="255"/>
            </a:xfrm>
            <a:custGeom>
              <a:avLst/>
              <a:gdLst>
                <a:gd name="T0" fmla="*/ 165 w 213"/>
                <a:gd name="T1" fmla="*/ 502 h 512"/>
                <a:gd name="T2" fmla="*/ 168 w 213"/>
                <a:gd name="T3" fmla="*/ 437 h 512"/>
                <a:gd name="T4" fmla="*/ 143 w 213"/>
                <a:gd name="T5" fmla="*/ 377 h 512"/>
                <a:gd name="T6" fmla="*/ 145 w 213"/>
                <a:gd name="T7" fmla="*/ 348 h 512"/>
                <a:gd name="T8" fmla="*/ 136 w 213"/>
                <a:gd name="T9" fmla="*/ 294 h 512"/>
                <a:gd name="T10" fmla="*/ 134 w 213"/>
                <a:gd name="T11" fmla="*/ 260 h 512"/>
                <a:gd name="T12" fmla="*/ 159 w 213"/>
                <a:gd name="T13" fmla="*/ 246 h 512"/>
                <a:gd name="T14" fmla="*/ 168 w 213"/>
                <a:gd name="T15" fmla="*/ 229 h 512"/>
                <a:gd name="T16" fmla="*/ 203 w 213"/>
                <a:gd name="T17" fmla="*/ 220 h 512"/>
                <a:gd name="T18" fmla="*/ 193 w 213"/>
                <a:gd name="T19" fmla="*/ 189 h 512"/>
                <a:gd name="T20" fmla="*/ 180 w 213"/>
                <a:gd name="T21" fmla="*/ 164 h 512"/>
                <a:gd name="T22" fmla="*/ 178 w 213"/>
                <a:gd name="T23" fmla="*/ 141 h 512"/>
                <a:gd name="T24" fmla="*/ 165 w 213"/>
                <a:gd name="T25" fmla="*/ 125 h 512"/>
                <a:gd name="T26" fmla="*/ 153 w 213"/>
                <a:gd name="T27" fmla="*/ 110 h 512"/>
                <a:gd name="T28" fmla="*/ 134 w 213"/>
                <a:gd name="T29" fmla="*/ 120 h 512"/>
                <a:gd name="T30" fmla="*/ 126 w 213"/>
                <a:gd name="T31" fmla="*/ 98 h 512"/>
                <a:gd name="T32" fmla="*/ 143 w 213"/>
                <a:gd name="T33" fmla="*/ 68 h 512"/>
                <a:gd name="T34" fmla="*/ 143 w 213"/>
                <a:gd name="T35" fmla="*/ 33 h 512"/>
                <a:gd name="T36" fmla="*/ 138 w 213"/>
                <a:gd name="T37" fmla="*/ 0 h 512"/>
                <a:gd name="T38" fmla="*/ 122 w 213"/>
                <a:gd name="T39" fmla="*/ 18 h 512"/>
                <a:gd name="T40" fmla="*/ 90 w 213"/>
                <a:gd name="T41" fmla="*/ 33 h 512"/>
                <a:gd name="T42" fmla="*/ 72 w 213"/>
                <a:gd name="T43" fmla="*/ 68 h 512"/>
                <a:gd name="T44" fmla="*/ 49 w 213"/>
                <a:gd name="T45" fmla="*/ 87 h 512"/>
                <a:gd name="T46" fmla="*/ 46 w 213"/>
                <a:gd name="T47" fmla="*/ 112 h 512"/>
                <a:gd name="T48" fmla="*/ 26 w 213"/>
                <a:gd name="T49" fmla="*/ 145 h 512"/>
                <a:gd name="T50" fmla="*/ 30 w 213"/>
                <a:gd name="T51" fmla="*/ 175 h 512"/>
                <a:gd name="T52" fmla="*/ 7 w 213"/>
                <a:gd name="T53" fmla="*/ 181 h 512"/>
                <a:gd name="T54" fmla="*/ 13 w 213"/>
                <a:gd name="T55" fmla="*/ 214 h 512"/>
                <a:gd name="T56" fmla="*/ 1 w 213"/>
                <a:gd name="T57" fmla="*/ 221 h 512"/>
                <a:gd name="T58" fmla="*/ 1 w 213"/>
                <a:gd name="T59" fmla="*/ 229 h 512"/>
                <a:gd name="T60" fmla="*/ 7 w 213"/>
                <a:gd name="T61" fmla="*/ 239 h 512"/>
                <a:gd name="T62" fmla="*/ 15 w 213"/>
                <a:gd name="T63" fmla="*/ 235 h 512"/>
                <a:gd name="T64" fmla="*/ 28 w 213"/>
                <a:gd name="T65" fmla="*/ 248 h 512"/>
                <a:gd name="T66" fmla="*/ 38 w 213"/>
                <a:gd name="T67" fmla="*/ 287 h 512"/>
                <a:gd name="T68" fmla="*/ 48 w 213"/>
                <a:gd name="T69" fmla="*/ 314 h 512"/>
                <a:gd name="T70" fmla="*/ 36 w 213"/>
                <a:gd name="T71" fmla="*/ 343 h 512"/>
                <a:gd name="T72" fmla="*/ 55 w 213"/>
                <a:gd name="T73" fmla="*/ 360 h 512"/>
                <a:gd name="T74" fmla="*/ 92 w 213"/>
                <a:gd name="T75" fmla="*/ 337 h 512"/>
                <a:gd name="T76" fmla="*/ 99 w 213"/>
                <a:gd name="T77" fmla="*/ 327 h 512"/>
                <a:gd name="T78" fmla="*/ 113 w 213"/>
                <a:gd name="T79" fmla="*/ 346 h 512"/>
                <a:gd name="T80" fmla="*/ 119 w 213"/>
                <a:gd name="T81" fmla="*/ 362 h 512"/>
                <a:gd name="T82" fmla="*/ 126 w 213"/>
                <a:gd name="T83" fmla="*/ 377 h 512"/>
                <a:gd name="T84" fmla="*/ 132 w 213"/>
                <a:gd name="T85" fmla="*/ 419 h 512"/>
                <a:gd name="T86" fmla="*/ 136 w 213"/>
                <a:gd name="T87" fmla="*/ 431 h 512"/>
                <a:gd name="T88" fmla="*/ 147 w 213"/>
                <a:gd name="T89" fmla="*/ 454 h 512"/>
                <a:gd name="T90" fmla="*/ 151 w 213"/>
                <a:gd name="T91" fmla="*/ 475 h 512"/>
                <a:gd name="T92" fmla="*/ 157 w 213"/>
                <a:gd name="T93" fmla="*/ 492 h 512"/>
                <a:gd name="T94" fmla="*/ 159 w 213"/>
                <a:gd name="T95" fmla="*/ 512 h 51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13"/>
                <a:gd name="T145" fmla="*/ 0 h 512"/>
                <a:gd name="T146" fmla="*/ 213 w 213"/>
                <a:gd name="T147" fmla="*/ 512 h 51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13" h="512">
                  <a:moveTo>
                    <a:pt x="159" y="512"/>
                  </a:moveTo>
                  <a:lnTo>
                    <a:pt x="163" y="512"/>
                  </a:lnTo>
                  <a:lnTo>
                    <a:pt x="165" y="502"/>
                  </a:lnTo>
                  <a:lnTo>
                    <a:pt x="174" y="473"/>
                  </a:lnTo>
                  <a:lnTo>
                    <a:pt x="174" y="456"/>
                  </a:lnTo>
                  <a:lnTo>
                    <a:pt x="168" y="437"/>
                  </a:lnTo>
                  <a:lnTo>
                    <a:pt x="157" y="423"/>
                  </a:lnTo>
                  <a:lnTo>
                    <a:pt x="149" y="402"/>
                  </a:lnTo>
                  <a:lnTo>
                    <a:pt x="143" y="377"/>
                  </a:lnTo>
                  <a:lnTo>
                    <a:pt x="157" y="371"/>
                  </a:lnTo>
                  <a:lnTo>
                    <a:pt x="157" y="358"/>
                  </a:lnTo>
                  <a:lnTo>
                    <a:pt x="145" y="348"/>
                  </a:lnTo>
                  <a:lnTo>
                    <a:pt x="136" y="335"/>
                  </a:lnTo>
                  <a:lnTo>
                    <a:pt x="130" y="312"/>
                  </a:lnTo>
                  <a:lnTo>
                    <a:pt x="136" y="294"/>
                  </a:lnTo>
                  <a:lnTo>
                    <a:pt x="136" y="283"/>
                  </a:lnTo>
                  <a:lnTo>
                    <a:pt x="132" y="270"/>
                  </a:lnTo>
                  <a:lnTo>
                    <a:pt x="134" y="260"/>
                  </a:lnTo>
                  <a:lnTo>
                    <a:pt x="143" y="258"/>
                  </a:lnTo>
                  <a:lnTo>
                    <a:pt x="151" y="248"/>
                  </a:lnTo>
                  <a:lnTo>
                    <a:pt x="159" y="246"/>
                  </a:lnTo>
                  <a:lnTo>
                    <a:pt x="157" y="239"/>
                  </a:lnTo>
                  <a:lnTo>
                    <a:pt x="163" y="229"/>
                  </a:lnTo>
                  <a:lnTo>
                    <a:pt x="168" y="229"/>
                  </a:lnTo>
                  <a:lnTo>
                    <a:pt x="176" y="233"/>
                  </a:lnTo>
                  <a:lnTo>
                    <a:pt x="195" y="233"/>
                  </a:lnTo>
                  <a:lnTo>
                    <a:pt x="203" y="220"/>
                  </a:lnTo>
                  <a:lnTo>
                    <a:pt x="201" y="206"/>
                  </a:lnTo>
                  <a:lnTo>
                    <a:pt x="213" y="195"/>
                  </a:lnTo>
                  <a:lnTo>
                    <a:pt x="193" y="189"/>
                  </a:lnTo>
                  <a:lnTo>
                    <a:pt x="191" y="179"/>
                  </a:lnTo>
                  <a:lnTo>
                    <a:pt x="188" y="166"/>
                  </a:lnTo>
                  <a:lnTo>
                    <a:pt x="180" y="164"/>
                  </a:lnTo>
                  <a:lnTo>
                    <a:pt x="170" y="162"/>
                  </a:lnTo>
                  <a:lnTo>
                    <a:pt x="170" y="156"/>
                  </a:lnTo>
                  <a:lnTo>
                    <a:pt x="178" y="141"/>
                  </a:lnTo>
                  <a:lnTo>
                    <a:pt x="176" y="137"/>
                  </a:lnTo>
                  <a:lnTo>
                    <a:pt x="168" y="137"/>
                  </a:lnTo>
                  <a:lnTo>
                    <a:pt x="165" y="125"/>
                  </a:lnTo>
                  <a:lnTo>
                    <a:pt x="167" y="118"/>
                  </a:lnTo>
                  <a:lnTo>
                    <a:pt x="161" y="110"/>
                  </a:lnTo>
                  <a:lnTo>
                    <a:pt x="153" y="110"/>
                  </a:lnTo>
                  <a:lnTo>
                    <a:pt x="143" y="114"/>
                  </a:lnTo>
                  <a:lnTo>
                    <a:pt x="138" y="120"/>
                  </a:lnTo>
                  <a:lnTo>
                    <a:pt x="134" y="120"/>
                  </a:lnTo>
                  <a:lnTo>
                    <a:pt x="132" y="116"/>
                  </a:lnTo>
                  <a:lnTo>
                    <a:pt x="132" y="106"/>
                  </a:lnTo>
                  <a:lnTo>
                    <a:pt x="126" y="98"/>
                  </a:lnTo>
                  <a:lnTo>
                    <a:pt x="126" y="91"/>
                  </a:lnTo>
                  <a:lnTo>
                    <a:pt x="136" y="79"/>
                  </a:lnTo>
                  <a:lnTo>
                    <a:pt x="143" y="68"/>
                  </a:lnTo>
                  <a:lnTo>
                    <a:pt x="145" y="50"/>
                  </a:lnTo>
                  <a:lnTo>
                    <a:pt x="147" y="43"/>
                  </a:lnTo>
                  <a:lnTo>
                    <a:pt x="143" y="33"/>
                  </a:lnTo>
                  <a:lnTo>
                    <a:pt x="147" y="20"/>
                  </a:lnTo>
                  <a:lnTo>
                    <a:pt x="142" y="10"/>
                  </a:lnTo>
                  <a:lnTo>
                    <a:pt x="138" y="0"/>
                  </a:lnTo>
                  <a:lnTo>
                    <a:pt x="130" y="0"/>
                  </a:lnTo>
                  <a:lnTo>
                    <a:pt x="122" y="2"/>
                  </a:lnTo>
                  <a:lnTo>
                    <a:pt x="122" y="18"/>
                  </a:lnTo>
                  <a:lnTo>
                    <a:pt x="113" y="33"/>
                  </a:lnTo>
                  <a:lnTo>
                    <a:pt x="105" y="31"/>
                  </a:lnTo>
                  <a:lnTo>
                    <a:pt x="90" y="33"/>
                  </a:lnTo>
                  <a:lnTo>
                    <a:pt x="82" y="50"/>
                  </a:lnTo>
                  <a:lnTo>
                    <a:pt x="82" y="58"/>
                  </a:lnTo>
                  <a:lnTo>
                    <a:pt x="72" y="68"/>
                  </a:lnTo>
                  <a:lnTo>
                    <a:pt x="65" y="77"/>
                  </a:lnTo>
                  <a:lnTo>
                    <a:pt x="53" y="83"/>
                  </a:lnTo>
                  <a:lnTo>
                    <a:pt x="49" y="87"/>
                  </a:lnTo>
                  <a:lnTo>
                    <a:pt x="55" y="93"/>
                  </a:lnTo>
                  <a:lnTo>
                    <a:pt x="55" y="98"/>
                  </a:lnTo>
                  <a:lnTo>
                    <a:pt x="46" y="112"/>
                  </a:lnTo>
                  <a:lnTo>
                    <a:pt x="42" y="129"/>
                  </a:lnTo>
                  <a:lnTo>
                    <a:pt x="26" y="120"/>
                  </a:lnTo>
                  <a:lnTo>
                    <a:pt x="26" y="145"/>
                  </a:lnTo>
                  <a:lnTo>
                    <a:pt x="30" y="154"/>
                  </a:lnTo>
                  <a:lnTo>
                    <a:pt x="32" y="166"/>
                  </a:lnTo>
                  <a:lnTo>
                    <a:pt x="30" y="175"/>
                  </a:lnTo>
                  <a:lnTo>
                    <a:pt x="21" y="185"/>
                  </a:lnTo>
                  <a:lnTo>
                    <a:pt x="15" y="179"/>
                  </a:lnTo>
                  <a:lnTo>
                    <a:pt x="7" y="181"/>
                  </a:lnTo>
                  <a:lnTo>
                    <a:pt x="9" y="195"/>
                  </a:lnTo>
                  <a:lnTo>
                    <a:pt x="13" y="200"/>
                  </a:lnTo>
                  <a:lnTo>
                    <a:pt x="13" y="214"/>
                  </a:lnTo>
                  <a:lnTo>
                    <a:pt x="3" y="208"/>
                  </a:lnTo>
                  <a:lnTo>
                    <a:pt x="0" y="216"/>
                  </a:lnTo>
                  <a:lnTo>
                    <a:pt x="1" y="221"/>
                  </a:lnTo>
                  <a:lnTo>
                    <a:pt x="0" y="223"/>
                  </a:lnTo>
                  <a:lnTo>
                    <a:pt x="1" y="225"/>
                  </a:lnTo>
                  <a:lnTo>
                    <a:pt x="1" y="229"/>
                  </a:lnTo>
                  <a:lnTo>
                    <a:pt x="3" y="231"/>
                  </a:lnTo>
                  <a:lnTo>
                    <a:pt x="3" y="239"/>
                  </a:lnTo>
                  <a:lnTo>
                    <a:pt x="7" y="239"/>
                  </a:lnTo>
                  <a:lnTo>
                    <a:pt x="11" y="237"/>
                  </a:lnTo>
                  <a:lnTo>
                    <a:pt x="11" y="235"/>
                  </a:lnTo>
                  <a:lnTo>
                    <a:pt x="15" y="235"/>
                  </a:lnTo>
                  <a:lnTo>
                    <a:pt x="19" y="231"/>
                  </a:lnTo>
                  <a:lnTo>
                    <a:pt x="26" y="231"/>
                  </a:lnTo>
                  <a:lnTo>
                    <a:pt x="28" y="248"/>
                  </a:lnTo>
                  <a:lnTo>
                    <a:pt x="30" y="264"/>
                  </a:lnTo>
                  <a:lnTo>
                    <a:pt x="34" y="281"/>
                  </a:lnTo>
                  <a:lnTo>
                    <a:pt x="38" y="287"/>
                  </a:lnTo>
                  <a:lnTo>
                    <a:pt x="44" y="293"/>
                  </a:lnTo>
                  <a:lnTo>
                    <a:pt x="49" y="300"/>
                  </a:lnTo>
                  <a:lnTo>
                    <a:pt x="48" y="314"/>
                  </a:lnTo>
                  <a:lnTo>
                    <a:pt x="42" y="325"/>
                  </a:lnTo>
                  <a:lnTo>
                    <a:pt x="38" y="335"/>
                  </a:lnTo>
                  <a:lnTo>
                    <a:pt x="36" y="343"/>
                  </a:lnTo>
                  <a:lnTo>
                    <a:pt x="38" y="350"/>
                  </a:lnTo>
                  <a:lnTo>
                    <a:pt x="38" y="358"/>
                  </a:lnTo>
                  <a:lnTo>
                    <a:pt x="55" y="360"/>
                  </a:lnTo>
                  <a:lnTo>
                    <a:pt x="76" y="356"/>
                  </a:lnTo>
                  <a:lnTo>
                    <a:pt x="92" y="343"/>
                  </a:lnTo>
                  <a:lnTo>
                    <a:pt x="92" y="337"/>
                  </a:lnTo>
                  <a:lnTo>
                    <a:pt x="90" y="331"/>
                  </a:lnTo>
                  <a:lnTo>
                    <a:pt x="92" y="327"/>
                  </a:lnTo>
                  <a:lnTo>
                    <a:pt x="99" y="327"/>
                  </a:lnTo>
                  <a:lnTo>
                    <a:pt x="103" y="333"/>
                  </a:lnTo>
                  <a:lnTo>
                    <a:pt x="109" y="341"/>
                  </a:lnTo>
                  <a:lnTo>
                    <a:pt x="113" y="346"/>
                  </a:lnTo>
                  <a:lnTo>
                    <a:pt x="122" y="346"/>
                  </a:lnTo>
                  <a:lnTo>
                    <a:pt x="122" y="356"/>
                  </a:lnTo>
                  <a:lnTo>
                    <a:pt x="119" y="362"/>
                  </a:lnTo>
                  <a:lnTo>
                    <a:pt x="117" y="369"/>
                  </a:lnTo>
                  <a:lnTo>
                    <a:pt x="120" y="373"/>
                  </a:lnTo>
                  <a:lnTo>
                    <a:pt x="126" y="377"/>
                  </a:lnTo>
                  <a:lnTo>
                    <a:pt x="130" y="381"/>
                  </a:lnTo>
                  <a:lnTo>
                    <a:pt x="130" y="406"/>
                  </a:lnTo>
                  <a:lnTo>
                    <a:pt x="132" y="419"/>
                  </a:lnTo>
                  <a:lnTo>
                    <a:pt x="134" y="421"/>
                  </a:lnTo>
                  <a:lnTo>
                    <a:pt x="136" y="425"/>
                  </a:lnTo>
                  <a:lnTo>
                    <a:pt x="136" y="431"/>
                  </a:lnTo>
                  <a:lnTo>
                    <a:pt x="143" y="431"/>
                  </a:lnTo>
                  <a:lnTo>
                    <a:pt x="147" y="442"/>
                  </a:lnTo>
                  <a:lnTo>
                    <a:pt x="147" y="454"/>
                  </a:lnTo>
                  <a:lnTo>
                    <a:pt x="149" y="466"/>
                  </a:lnTo>
                  <a:lnTo>
                    <a:pt x="151" y="466"/>
                  </a:lnTo>
                  <a:lnTo>
                    <a:pt x="151" y="475"/>
                  </a:lnTo>
                  <a:lnTo>
                    <a:pt x="145" y="483"/>
                  </a:lnTo>
                  <a:lnTo>
                    <a:pt x="143" y="489"/>
                  </a:lnTo>
                  <a:lnTo>
                    <a:pt x="157" y="492"/>
                  </a:lnTo>
                  <a:lnTo>
                    <a:pt x="157" y="502"/>
                  </a:lnTo>
                  <a:lnTo>
                    <a:pt x="159" y="508"/>
                  </a:lnTo>
                  <a:lnTo>
                    <a:pt x="159" y="51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4" name="Freeform 279"/>
            <p:cNvSpPr>
              <a:spLocks/>
            </p:cNvSpPr>
            <p:nvPr/>
          </p:nvSpPr>
          <p:spPr bwMode="gray">
            <a:xfrm>
              <a:off x="2959" y="2532"/>
              <a:ext cx="92" cy="90"/>
            </a:xfrm>
            <a:custGeom>
              <a:avLst/>
              <a:gdLst>
                <a:gd name="T0" fmla="*/ 120 w 184"/>
                <a:gd name="T1" fmla="*/ 129 h 181"/>
                <a:gd name="T2" fmla="*/ 111 w 184"/>
                <a:gd name="T3" fmla="*/ 135 h 181"/>
                <a:gd name="T4" fmla="*/ 82 w 184"/>
                <a:gd name="T5" fmla="*/ 133 h 181"/>
                <a:gd name="T6" fmla="*/ 74 w 184"/>
                <a:gd name="T7" fmla="*/ 152 h 181"/>
                <a:gd name="T8" fmla="*/ 76 w 184"/>
                <a:gd name="T9" fmla="*/ 169 h 181"/>
                <a:gd name="T10" fmla="*/ 74 w 184"/>
                <a:gd name="T11" fmla="*/ 179 h 181"/>
                <a:gd name="T12" fmla="*/ 57 w 184"/>
                <a:gd name="T13" fmla="*/ 181 h 181"/>
                <a:gd name="T14" fmla="*/ 51 w 184"/>
                <a:gd name="T15" fmla="*/ 171 h 181"/>
                <a:gd name="T16" fmla="*/ 42 w 184"/>
                <a:gd name="T17" fmla="*/ 167 h 181"/>
                <a:gd name="T18" fmla="*/ 24 w 184"/>
                <a:gd name="T19" fmla="*/ 173 h 181"/>
                <a:gd name="T20" fmla="*/ 1 w 184"/>
                <a:gd name="T21" fmla="*/ 163 h 181"/>
                <a:gd name="T22" fmla="*/ 0 w 184"/>
                <a:gd name="T23" fmla="*/ 148 h 181"/>
                <a:gd name="T24" fmla="*/ 9 w 184"/>
                <a:gd name="T25" fmla="*/ 137 h 181"/>
                <a:gd name="T26" fmla="*/ 7 w 184"/>
                <a:gd name="T27" fmla="*/ 127 h 181"/>
                <a:gd name="T28" fmla="*/ 17 w 184"/>
                <a:gd name="T29" fmla="*/ 106 h 181"/>
                <a:gd name="T30" fmla="*/ 24 w 184"/>
                <a:gd name="T31" fmla="*/ 108 h 181"/>
                <a:gd name="T32" fmla="*/ 28 w 184"/>
                <a:gd name="T33" fmla="*/ 89 h 181"/>
                <a:gd name="T34" fmla="*/ 34 w 184"/>
                <a:gd name="T35" fmla="*/ 77 h 181"/>
                <a:gd name="T36" fmla="*/ 46 w 184"/>
                <a:gd name="T37" fmla="*/ 71 h 181"/>
                <a:gd name="T38" fmla="*/ 59 w 184"/>
                <a:gd name="T39" fmla="*/ 67 h 181"/>
                <a:gd name="T40" fmla="*/ 67 w 184"/>
                <a:gd name="T41" fmla="*/ 62 h 181"/>
                <a:gd name="T42" fmla="*/ 72 w 184"/>
                <a:gd name="T43" fmla="*/ 46 h 181"/>
                <a:gd name="T44" fmla="*/ 88 w 184"/>
                <a:gd name="T45" fmla="*/ 35 h 181"/>
                <a:gd name="T46" fmla="*/ 92 w 184"/>
                <a:gd name="T47" fmla="*/ 25 h 181"/>
                <a:gd name="T48" fmla="*/ 99 w 184"/>
                <a:gd name="T49" fmla="*/ 14 h 181"/>
                <a:gd name="T50" fmla="*/ 111 w 184"/>
                <a:gd name="T51" fmla="*/ 12 h 181"/>
                <a:gd name="T52" fmla="*/ 115 w 184"/>
                <a:gd name="T53" fmla="*/ 2 h 181"/>
                <a:gd name="T54" fmla="*/ 122 w 184"/>
                <a:gd name="T55" fmla="*/ 2 h 181"/>
                <a:gd name="T56" fmla="*/ 128 w 184"/>
                <a:gd name="T57" fmla="*/ 2 h 181"/>
                <a:gd name="T58" fmla="*/ 136 w 184"/>
                <a:gd name="T59" fmla="*/ 8 h 181"/>
                <a:gd name="T60" fmla="*/ 138 w 184"/>
                <a:gd name="T61" fmla="*/ 14 h 181"/>
                <a:gd name="T62" fmla="*/ 143 w 184"/>
                <a:gd name="T63" fmla="*/ 35 h 181"/>
                <a:gd name="T64" fmla="*/ 159 w 184"/>
                <a:gd name="T65" fmla="*/ 54 h 181"/>
                <a:gd name="T66" fmla="*/ 172 w 184"/>
                <a:gd name="T67" fmla="*/ 77 h 181"/>
                <a:gd name="T68" fmla="*/ 180 w 184"/>
                <a:gd name="T69" fmla="*/ 79 h 181"/>
                <a:gd name="T70" fmla="*/ 178 w 184"/>
                <a:gd name="T71" fmla="*/ 89 h 181"/>
                <a:gd name="T72" fmla="*/ 184 w 184"/>
                <a:gd name="T73" fmla="*/ 117 h 181"/>
                <a:gd name="T74" fmla="*/ 176 w 184"/>
                <a:gd name="T75" fmla="*/ 125 h 181"/>
                <a:gd name="T76" fmla="*/ 172 w 184"/>
                <a:gd name="T77" fmla="*/ 129 h 181"/>
                <a:gd name="T78" fmla="*/ 168 w 184"/>
                <a:gd name="T79" fmla="*/ 135 h 181"/>
                <a:gd name="T80" fmla="*/ 145 w 184"/>
                <a:gd name="T81" fmla="*/ 133 h 181"/>
                <a:gd name="T82" fmla="*/ 140 w 184"/>
                <a:gd name="T83" fmla="*/ 131 h 18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4"/>
                <a:gd name="T127" fmla="*/ 0 h 181"/>
                <a:gd name="T128" fmla="*/ 184 w 184"/>
                <a:gd name="T129" fmla="*/ 181 h 18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4" h="181">
                  <a:moveTo>
                    <a:pt x="140" y="131"/>
                  </a:moveTo>
                  <a:lnTo>
                    <a:pt x="120" y="129"/>
                  </a:lnTo>
                  <a:lnTo>
                    <a:pt x="119" y="137"/>
                  </a:lnTo>
                  <a:lnTo>
                    <a:pt x="111" y="135"/>
                  </a:lnTo>
                  <a:lnTo>
                    <a:pt x="94" y="133"/>
                  </a:lnTo>
                  <a:lnTo>
                    <a:pt x="82" y="133"/>
                  </a:lnTo>
                  <a:lnTo>
                    <a:pt x="74" y="140"/>
                  </a:lnTo>
                  <a:lnTo>
                    <a:pt x="74" y="152"/>
                  </a:lnTo>
                  <a:lnTo>
                    <a:pt x="76" y="158"/>
                  </a:lnTo>
                  <a:lnTo>
                    <a:pt x="76" y="169"/>
                  </a:lnTo>
                  <a:lnTo>
                    <a:pt x="74" y="177"/>
                  </a:lnTo>
                  <a:lnTo>
                    <a:pt x="74" y="179"/>
                  </a:lnTo>
                  <a:lnTo>
                    <a:pt x="71" y="181"/>
                  </a:lnTo>
                  <a:lnTo>
                    <a:pt x="57" y="181"/>
                  </a:lnTo>
                  <a:lnTo>
                    <a:pt x="53" y="177"/>
                  </a:lnTo>
                  <a:lnTo>
                    <a:pt x="51" y="171"/>
                  </a:lnTo>
                  <a:lnTo>
                    <a:pt x="53" y="169"/>
                  </a:lnTo>
                  <a:lnTo>
                    <a:pt x="42" y="167"/>
                  </a:lnTo>
                  <a:lnTo>
                    <a:pt x="34" y="173"/>
                  </a:lnTo>
                  <a:lnTo>
                    <a:pt x="24" y="173"/>
                  </a:lnTo>
                  <a:lnTo>
                    <a:pt x="21" y="163"/>
                  </a:lnTo>
                  <a:lnTo>
                    <a:pt x="1" y="163"/>
                  </a:lnTo>
                  <a:lnTo>
                    <a:pt x="0" y="158"/>
                  </a:lnTo>
                  <a:lnTo>
                    <a:pt x="0" y="148"/>
                  </a:lnTo>
                  <a:lnTo>
                    <a:pt x="3" y="140"/>
                  </a:lnTo>
                  <a:lnTo>
                    <a:pt x="9" y="137"/>
                  </a:lnTo>
                  <a:lnTo>
                    <a:pt x="9" y="133"/>
                  </a:lnTo>
                  <a:lnTo>
                    <a:pt x="7" y="127"/>
                  </a:lnTo>
                  <a:lnTo>
                    <a:pt x="7" y="115"/>
                  </a:lnTo>
                  <a:lnTo>
                    <a:pt x="17" y="106"/>
                  </a:lnTo>
                  <a:lnTo>
                    <a:pt x="23" y="106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8" y="89"/>
                  </a:lnTo>
                  <a:lnTo>
                    <a:pt x="32" y="83"/>
                  </a:lnTo>
                  <a:lnTo>
                    <a:pt x="34" y="77"/>
                  </a:lnTo>
                  <a:lnTo>
                    <a:pt x="40" y="73"/>
                  </a:lnTo>
                  <a:lnTo>
                    <a:pt x="46" y="71"/>
                  </a:lnTo>
                  <a:lnTo>
                    <a:pt x="53" y="69"/>
                  </a:lnTo>
                  <a:lnTo>
                    <a:pt x="59" y="67"/>
                  </a:lnTo>
                  <a:lnTo>
                    <a:pt x="63" y="65"/>
                  </a:lnTo>
                  <a:lnTo>
                    <a:pt x="67" y="62"/>
                  </a:lnTo>
                  <a:lnTo>
                    <a:pt x="71" y="50"/>
                  </a:lnTo>
                  <a:lnTo>
                    <a:pt x="72" y="46"/>
                  </a:lnTo>
                  <a:lnTo>
                    <a:pt x="76" y="41"/>
                  </a:lnTo>
                  <a:lnTo>
                    <a:pt x="88" y="35"/>
                  </a:lnTo>
                  <a:lnTo>
                    <a:pt x="90" y="31"/>
                  </a:lnTo>
                  <a:lnTo>
                    <a:pt x="92" y="25"/>
                  </a:lnTo>
                  <a:lnTo>
                    <a:pt x="94" y="17"/>
                  </a:lnTo>
                  <a:lnTo>
                    <a:pt x="99" y="14"/>
                  </a:lnTo>
                  <a:lnTo>
                    <a:pt x="107" y="14"/>
                  </a:lnTo>
                  <a:lnTo>
                    <a:pt x="111" y="12"/>
                  </a:lnTo>
                  <a:lnTo>
                    <a:pt x="113" y="8"/>
                  </a:lnTo>
                  <a:lnTo>
                    <a:pt x="115" y="2"/>
                  </a:lnTo>
                  <a:lnTo>
                    <a:pt x="119" y="0"/>
                  </a:lnTo>
                  <a:lnTo>
                    <a:pt x="122" y="2"/>
                  </a:lnTo>
                  <a:lnTo>
                    <a:pt x="124" y="4"/>
                  </a:lnTo>
                  <a:lnTo>
                    <a:pt x="128" y="2"/>
                  </a:lnTo>
                  <a:lnTo>
                    <a:pt x="132" y="2"/>
                  </a:lnTo>
                  <a:lnTo>
                    <a:pt x="136" y="8"/>
                  </a:lnTo>
                  <a:lnTo>
                    <a:pt x="138" y="12"/>
                  </a:lnTo>
                  <a:lnTo>
                    <a:pt x="138" y="14"/>
                  </a:lnTo>
                  <a:lnTo>
                    <a:pt x="134" y="21"/>
                  </a:lnTo>
                  <a:lnTo>
                    <a:pt x="143" y="35"/>
                  </a:lnTo>
                  <a:lnTo>
                    <a:pt x="161" y="44"/>
                  </a:lnTo>
                  <a:lnTo>
                    <a:pt x="159" y="54"/>
                  </a:lnTo>
                  <a:lnTo>
                    <a:pt x="170" y="77"/>
                  </a:lnTo>
                  <a:lnTo>
                    <a:pt x="172" y="77"/>
                  </a:lnTo>
                  <a:lnTo>
                    <a:pt x="178" y="75"/>
                  </a:lnTo>
                  <a:lnTo>
                    <a:pt x="180" y="79"/>
                  </a:lnTo>
                  <a:lnTo>
                    <a:pt x="180" y="83"/>
                  </a:lnTo>
                  <a:lnTo>
                    <a:pt x="178" y="89"/>
                  </a:lnTo>
                  <a:lnTo>
                    <a:pt x="184" y="114"/>
                  </a:lnTo>
                  <a:lnTo>
                    <a:pt x="184" y="117"/>
                  </a:lnTo>
                  <a:lnTo>
                    <a:pt x="182" y="121"/>
                  </a:lnTo>
                  <a:lnTo>
                    <a:pt x="176" y="125"/>
                  </a:lnTo>
                  <a:lnTo>
                    <a:pt x="172" y="127"/>
                  </a:lnTo>
                  <a:lnTo>
                    <a:pt x="172" y="129"/>
                  </a:lnTo>
                  <a:lnTo>
                    <a:pt x="170" y="133"/>
                  </a:lnTo>
                  <a:lnTo>
                    <a:pt x="168" y="135"/>
                  </a:lnTo>
                  <a:lnTo>
                    <a:pt x="155" y="135"/>
                  </a:lnTo>
                  <a:lnTo>
                    <a:pt x="145" y="133"/>
                  </a:lnTo>
                  <a:lnTo>
                    <a:pt x="142" y="133"/>
                  </a:lnTo>
                  <a:lnTo>
                    <a:pt x="140" y="131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5" name="Freeform 280"/>
            <p:cNvSpPr>
              <a:spLocks/>
            </p:cNvSpPr>
            <p:nvPr/>
          </p:nvSpPr>
          <p:spPr bwMode="gray">
            <a:xfrm>
              <a:off x="3316" y="2063"/>
              <a:ext cx="74" cy="54"/>
            </a:xfrm>
            <a:custGeom>
              <a:avLst/>
              <a:gdLst>
                <a:gd name="T0" fmla="*/ 145 w 147"/>
                <a:gd name="T1" fmla="*/ 10 h 110"/>
                <a:gd name="T2" fmla="*/ 138 w 147"/>
                <a:gd name="T3" fmla="*/ 4 h 110"/>
                <a:gd name="T4" fmla="*/ 128 w 147"/>
                <a:gd name="T5" fmla="*/ 4 h 110"/>
                <a:gd name="T6" fmla="*/ 111 w 147"/>
                <a:gd name="T7" fmla="*/ 8 h 110"/>
                <a:gd name="T8" fmla="*/ 101 w 147"/>
                <a:gd name="T9" fmla="*/ 0 h 110"/>
                <a:gd name="T10" fmla="*/ 92 w 147"/>
                <a:gd name="T11" fmla="*/ 4 h 110"/>
                <a:gd name="T12" fmla="*/ 78 w 147"/>
                <a:gd name="T13" fmla="*/ 16 h 110"/>
                <a:gd name="T14" fmla="*/ 51 w 147"/>
                <a:gd name="T15" fmla="*/ 16 h 110"/>
                <a:gd name="T16" fmla="*/ 44 w 147"/>
                <a:gd name="T17" fmla="*/ 18 h 110"/>
                <a:gd name="T18" fmla="*/ 28 w 147"/>
                <a:gd name="T19" fmla="*/ 18 h 110"/>
                <a:gd name="T20" fmla="*/ 28 w 147"/>
                <a:gd name="T21" fmla="*/ 10 h 110"/>
                <a:gd name="T22" fmla="*/ 23 w 147"/>
                <a:gd name="T23" fmla="*/ 4 h 110"/>
                <a:gd name="T24" fmla="*/ 17 w 147"/>
                <a:gd name="T25" fmla="*/ 6 h 110"/>
                <a:gd name="T26" fmla="*/ 9 w 147"/>
                <a:gd name="T27" fmla="*/ 16 h 110"/>
                <a:gd name="T28" fmla="*/ 3 w 147"/>
                <a:gd name="T29" fmla="*/ 23 h 110"/>
                <a:gd name="T30" fmla="*/ 1 w 147"/>
                <a:gd name="T31" fmla="*/ 31 h 110"/>
                <a:gd name="T32" fmla="*/ 13 w 147"/>
                <a:gd name="T33" fmla="*/ 41 h 110"/>
                <a:gd name="T34" fmla="*/ 5 w 147"/>
                <a:gd name="T35" fmla="*/ 62 h 110"/>
                <a:gd name="T36" fmla="*/ 13 w 147"/>
                <a:gd name="T37" fmla="*/ 79 h 110"/>
                <a:gd name="T38" fmla="*/ 13 w 147"/>
                <a:gd name="T39" fmla="*/ 93 h 110"/>
                <a:gd name="T40" fmla="*/ 19 w 147"/>
                <a:gd name="T41" fmla="*/ 106 h 110"/>
                <a:gd name="T42" fmla="*/ 26 w 147"/>
                <a:gd name="T43" fmla="*/ 110 h 110"/>
                <a:gd name="T44" fmla="*/ 44 w 147"/>
                <a:gd name="T45" fmla="*/ 108 h 110"/>
                <a:gd name="T46" fmla="*/ 51 w 147"/>
                <a:gd name="T47" fmla="*/ 98 h 110"/>
                <a:gd name="T48" fmla="*/ 71 w 147"/>
                <a:gd name="T49" fmla="*/ 100 h 110"/>
                <a:gd name="T50" fmla="*/ 72 w 147"/>
                <a:gd name="T51" fmla="*/ 108 h 110"/>
                <a:gd name="T52" fmla="*/ 84 w 147"/>
                <a:gd name="T53" fmla="*/ 106 h 110"/>
                <a:gd name="T54" fmla="*/ 94 w 147"/>
                <a:gd name="T55" fmla="*/ 108 h 110"/>
                <a:gd name="T56" fmla="*/ 92 w 147"/>
                <a:gd name="T57" fmla="*/ 96 h 110"/>
                <a:gd name="T58" fmla="*/ 101 w 147"/>
                <a:gd name="T59" fmla="*/ 98 h 110"/>
                <a:gd name="T60" fmla="*/ 103 w 147"/>
                <a:gd name="T61" fmla="*/ 93 h 110"/>
                <a:gd name="T62" fmla="*/ 113 w 147"/>
                <a:gd name="T63" fmla="*/ 91 h 110"/>
                <a:gd name="T64" fmla="*/ 122 w 147"/>
                <a:gd name="T65" fmla="*/ 93 h 110"/>
                <a:gd name="T66" fmla="*/ 122 w 147"/>
                <a:gd name="T67" fmla="*/ 87 h 110"/>
                <a:gd name="T68" fmla="*/ 117 w 147"/>
                <a:gd name="T69" fmla="*/ 77 h 110"/>
                <a:gd name="T70" fmla="*/ 130 w 147"/>
                <a:gd name="T71" fmla="*/ 52 h 110"/>
                <a:gd name="T72" fmla="*/ 143 w 147"/>
                <a:gd name="T73" fmla="*/ 39 h 110"/>
                <a:gd name="T74" fmla="*/ 145 w 147"/>
                <a:gd name="T75" fmla="*/ 12 h 11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7"/>
                <a:gd name="T115" fmla="*/ 0 h 110"/>
                <a:gd name="T116" fmla="*/ 147 w 147"/>
                <a:gd name="T117" fmla="*/ 110 h 11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7" h="110">
                  <a:moveTo>
                    <a:pt x="147" y="10"/>
                  </a:moveTo>
                  <a:lnTo>
                    <a:pt x="145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2" y="2"/>
                  </a:lnTo>
                  <a:lnTo>
                    <a:pt x="128" y="4"/>
                  </a:lnTo>
                  <a:lnTo>
                    <a:pt x="119" y="8"/>
                  </a:lnTo>
                  <a:lnTo>
                    <a:pt x="111" y="8"/>
                  </a:lnTo>
                  <a:lnTo>
                    <a:pt x="107" y="4"/>
                  </a:lnTo>
                  <a:lnTo>
                    <a:pt x="101" y="0"/>
                  </a:lnTo>
                  <a:lnTo>
                    <a:pt x="97" y="2"/>
                  </a:lnTo>
                  <a:lnTo>
                    <a:pt x="92" y="4"/>
                  </a:lnTo>
                  <a:lnTo>
                    <a:pt x="82" y="14"/>
                  </a:lnTo>
                  <a:lnTo>
                    <a:pt x="78" y="16"/>
                  </a:lnTo>
                  <a:lnTo>
                    <a:pt x="63" y="20"/>
                  </a:lnTo>
                  <a:lnTo>
                    <a:pt x="51" y="16"/>
                  </a:lnTo>
                  <a:lnTo>
                    <a:pt x="46" y="16"/>
                  </a:lnTo>
                  <a:lnTo>
                    <a:pt x="44" y="18"/>
                  </a:lnTo>
                  <a:lnTo>
                    <a:pt x="36" y="20"/>
                  </a:lnTo>
                  <a:lnTo>
                    <a:pt x="28" y="18"/>
                  </a:lnTo>
                  <a:lnTo>
                    <a:pt x="24" y="14"/>
                  </a:lnTo>
                  <a:lnTo>
                    <a:pt x="28" y="10"/>
                  </a:lnTo>
                  <a:lnTo>
                    <a:pt x="28" y="6"/>
                  </a:lnTo>
                  <a:lnTo>
                    <a:pt x="23" y="4"/>
                  </a:lnTo>
                  <a:lnTo>
                    <a:pt x="19" y="2"/>
                  </a:lnTo>
                  <a:lnTo>
                    <a:pt x="17" y="6"/>
                  </a:lnTo>
                  <a:lnTo>
                    <a:pt x="13" y="10"/>
                  </a:lnTo>
                  <a:lnTo>
                    <a:pt x="9" y="16"/>
                  </a:lnTo>
                  <a:lnTo>
                    <a:pt x="3" y="20"/>
                  </a:lnTo>
                  <a:lnTo>
                    <a:pt x="3" y="23"/>
                  </a:lnTo>
                  <a:lnTo>
                    <a:pt x="0" y="25"/>
                  </a:lnTo>
                  <a:lnTo>
                    <a:pt x="1" y="31"/>
                  </a:lnTo>
                  <a:lnTo>
                    <a:pt x="7" y="37"/>
                  </a:lnTo>
                  <a:lnTo>
                    <a:pt x="13" y="41"/>
                  </a:lnTo>
                  <a:lnTo>
                    <a:pt x="13" y="46"/>
                  </a:lnTo>
                  <a:lnTo>
                    <a:pt x="5" y="62"/>
                  </a:lnTo>
                  <a:lnTo>
                    <a:pt x="5" y="68"/>
                  </a:lnTo>
                  <a:lnTo>
                    <a:pt x="13" y="79"/>
                  </a:lnTo>
                  <a:lnTo>
                    <a:pt x="15" y="85"/>
                  </a:lnTo>
                  <a:lnTo>
                    <a:pt x="13" y="93"/>
                  </a:lnTo>
                  <a:lnTo>
                    <a:pt x="11" y="96"/>
                  </a:lnTo>
                  <a:lnTo>
                    <a:pt x="19" y="106"/>
                  </a:lnTo>
                  <a:lnTo>
                    <a:pt x="21" y="108"/>
                  </a:lnTo>
                  <a:lnTo>
                    <a:pt x="26" y="110"/>
                  </a:lnTo>
                  <a:lnTo>
                    <a:pt x="40" y="110"/>
                  </a:lnTo>
                  <a:lnTo>
                    <a:pt x="44" y="108"/>
                  </a:lnTo>
                  <a:lnTo>
                    <a:pt x="48" y="102"/>
                  </a:lnTo>
                  <a:lnTo>
                    <a:pt x="51" y="98"/>
                  </a:lnTo>
                  <a:lnTo>
                    <a:pt x="65" y="98"/>
                  </a:lnTo>
                  <a:lnTo>
                    <a:pt x="71" y="100"/>
                  </a:lnTo>
                  <a:lnTo>
                    <a:pt x="72" y="106"/>
                  </a:lnTo>
                  <a:lnTo>
                    <a:pt x="72" y="108"/>
                  </a:lnTo>
                  <a:lnTo>
                    <a:pt x="78" y="108"/>
                  </a:lnTo>
                  <a:lnTo>
                    <a:pt x="84" y="106"/>
                  </a:lnTo>
                  <a:lnTo>
                    <a:pt x="90" y="108"/>
                  </a:lnTo>
                  <a:lnTo>
                    <a:pt x="94" y="108"/>
                  </a:lnTo>
                  <a:lnTo>
                    <a:pt x="92" y="102"/>
                  </a:lnTo>
                  <a:lnTo>
                    <a:pt x="92" y="96"/>
                  </a:lnTo>
                  <a:lnTo>
                    <a:pt x="99" y="96"/>
                  </a:lnTo>
                  <a:lnTo>
                    <a:pt x="101" y="98"/>
                  </a:lnTo>
                  <a:lnTo>
                    <a:pt x="101" y="95"/>
                  </a:lnTo>
                  <a:lnTo>
                    <a:pt x="103" y="93"/>
                  </a:lnTo>
                  <a:lnTo>
                    <a:pt x="109" y="91"/>
                  </a:lnTo>
                  <a:lnTo>
                    <a:pt x="113" y="91"/>
                  </a:lnTo>
                  <a:lnTo>
                    <a:pt x="117" y="93"/>
                  </a:lnTo>
                  <a:lnTo>
                    <a:pt x="122" y="93"/>
                  </a:lnTo>
                  <a:lnTo>
                    <a:pt x="124" y="91"/>
                  </a:lnTo>
                  <a:lnTo>
                    <a:pt x="122" y="87"/>
                  </a:lnTo>
                  <a:lnTo>
                    <a:pt x="120" y="81"/>
                  </a:lnTo>
                  <a:lnTo>
                    <a:pt x="117" y="77"/>
                  </a:lnTo>
                  <a:lnTo>
                    <a:pt x="120" y="68"/>
                  </a:lnTo>
                  <a:lnTo>
                    <a:pt x="130" y="52"/>
                  </a:lnTo>
                  <a:lnTo>
                    <a:pt x="136" y="43"/>
                  </a:lnTo>
                  <a:lnTo>
                    <a:pt x="143" y="39"/>
                  </a:lnTo>
                  <a:lnTo>
                    <a:pt x="145" y="27"/>
                  </a:lnTo>
                  <a:lnTo>
                    <a:pt x="145" y="12"/>
                  </a:lnTo>
                  <a:lnTo>
                    <a:pt x="147" y="1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6" name="Freeform 281"/>
            <p:cNvSpPr>
              <a:spLocks/>
            </p:cNvSpPr>
            <p:nvPr/>
          </p:nvSpPr>
          <p:spPr bwMode="gray">
            <a:xfrm>
              <a:off x="4453" y="2709"/>
              <a:ext cx="17" cy="13"/>
            </a:xfrm>
            <a:custGeom>
              <a:avLst/>
              <a:gdLst>
                <a:gd name="T0" fmla="*/ 0 w 34"/>
                <a:gd name="T1" fmla="*/ 15 h 25"/>
                <a:gd name="T2" fmla="*/ 10 w 34"/>
                <a:gd name="T3" fmla="*/ 25 h 25"/>
                <a:gd name="T4" fmla="*/ 17 w 34"/>
                <a:gd name="T5" fmla="*/ 23 h 25"/>
                <a:gd name="T6" fmla="*/ 19 w 34"/>
                <a:gd name="T7" fmla="*/ 19 h 25"/>
                <a:gd name="T8" fmla="*/ 23 w 34"/>
                <a:gd name="T9" fmla="*/ 13 h 25"/>
                <a:gd name="T10" fmla="*/ 29 w 34"/>
                <a:gd name="T11" fmla="*/ 17 h 25"/>
                <a:gd name="T12" fmla="*/ 34 w 34"/>
                <a:gd name="T13" fmla="*/ 15 h 25"/>
                <a:gd name="T14" fmla="*/ 29 w 34"/>
                <a:gd name="T15" fmla="*/ 0 h 25"/>
                <a:gd name="T16" fmla="*/ 17 w 34"/>
                <a:gd name="T17" fmla="*/ 0 h 25"/>
                <a:gd name="T18" fmla="*/ 11 w 34"/>
                <a:gd name="T19" fmla="*/ 4 h 25"/>
                <a:gd name="T20" fmla="*/ 11 w 34"/>
                <a:gd name="T21" fmla="*/ 5 h 25"/>
                <a:gd name="T22" fmla="*/ 10 w 34"/>
                <a:gd name="T23" fmla="*/ 11 h 25"/>
                <a:gd name="T24" fmla="*/ 10 w 34"/>
                <a:gd name="T25" fmla="*/ 13 h 25"/>
                <a:gd name="T26" fmla="*/ 6 w 34"/>
                <a:gd name="T27" fmla="*/ 15 h 25"/>
                <a:gd name="T28" fmla="*/ 4 w 34"/>
                <a:gd name="T29" fmla="*/ 13 h 25"/>
                <a:gd name="T30" fmla="*/ 2 w 34"/>
                <a:gd name="T31" fmla="*/ 15 h 25"/>
                <a:gd name="T32" fmla="*/ 0 w 34"/>
                <a:gd name="T33" fmla="*/ 15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4"/>
                <a:gd name="T52" fmla="*/ 0 h 25"/>
                <a:gd name="T53" fmla="*/ 34 w 34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4" h="25">
                  <a:moveTo>
                    <a:pt x="0" y="15"/>
                  </a:moveTo>
                  <a:lnTo>
                    <a:pt x="10" y="25"/>
                  </a:lnTo>
                  <a:lnTo>
                    <a:pt x="17" y="23"/>
                  </a:lnTo>
                  <a:lnTo>
                    <a:pt x="19" y="19"/>
                  </a:lnTo>
                  <a:lnTo>
                    <a:pt x="23" y="13"/>
                  </a:lnTo>
                  <a:lnTo>
                    <a:pt x="29" y="17"/>
                  </a:lnTo>
                  <a:lnTo>
                    <a:pt x="34" y="15"/>
                  </a:lnTo>
                  <a:lnTo>
                    <a:pt x="29" y="0"/>
                  </a:lnTo>
                  <a:lnTo>
                    <a:pt x="17" y="0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0" y="11"/>
                  </a:lnTo>
                  <a:lnTo>
                    <a:pt x="10" y="13"/>
                  </a:lnTo>
                  <a:lnTo>
                    <a:pt x="6" y="15"/>
                  </a:lnTo>
                  <a:lnTo>
                    <a:pt x="4" y="13"/>
                  </a:lnTo>
                  <a:lnTo>
                    <a:pt x="2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7" name="Freeform 282"/>
            <p:cNvSpPr>
              <a:spLocks/>
            </p:cNvSpPr>
            <p:nvPr/>
          </p:nvSpPr>
          <p:spPr bwMode="gray">
            <a:xfrm>
              <a:off x="3274" y="3061"/>
              <a:ext cx="123" cy="145"/>
            </a:xfrm>
            <a:custGeom>
              <a:avLst/>
              <a:gdLst>
                <a:gd name="T0" fmla="*/ 12 w 248"/>
                <a:gd name="T1" fmla="*/ 242 h 290"/>
                <a:gd name="T2" fmla="*/ 21 w 248"/>
                <a:gd name="T3" fmla="*/ 263 h 290"/>
                <a:gd name="T4" fmla="*/ 19 w 248"/>
                <a:gd name="T5" fmla="*/ 275 h 290"/>
                <a:gd name="T6" fmla="*/ 21 w 248"/>
                <a:gd name="T7" fmla="*/ 288 h 290"/>
                <a:gd name="T8" fmla="*/ 31 w 248"/>
                <a:gd name="T9" fmla="*/ 290 h 290"/>
                <a:gd name="T10" fmla="*/ 38 w 248"/>
                <a:gd name="T11" fmla="*/ 284 h 290"/>
                <a:gd name="T12" fmla="*/ 58 w 248"/>
                <a:gd name="T13" fmla="*/ 277 h 290"/>
                <a:gd name="T14" fmla="*/ 67 w 248"/>
                <a:gd name="T15" fmla="*/ 271 h 290"/>
                <a:gd name="T16" fmla="*/ 86 w 248"/>
                <a:gd name="T17" fmla="*/ 256 h 290"/>
                <a:gd name="T18" fmla="*/ 88 w 248"/>
                <a:gd name="T19" fmla="*/ 246 h 290"/>
                <a:gd name="T20" fmla="*/ 100 w 248"/>
                <a:gd name="T21" fmla="*/ 242 h 290"/>
                <a:gd name="T22" fmla="*/ 109 w 248"/>
                <a:gd name="T23" fmla="*/ 248 h 290"/>
                <a:gd name="T24" fmla="*/ 121 w 248"/>
                <a:gd name="T25" fmla="*/ 246 h 290"/>
                <a:gd name="T26" fmla="*/ 134 w 248"/>
                <a:gd name="T27" fmla="*/ 248 h 290"/>
                <a:gd name="T28" fmla="*/ 150 w 248"/>
                <a:gd name="T29" fmla="*/ 252 h 290"/>
                <a:gd name="T30" fmla="*/ 152 w 248"/>
                <a:gd name="T31" fmla="*/ 236 h 290"/>
                <a:gd name="T32" fmla="*/ 156 w 248"/>
                <a:gd name="T33" fmla="*/ 211 h 290"/>
                <a:gd name="T34" fmla="*/ 167 w 248"/>
                <a:gd name="T35" fmla="*/ 208 h 290"/>
                <a:gd name="T36" fmla="*/ 173 w 248"/>
                <a:gd name="T37" fmla="*/ 190 h 290"/>
                <a:gd name="T38" fmla="*/ 184 w 248"/>
                <a:gd name="T39" fmla="*/ 177 h 290"/>
                <a:gd name="T40" fmla="*/ 198 w 248"/>
                <a:gd name="T41" fmla="*/ 163 h 290"/>
                <a:gd name="T42" fmla="*/ 213 w 248"/>
                <a:gd name="T43" fmla="*/ 156 h 290"/>
                <a:gd name="T44" fmla="*/ 225 w 248"/>
                <a:gd name="T45" fmla="*/ 152 h 290"/>
                <a:gd name="T46" fmla="*/ 232 w 248"/>
                <a:gd name="T47" fmla="*/ 146 h 290"/>
                <a:gd name="T48" fmla="*/ 246 w 248"/>
                <a:gd name="T49" fmla="*/ 138 h 290"/>
                <a:gd name="T50" fmla="*/ 246 w 248"/>
                <a:gd name="T51" fmla="*/ 135 h 290"/>
                <a:gd name="T52" fmla="*/ 236 w 248"/>
                <a:gd name="T53" fmla="*/ 127 h 290"/>
                <a:gd name="T54" fmla="*/ 225 w 248"/>
                <a:gd name="T55" fmla="*/ 125 h 290"/>
                <a:gd name="T56" fmla="*/ 217 w 248"/>
                <a:gd name="T57" fmla="*/ 121 h 290"/>
                <a:gd name="T58" fmla="*/ 215 w 248"/>
                <a:gd name="T59" fmla="*/ 110 h 290"/>
                <a:gd name="T60" fmla="*/ 217 w 248"/>
                <a:gd name="T61" fmla="*/ 100 h 290"/>
                <a:gd name="T62" fmla="*/ 211 w 248"/>
                <a:gd name="T63" fmla="*/ 94 h 290"/>
                <a:gd name="T64" fmla="*/ 207 w 248"/>
                <a:gd name="T65" fmla="*/ 88 h 290"/>
                <a:gd name="T66" fmla="*/ 200 w 248"/>
                <a:gd name="T67" fmla="*/ 77 h 290"/>
                <a:gd name="T68" fmla="*/ 188 w 248"/>
                <a:gd name="T69" fmla="*/ 63 h 290"/>
                <a:gd name="T70" fmla="*/ 182 w 248"/>
                <a:gd name="T71" fmla="*/ 56 h 290"/>
                <a:gd name="T72" fmla="*/ 175 w 248"/>
                <a:gd name="T73" fmla="*/ 60 h 290"/>
                <a:gd name="T74" fmla="*/ 171 w 248"/>
                <a:gd name="T75" fmla="*/ 52 h 290"/>
                <a:gd name="T76" fmla="*/ 161 w 248"/>
                <a:gd name="T77" fmla="*/ 44 h 290"/>
                <a:gd name="T78" fmla="*/ 154 w 248"/>
                <a:gd name="T79" fmla="*/ 31 h 290"/>
                <a:gd name="T80" fmla="*/ 152 w 248"/>
                <a:gd name="T81" fmla="*/ 21 h 290"/>
                <a:gd name="T82" fmla="*/ 142 w 248"/>
                <a:gd name="T83" fmla="*/ 13 h 290"/>
                <a:gd name="T84" fmla="*/ 138 w 248"/>
                <a:gd name="T85" fmla="*/ 0 h 290"/>
                <a:gd name="T86" fmla="*/ 131 w 248"/>
                <a:gd name="T87" fmla="*/ 2 h 290"/>
                <a:gd name="T88" fmla="*/ 125 w 248"/>
                <a:gd name="T89" fmla="*/ 10 h 290"/>
                <a:gd name="T90" fmla="*/ 115 w 248"/>
                <a:gd name="T91" fmla="*/ 10 h 290"/>
                <a:gd name="T92" fmla="*/ 108 w 248"/>
                <a:gd name="T93" fmla="*/ 15 h 290"/>
                <a:gd name="T94" fmla="*/ 48 w 248"/>
                <a:gd name="T95" fmla="*/ 19 h 290"/>
                <a:gd name="T96" fmla="*/ 29 w 248"/>
                <a:gd name="T97" fmla="*/ 123 h 290"/>
                <a:gd name="T98" fmla="*/ 0 w 248"/>
                <a:gd name="T99" fmla="*/ 236 h 29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48"/>
                <a:gd name="T151" fmla="*/ 0 h 290"/>
                <a:gd name="T152" fmla="*/ 248 w 248"/>
                <a:gd name="T153" fmla="*/ 290 h 29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48" h="290">
                  <a:moveTo>
                    <a:pt x="0" y="236"/>
                  </a:moveTo>
                  <a:lnTo>
                    <a:pt x="12" y="242"/>
                  </a:lnTo>
                  <a:lnTo>
                    <a:pt x="17" y="254"/>
                  </a:lnTo>
                  <a:lnTo>
                    <a:pt x="21" y="263"/>
                  </a:lnTo>
                  <a:lnTo>
                    <a:pt x="21" y="269"/>
                  </a:lnTo>
                  <a:lnTo>
                    <a:pt x="19" y="275"/>
                  </a:lnTo>
                  <a:lnTo>
                    <a:pt x="19" y="283"/>
                  </a:lnTo>
                  <a:lnTo>
                    <a:pt x="21" y="288"/>
                  </a:lnTo>
                  <a:lnTo>
                    <a:pt x="27" y="290"/>
                  </a:lnTo>
                  <a:lnTo>
                    <a:pt x="31" y="290"/>
                  </a:lnTo>
                  <a:lnTo>
                    <a:pt x="33" y="286"/>
                  </a:lnTo>
                  <a:lnTo>
                    <a:pt x="38" y="284"/>
                  </a:lnTo>
                  <a:lnTo>
                    <a:pt x="48" y="283"/>
                  </a:lnTo>
                  <a:lnTo>
                    <a:pt x="58" y="277"/>
                  </a:lnTo>
                  <a:lnTo>
                    <a:pt x="62" y="275"/>
                  </a:lnTo>
                  <a:lnTo>
                    <a:pt x="67" y="271"/>
                  </a:lnTo>
                  <a:lnTo>
                    <a:pt x="81" y="263"/>
                  </a:lnTo>
                  <a:lnTo>
                    <a:pt x="86" y="256"/>
                  </a:lnTo>
                  <a:lnTo>
                    <a:pt x="86" y="250"/>
                  </a:lnTo>
                  <a:lnTo>
                    <a:pt x="88" y="246"/>
                  </a:lnTo>
                  <a:lnTo>
                    <a:pt x="96" y="242"/>
                  </a:lnTo>
                  <a:lnTo>
                    <a:pt x="100" y="242"/>
                  </a:lnTo>
                  <a:lnTo>
                    <a:pt x="102" y="244"/>
                  </a:lnTo>
                  <a:lnTo>
                    <a:pt x="109" y="248"/>
                  </a:lnTo>
                  <a:lnTo>
                    <a:pt x="115" y="246"/>
                  </a:lnTo>
                  <a:lnTo>
                    <a:pt x="121" y="246"/>
                  </a:lnTo>
                  <a:lnTo>
                    <a:pt x="127" y="250"/>
                  </a:lnTo>
                  <a:lnTo>
                    <a:pt x="134" y="248"/>
                  </a:lnTo>
                  <a:lnTo>
                    <a:pt x="146" y="252"/>
                  </a:lnTo>
                  <a:lnTo>
                    <a:pt x="150" y="252"/>
                  </a:lnTo>
                  <a:lnTo>
                    <a:pt x="152" y="250"/>
                  </a:lnTo>
                  <a:lnTo>
                    <a:pt x="152" y="236"/>
                  </a:lnTo>
                  <a:lnTo>
                    <a:pt x="154" y="213"/>
                  </a:lnTo>
                  <a:lnTo>
                    <a:pt x="156" y="211"/>
                  </a:lnTo>
                  <a:lnTo>
                    <a:pt x="161" y="208"/>
                  </a:lnTo>
                  <a:lnTo>
                    <a:pt x="167" y="208"/>
                  </a:lnTo>
                  <a:lnTo>
                    <a:pt x="171" y="202"/>
                  </a:lnTo>
                  <a:lnTo>
                    <a:pt x="173" y="190"/>
                  </a:lnTo>
                  <a:lnTo>
                    <a:pt x="179" y="183"/>
                  </a:lnTo>
                  <a:lnTo>
                    <a:pt x="184" y="177"/>
                  </a:lnTo>
                  <a:lnTo>
                    <a:pt x="190" y="167"/>
                  </a:lnTo>
                  <a:lnTo>
                    <a:pt x="198" y="163"/>
                  </a:lnTo>
                  <a:lnTo>
                    <a:pt x="205" y="161"/>
                  </a:lnTo>
                  <a:lnTo>
                    <a:pt x="213" y="156"/>
                  </a:lnTo>
                  <a:lnTo>
                    <a:pt x="221" y="154"/>
                  </a:lnTo>
                  <a:lnTo>
                    <a:pt x="225" y="152"/>
                  </a:lnTo>
                  <a:lnTo>
                    <a:pt x="227" y="148"/>
                  </a:lnTo>
                  <a:lnTo>
                    <a:pt x="232" y="146"/>
                  </a:lnTo>
                  <a:lnTo>
                    <a:pt x="240" y="144"/>
                  </a:lnTo>
                  <a:lnTo>
                    <a:pt x="246" y="138"/>
                  </a:lnTo>
                  <a:lnTo>
                    <a:pt x="248" y="135"/>
                  </a:lnTo>
                  <a:lnTo>
                    <a:pt x="246" y="135"/>
                  </a:lnTo>
                  <a:lnTo>
                    <a:pt x="240" y="133"/>
                  </a:lnTo>
                  <a:lnTo>
                    <a:pt x="236" y="127"/>
                  </a:lnTo>
                  <a:lnTo>
                    <a:pt x="230" y="127"/>
                  </a:lnTo>
                  <a:lnTo>
                    <a:pt x="225" y="125"/>
                  </a:lnTo>
                  <a:lnTo>
                    <a:pt x="221" y="121"/>
                  </a:lnTo>
                  <a:lnTo>
                    <a:pt x="217" y="121"/>
                  </a:lnTo>
                  <a:lnTo>
                    <a:pt x="217" y="117"/>
                  </a:lnTo>
                  <a:lnTo>
                    <a:pt x="215" y="110"/>
                  </a:lnTo>
                  <a:lnTo>
                    <a:pt x="215" y="104"/>
                  </a:lnTo>
                  <a:lnTo>
                    <a:pt x="217" y="100"/>
                  </a:lnTo>
                  <a:lnTo>
                    <a:pt x="217" y="96"/>
                  </a:lnTo>
                  <a:lnTo>
                    <a:pt x="211" y="94"/>
                  </a:lnTo>
                  <a:lnTo>
                    <a:pt x="207" y="92"/>
                  </a:lnTo>
                  <a:lnTo>
                    <a:pt x="207" y="88"/>
                  </a:lnTo>
                  <a:lnTo>
                    <a:pt x="202" y="83"/>
                  </a:lnTo>
                  <a:lnTo>
                    <a:pt x="200" y="77"/>
                  </a:lnTo>
                  <a:lnTo>
                    <a:pt x="200" y="69"/>
                  </a:lnTo>
                  <a:lnTo>
                    <a:pt x="188" y="63"/>
                  </a:lnTo>
                  <a:lnTo>
                    <a:pt x="184" y="58"/>
                  </a:lnTo>
                  <a:lnTo>
                    <a:pt x="182" y="56"/>
                  </a:lnTo>
                  <a:lnTo>
                    <a:pt x="181" y="58"/>
                  </a:lnTo>
                  <a:lnTo>
                    <a:pt x="175" y="60"/>
                  </a:lnTo>
                  <a:lnTo>
                    <a:pt x="171" y="56"/>
                  </a:lnTo>
                  <a:lnTo>
                    <a:pt x="171" y="52"/>
                  </a:lnTo>
                  <a:lnTo>
                    <a:pt x="167" y="50"/>
                  </a:lnTo>
                  <a:lnTo>
                    <a:pt x="161" y="44"/>
                  </a:lnTo>
                  <a:lnTo>
                    <a:pt x="156" y="37"/>
                  </a:lnTo>
                  <a:lnTo>
                    <a:pt x="154" y="31"/>
                  </a:lnTo>
                  <a:lnTo>
                    <a:pt x="152" y="27"/>
                  </a:lnTo>
                  <a:lnTo>
                    <a:pt x="152" y="21"/>
                  </a:lnTo>
                  <a:lnTo>
                    <a:pt x="146" y="17"/>
                  </a:lnTo>
                  <a:lnTo>
                    <a:pt x="142" y="13"/>
                  </a:lnTo>
                  <a:lnTo>
                    <a:pt x="140" y="6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1" y="2"/>
                  </a:lnTo>
                  <a:lnTo>
                    <a:pt x="129" y="8"/>
                  </a:lnTo>
                  <a:lnTo>
                    <a:pt x="125" y="10"/>
                  </a:lnTo>
                  <a:lnTo>
                    <a:pt x="117" y="8"/>
                  </a:lnTo>
                  <a:lnTo>
                    <a:pt x="115" y="10"/>
                  </a:lnTo>
                  <a:lnTo>
                    <a:pt x="111" y="15"/>
                  </a:lnTo>
                  <a:lnTo>
                    <a:pt x="108" y="15"/>
                  </a:lnTo>
                  <a:lnTo>
                    <a:pt x="106" y="13"/>
                  </a:lnTo>
                  <a:lnTo>
                    <a:pt x="48" y="19"/>
                  </a:lnTo>
                  <a:lnTo>
                    <a:pt x="31" y="19"/>
                  </a:lnTo>
                  <a:lnTo>
                    <a:pt x="29" y="123"/>
                  </a:lnTo>
                  <a:lnTo>
                    <a:pt x="2" y="123"/>
                  </a:lnTo>
                  <a:lnTo>
                    <a:pt x="0" y="23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8" name="Freeform 283"/>
            <p:cNvSpPr>
              <a:spLocks/>
            </p:cNvSpPr>
            <p:nvPr/>
          </p:nvSpPr>
          <p:spPr bwMode="gray">
            <a:xfrm>
              <a:off x="3227" y="2048"/>
              <a:ext cx="49" cy="50"/>
            </a:xfrm>
            <a:custGeom>
              <a:avLst/>
              <a:gdLst>
                <a:gd name="T0" fmla="*/ 69 w 98"/>
                <a:gd name="T1" fmla="*/ 99 h 99"/>
                <a:gd name="T2" fmla="*/ 69 w 98"/>
                <a:gd name="T3" fmla="*/ 92 h 99"/>
                <a:gd name="T4" fmla="*/ 67 w 98"/>
                <a:gd name="T5" fmla="*/ 84 h 99"/>
                <a:gd name="T6" fmla="*/ 71 w 98"/>
                <a:gd name="T7" fmla="*/ 76 h 99"/>
                <a:gd name="T8" fmla="*/ 73 w 98"/>
                <a:gd name="T9" fmla="*/ 74 h 99"/>
                <a:gd name="T10" fmla="*/ 77 w 98"/>
                <a:gd name="T11" fmla="*/ 74 h 99"/>
                <a:gd name="T12" fmla="*/ 81 w 98"/>
                <a:gd name="T13" fmla="*/ 73 h 99"/>
                <a:gd name="T14" fmla="*/ 82 w 98"/>
                <a:gd name="T15" fmla="*/ 69 h 99"/>
                <a:gd name="T16" fmla="*/ 84 w 98"/>
                <a:gd name="T17" fmla="*/ 67 h 99"/>
                <a:gd name="T18" fmla="*/ 86 w 98"/>
                <a:gd name="T19" fmla="*/ 63 h 99"/>
                <a:gd name="T20" fmla="*/ 90 w 98"/>
                <a:gd name="T21" fmla="*/ 61 h 99"/>
                <a:gd name="T22" fmla="*/ 96 w 98"/>
                <a:gd name="T23" fmla="*/ 61 h 99"/>
                <a:gd name="T24" fmla="*/ 98 w 98"/>
                <a:gd name="T25" fmla="*/ 57 h 99"/>
                <a:gd name="T26" fmla="*/ 96 w 98"/>
                <a:gd name="T27" fmla="*/ 53 h 99"/>
                <a:gd name="T28" fmla="*/ 88 w 98"/>
                <a:gd name="T29" fmla="*/ 49 h 99"/>
                <a:gd name="T30" fmla="*/ 84 w 98"/>
                <a:gd name="T31" fmla="*/ 46 h 99"/>
                <a:gd name="T32" fmla="*/ 88 w 98"/>
                <a:gd name="T33" fmla="*/ 44 h 99"/>
                <a:gd name="T34" fmla="*/ 92 w 98"/>
                <a:gd name="T35" fmla="*/ 44 h 99"/>
                <a:gd name="T36" fmla="*/ 96 w 98"/>
                <a:gd name="T37" fmla="*/ 40 h 99"/>
                <a:gd name="T38" fmla="*/ 96 w 98"/>
                <a:gd name="T39" fmla="*/ 36 h 99"/>
                <a:gd name="T40" fmla="*/ 90 w 98"/>
                <a:gd name="T41" fmla="*/ 32 h 99"/>
                <a:gd name="T42" fmla="*/ 88 w 98"/>
                <a:gd name="T43" fmla="*/ 28 h 99"/>
                <a:gd name="T44" fmla="*/ 88 w 98"/>
                <a:gd name="T45" fmla="*/ 23 h 99"/>
                <a:gd name="T46" fmla="*/ 90 w 98"/>
                <a:gd name="T47" fmla="*/ 19 h 99"/>
                <a:gd name="T48" fmla="*/ 84 w 98"/>
                <a:gd name="T49" fmla="*/ 21 h 99"/>
                <a:gd name="T50" fmla="*/ 75 w 98"/>
                <a:gd name="T51" fmla="*/ 21 h 99"/>
                <a:gd name="T52" fmla="*/ 67 w 98"/>
                <a:gd name="T53" fmla="*/ 17 h 99"/>
                <a:gd name="T54" fmla="*/ 65 w 98"/>
                <a:gd name="T55" fmla="*/ 13 h 99"/>
                <a:gd name="T56" fmla="*/ 63 w 98"/>
                <a:gd name="T57" fmla="*/ 11 h 99"/>
                <a:gd name="T58" fmla="*/ 58 w 98"/>
                <a:gd name="T59" fmla="*/ 11 h 99"/>
                <a:gd name="T60" fmla="*/ 50 w 98"/>
                <a:gd name="T61" fmla="*/ 7 h 99"/>
                <a:gd name="T62" fmla="*/ 44 w 98"/>
                <a:gd name="T63" fmla="*/ 7 h 99"/>
                <a:gd name="T64" fmla="*/ 35 w 98"/>
                <a:gd name="T65" fmla="*/ 11 h 99"/>
                <a:gd name="T66" fmla="*/ 29 w 98"/>
                <a:gd name="T67" fmla="*/ 11 h 99"/>
                <a:gd name="T68" fmla="*/ 25 w 98"/>
                <a:gd name="T69" fmla="*/ 7 h 99"/>
                <a:gd name="T70" fmla="*/ 21 w 98"/>
                <a:gd name="T71" fmla="*/ 5 h 99"/>
                <a:gd name="T72" fmla="*/ 13 w 98"/>
                <a:gd name="T73" fmla="*/ 9 h 99"/>
                <a:gd name="T74" fmla="*/ 10 w 98"/>
                <a:gd name="T75" fmla="*/ 1 h 99"/>
                <a:gd name="T76" fmla="*/ 6 w 98"/>
                <a:gd name="T77" fmla="*/ 0 h 99"/>
                <a:gd name="T78" fmla="*/ 2 w 98"/>
                <a:gd name="T79" fmla="*/ 0 h 99"/>
                <a:gd name="T80" fmla="*/ 0 w 98"/>
                <a:gd name="T81" fmla="*/ 3 h 99"/>
                <a:gd name="T82" fmla="*/ 0 w 98"/>
                <a:gd name="T83" fmla="*/ 13 h 99"/>
                <a:gd name="T84" fmla="*/ 4 w 98"/>
                <a:gd name="T85" fmla="*/ 17 h 99"/>
                <a:gd name="T86" fmla="*/ 10 w 98"/>
                <a:gd name="T87" fmla="*/ 25 h 99"/>
                <a:gd name="T88" fmla="*/ 13 w 98"/>
                <a:gd name="T89" fmla="*/ 34 h 99"/>
                <a:gd name="T90" fmla="*/ 13 w 98"/>
                <a:gd name="T91" fmla="*/ 38 h 99"/>
                <a:gd name="T92" fmla="*/ 11 w 98"/>
                <a:gd name="T93" fmla="*/ 38 h 99"/>
                <a:gd name="T94" fmla="*/ 13 w 98"/>
                <a:gd name="T95" fmla="*/ 42 h 99"/>
                <a:gd name="T96" fmla="*/ 19 w 98"/>
                <a:gd name="T97" fmla="*/ 51 h 99"/>
                <a:gd name="T98" fmla="*/ 44 w 98"/>
                <a:gd name="T99" fmla="*/ 76 h 99"/>
                <a:gd name="T100" fmla="*/ 44 w 98"/>
                <a:gd name="T101" fmla="*/ 82 h 99"/>
                <a:gd name="T102" fmla="*/ 46 w 98"/>
                <a:gd name="T103" fmla="*/ 86 h 99"/>
                <a:gd name="T104" fmla="*/ 58 w 98"/>
                <a:gd name="T105" fmla="*/ 86 h 99"/>
                <a:gd name="T106" fmla="*/ 59 w 98"/>
                <a:gd name="T107" fmla="*/ 90 h 99"/>
                <a:gd name="T108" fmla="*/ 63 w 98"/>
                <a:gd name="T109" fmla="*/ 92 h 99"/>
                <a:gd name="T110" fmla="*/ 65 w 98"/>
                <a:gd name="T111" fmla="*/ 94 h 99"/>
                <a:gd name="T112" fmla="*/ 67 w 98"/>
                <a:gd name="T113" fmla="*/ 98 h 99"/>
                <a:gd name="T114" fmla="*/ 69 w 98"/>
                <a:gd name="T115" fmla="*/ 99 h 9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8"/>
                <a:gd name="T175" fmla="*/ 0 h 99"/>
                <a:gd name="T176" fmla="*/ 98 w 98"/>
                <a:gd name="T177" fmla="*/ 99 h 9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8" h="99">
                  <a:moveTo>
                    <a:pt x="69" y="99"/>
                  </a:moveTo>
                  <a:lnTo>
                    <a:pt x="69" y="92"/>
                  </a:lnTo>
                  <a:lnTo>
                    <a:pt x="67" y="84"/>
                  </a:lnTo>
                  <a:lnTo>
                    <a:pt x="71" y="76"/>
                  </a:lnTo>
                  <a:lnTo>
                    <a:pt x="73" y="74"/>
                  </a:lnTo>
                  <a:lnTo>
                    <a:pt x="77" y="74"/>
                  </a:lnTo>
                  <a:lnTo>
                    <a:pt x="81" y="73"/>
                  </a:lnTo>
                  <a:lnTo>
                    <a:pt x="82" y="69"/>
                  </a:lnTo>
                  <a:lnTo>
                    <a:pt x="84" y="67"/>
                  </a:lnTo>
                  <a:lnTo>
                    <a:pt x="86" y="63"/>
                  </a:lnTo>
                  <a:lnTo>
                    <a:pt x="90" y="61"/>
                  </a:lnTo>
                  <a:lnTo>
                    <a:pt x="96" y="61"/>
                  </a:lnTo>
                  <a:lnTo>
                    <a:pt x="98" y="57"/>
                  </a:lnTo>
                  <a:lnTo>
                    <a:pt x="96" y="53"/>
                  </a:lnTo>
                  <a:lnTo>
                    <a:pt x="88" y="49"/>
                  </a:lnTo>
                  <a:lnTo>
                    <a:pt x="84" y="46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0" y="32"/>
                  </a:lnTo>
                  <a:lnTo>
                    <a:pt x="88" y="28"/>
                  </a:lnTo>
                  <a:lnTo>
                    <a:pt x="88" y="23"/>
                  </a:lnTo>
                  <a:lnTo>
                    <a:pt x="90" y="19"/>
                  </a:lnTo>
                  <a:lnTo>
                    <a:pt x="84" y="21"/>
                  </a:lnTo>
                  <a:lnTo>
                    <a:pt x="75" y="21"/>
                  </a:lnTo>
                  <a:lnTo>
                    <a:pt x="67" y="17"/>
                  </a:lnTo>
                  <a:lnTo>
                    <a:pt x="65" y="13"/>
                  </a:lnTo>
                  <a:lnTo>
                    <a:pt x="63" y="11"/>
                  </a:lnTo>
                  <a:lnTo>
                    <a:pt x="58" y="11"/>
                  </a:lnTo>
                  <a:lnTo>
                    <a:pt x="50" y="7"/>
                  </a:lnTo>
                  <a:lnTo>
                    <a:pt x="44" y="7"/>
                  </a:lnTo>
                  <a:lnTo>
                    <a:pt x="35" y="11"/>
                  </a:lnTo>
                  <a:lnTo>
                    <a:pt x="29" y="11"/>
                  </a:lnTo>
                  <a:lnTo>
                    <a:pt x="25" y="7"/>
                  </a:lnTo>
                  <a:lnTo>
                    <a:pt x="21" y="5"/>
                  </a:lnTo>
                  <a:lnTo>
                    <a:pt x="13" y="9"/>
                  </a:lnTo>
                  <a:lnTo>
                    <a:pt x="10" y="1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4" y="17"/>
                  </a:lnTo>
                  <a:lnTo>
                    <a:pt x="10" y="25"/>
                  </a:lnTo>
                  <a:lnTo>
                    <a:pt x="13" y="34"/>
                  </a:lnTo>
                  <a:lnTo>
                    <a:pt x="13" y="38"/>
                  </a:lnTo>
                  <a:lnTo>
                    <a:pt x="11" y="38"/>
                  </a:lnTo>
                  <a:lnTo>
                    <a:pt x="13" y="42"/>
                  </a:lnTo>
                  <a:lnTo>
                    <a:pt x="19" y="51"/>
                  </a:lnTo>
                  <a:lnTo>
                    <a:pt x="44" y="76"/>
                  </a:lnTo>
                  <a:lnTo>
                    <a:pt x="44" y="82"/>
                  </a:lnTo>
                  <a:lnTo>
                    <a:pt x="46" y="86"/>
                  </a:lnTo>
                  <a:lnTo>
                    <a:pt x="58" y="86"/>
                  </a:lnTo>
                  <a:lnTo>
                    <a:pt x="59" y="90"/>
                  </a:lnTo>
                  <a:lnTo>
                    <a:pt x="63" y="92"/>
                  </a:lnTo>
                  <a:lnTo>
                    <a:pt x="65" y="94"/>
                  </a:lnTo>
                  <a:lnTo>
                    <a:pt x="67" y="98"/>
                  </a:lnTo>
                  <a:lnTo>
                    <a:pt x="69" y="99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79" name="Freeform 284"/>
            <p:cNvSpPr>
              <a:spLocks/>
            </p:cNvSpPr>
            <p:nvPr/>
          </p:nvSpPr>
          <p:spPr bwMode="gray">
            <a:xfrm>
              <a:off x="4143" y="2340"/>
              <a:ext cx="38" cy="21"/>
            </a:xfrm>
            <a:custGeom>
              <a:avLst/>
              <a:gdLst>
                <a:gd name="T0" fmla="*/ 2 w 77"/>
                <a:gd name="T1" fmla="*/ 21 h 40"/>
                <a:gd name="T2" fmla="*/ 0 w 77"/>
                <a:gd name="T3" fmla="*/ 30 h 40"/>
                <a:gd name="T4" fmla="*/ 10 w 77"/>
                <a:gd name="T5" fmla="*/ 40 h 40"/>
                <a:gd name="T6" fmla="*/ 19 w 77"/>
                <a:gd name="T7" fmla="*/ 38 h 40"/>
                <a:gd name="T8" fmla="*/ 31 w 77"/>
                <a:gd name="T9" fmla="*/ 34 h 40"/>
                <a:gd name="T10" fmla="*/ 46 w 77"/>
                <a:gd name="T11" fmla="*/ 40 h 40"/>
                <a:gd name="T12" fmla="*/ 69 w 77"/>
                <a:gd name="T13" fmla="*/ 40 h 40"/>
                <a:gd name="T14" fmla="*/ 77 w 77"/>
                <a:gd name="T15" fmla="*/ 34 h 40"/>
                <a:gd name="T16" fmla="*/ 77 w 77"/>
                <a:gd name="T17" fmla="*/ 25 h 40"/>
                <a:gd name="T18" fmla="*/ 71 w 77"/>
                <a:gd name="T19" fmla="*/ 5 h 40"/>
                <a:gd name="T20" fmla="*/ 56 w 77"/>
                <a:gd name="T21" fmla="*/ 4 h 40"/>
                <a:gd name="T22" fmla="*/ 44 w 77"/>
                <a:gd name="T23" fmla="*/ 4 h 40"/>
                <a:gd name="T24" fmla="*/ 31 w 77"/>
                <a:gd name="T25" fmla="*/ 0 h 40"/>
                <a:gd name="T26" fmla="*/ 17 w 77"/>
                <a:gd name="T27" fmla="*/ 0 h 40"/>
                <a:gd name="T28" fmla="*/ 10 w 77"/>
                <a:gd name="T29" fmla="*/ 5 h 40"/>
                <a:gd name="T30" fmla="*/ 2 w 77"/>
                <a:gd name="T31" fmla="*/ 21 h 4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7"/>
                <a:gd name="T49" fmla="*/ 0 h 40"/>
                <a:gd name="T50" fmla="*/ 77 w 77"/>
                <a:gd name="T51" fmla="*/ 40 h 4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7" h="40">
                  <a:moveTo>
                    <a:pt x="2" y="21"/>
                  </a:moveTo>
                  <a:lnTo>
                    <a:pt x="0" y="30"/>
                  </a:lnTo>
                  <a:lnTo>
                    <a:pt x="10" y="40"/>
                  </a:lnTo>
                  <a:lnTo>
                    <a:pt x="19" y="38"/>
                  </a:lnTo>
                  <a:lnTo>
                    <a:pt x="31" y="34"/>
                  </a:lnTo>
                  <a:lnTo>
                    <a:pt x="46" y="40"/>
                  </a:lnTo>
                  <a:lnTo>
                    <a:pt x="69" y="40"/>
                  </a:lnTo>
                  <a:lnTo>
                    <a:pt x="77" y="34"/>
                  </a:lnTo>
                  <a:lnTo>
                    <a:pt x="77" y="25"/>
                  </a:lnTo>
                  <a:lnTo>
                    <a:pt x="71" y="5"/>
                  </a:lnTo>
                  <a:lnTo>
                    <a:pt x="56" y="4"/>
                  </a:lnTo>
                  <a:lnTo>
                    <a:pt x="44" y="4"/>
                  </a:lnTo>
                  <a:lnTo>
                    <a:pt x="31" y="0"/>
                  </a:lnTo>
                  <a:lnTo>
                    <a:pt x="17" y="0"/>
                  </a:lnTo>
                  <a:lnTo>
                    <a:pt x="10" y="5"/>
                  </a:lnTo>
                  <a:lnTo>
                    <a:pt x="2" y="21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0" name="Freeform 285"/>
            <p:cNvSpPr>
              <a:spLocks/>
            </p:cNvSpPr>
            <p:nvPr/>
          </p:nvSpPr>
          <p:spPr bwMode="gray">
            <a:xfrm>
              <a:off x="3039" y="2582"/>
              <a:ext cx="35" cy="103"/>
            </a:xfrm>
            <a:custGeom>
              <a:avLst/>
              <a:gdLst>
                <a:gd name="T0" fmla="*/ 32 w 69"/>
                <a:gd name="T1" fmla="*/ 202 h 208"/>
                <a:gd name="T2" fmla="*/ 48 w 69"/>
                <a:gd name="T3" fmla="*/ 200 h 208"/>
                <a:gd name="T4" fmla="*/ 50 w 69"/>
                <a:gd name="T5" fmla="*/ 165 h 208"/>
                <a:gd name="T6" fmla="*/ 46 w 69"/>
                <a:gd name="T7" fmla="*/ 150 h 208"/>
                <a:gd name="T8" fmla="*/ 50 w 69"/>
                <a:gd name="T9" fmla="*/ 125 h 208"/>
                <a:gd name="T10" fmla="*/ 48 w 69"/>
                <a:gd name="T11" fmla="*/ 115 h 208"/>
                <a:gd name="T12" fmla="*/ 55 w 69"/>
                <a:gd name="T13" fmla="*/ 117 h 208"/>
                <a:gd name="T14" fmla="*/ 54 w 69"/>
                <a:gd name="T15" fmla="*/ 104 h 208"/>
                <a:gd name="T16" fmla="*/ 59 w 69"/>
                <a:gd name="T17" fmla="*/ 96 h 208"/>
                <a:gd name="T18" fmla="*/ 61 w 69"/>
                <a:gd name="T19" fmla="*/ 75 h 208"/>
                <a:gd name="T20" fmla="*/ 67 w 69"/>
                <a:gd name="T21" fmla="*/ 71 h 208"/>
                <a:gd name="T22" fmla="*/ 67 w 69"/>
                <a:gd name="T23" fmla="*/ 63 h 208"/>
                <a:gd name="T24" fmla="*/ 69 w 69"/>
                <a:gd name="T25" fmla="*/ 50 h 208"/>
                <a:gd name="T26" fmla="*/ 65 w 69"/>
                <a:gd name="T27" fmla="*/ 42 h 208"/>
                <a:gd name="T28" fmla="*/ 61 w 69"/>
                <a:gd name="T29" fmla="*/ 33 h 208"/>
                <a:gd name="T30" fmla="*/ 63 w 69"/>
                <a:gd name="T31" fmla="*/ 17 h 208"/>
                <a:gd name="T32" fmla="*/ 48 w 69"/>
                <a:gd name="T33" fmla="*/ 6 h 208"/>
                <a:gd name="T34" fmla="*/ 38 w 69"/>
                <a:gd name="T35" fmla="*/ 0 h 208"/>
                <a:gd name="T36" fmla="*/ 23 w 69"/>
                <a:gd name="T37" fmla="*/ 14 h 208"/>
                <a:gd name="T38" fmla="*/ 21 w 69"/>
                <a:gd name="T39" fmla="*/ 21 h 208"/>
                <a:gd name="T40" fmla="*/ 11 w 69"/>
                <a:gd name="T41" fmla="*/ 27 h 208"/>
                <a:gd name="T42" fmla="*/ 9 w 69"/>
                <a:gd name="T43" fmla="*/ 33 h 208"/>
                <a:gd name="T44" fmla="*/ 2 w 69"/>
                <a:gd name="T45" fmla="*/ 35 h 208"/>
                <a:gd name="T46" fmla="*/ 17 w 69"/>
                <a:gd name="T47" fmla="*/ 65 h 208"/>
                <a:gd name="T48" fmla="*/ 19 w 69"/>
                <a:gd name="T49" fmla="*/ 88 h 208"/>
                <a:gd name="T50" fmla="*/ 23 w 69"/>
                <a:gd name="T51" fmla="*/ 98 h 208"/>
                <a:gd name="T52" fmla="*/ 19 w 69"/>
                <a:gd name="T53" fmla="*/ 123 h 208"/>
                <a:gd name="T54" fmla="*/ 21 w 69"/>
                <a:gd name="T55" fmla="*/ 158 h 208"/>
                <a:gd name="T56" fmla="*/ 17 w 69"/>
                <a:gd name="T57" fmla="*/ 169 h 208"/>
                <a:gd name="T58" fmla="*/ 21 w 69"/>
                <a:gd name="T59" fmla="*/ 183 h 208"/>
                <a:gd name="T60" fmla="*/ 23 w 69"/>
                <a:gd name="T61" fmla="*/ 198 h 208"/>
                <a:gd name="T62" fmla="*/ 25 w 69"/>
                <a:gd name="T63" fmla="*/ 208 h 20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9"/>
                <a:gd name="T97" fmla="*/ 0 h 208"/>
                <a:gd name="T98" fmla="*/ 69 w 69"/>
                <a:gd name="T99" fmla="*/ 208 h 20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9" h="208">
                  <a:moveTo>
                    <a:pt x="29" y="206"/>
                  </a:moveTo>
                  <a:lnTo>
                    <a:pt x="32" y="202"/>
                  </a:lnTo>
                  <a:lnTo>
                    <a:pt x="40" y="200"/>
                  </a:lnTo>
                  <a:lnTo>
                    <a:pt x="48" y="200"/>
                  </a:lnTo>
                  <a:lnTo>
                    <a:pt x="50" y="186"/>
                  </a:lnTo>
                  <a:lnTo>
                    <a:pt x="50" y="165"/>
                  </a:lnTo>
                  <a:lnTo>
                    <a:pt x="48" y="160"/>
                  </a:lnTo>
                  <a:lnTo>
                    <a:pt x="46" y="150"/>
                  </a:lnTo>
                  <a:lnTo>
                    <a:pt x="50" y="137"/>
                  </a:lnTo>
                  <a:lnTo>
                    <a:pt x="50" y="125"/>
                  </a:lnTo>
                  <a:lnTo>
                    <a:pt x="48" y="119"/>
                  </a:lnTo>
                  <a:lnTo>
                    <a:pt x="48" y="115"/>
                  </a:lnTo>
                  <a:lnTo>
                    <a:pt x="52" y="117"/>
                  </a:lnTo>
                  <a:lnTo>
                    <a:pt x="55" y="117"/>
                  </a:lnTo>
                  <a:lnTo>
                    <a:pt x="57" y="112"/>
                  </a:lnTo>
                  <a:lnTo>
                    <a:pt x="54" y="104"/>
                  </a:lnTo>
                  <a:lnTo>
                    <a:pt x="55" y="100"/>
                  </a:lnTo>
                  <a:lnTo>
                    <a:pt x="59" y="96"/>
                  </a:lnTo>
                  <a:lnTo>
                    <a:pt x="61" y="92"/>
                  </a:lnTo>
                  <a:lnTo>
                    <a:pt x="61" y="75"/>
                  </a:lnTo>
                  <a:lnTo>
                    <a:pt x="63" y="73"/>
                  </a:lnTo>
                  <a:lnTo>
                    <a:pt x="67" y="71"/>
                  </a:lnTo>
                  <a:lnTo>
                    <a:pt x="69" y="69"/>
                  </a:lnTo>
                  <a:lnTo>
                    <a:pt x="67" y="63"/>
                  </a:lnTo>
                  <a:lnTo>
                    <a:pt x="67" y="58"/>
                  </a:lnTo>
                  <a:lnTo>
                    <a:pt x="69" y="50"/>
                  </a:lnTo>
                  <a:lnTo>
                    <a:pt x="69" y="44"/>
                  </a:lnTo>
                  <a:lnTo>
                    <a:pt x="65" y="42"/>
                  </a:lnTo>
                  <a:lnTo>
                    <a:pt x="59" y="37"/>
                  </a:lnTo>
                  <a:lnTo>
                    <a:pt x="61" y="33"/>
                  </a:lnTo>
                  <a:lnTo>
                    <a:pt x="63" y="27"/>
                  </a:lnTo>
                  <a:lnTo>
                    <a:pt x="63" y="17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44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3" y="14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5" y="25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9" y="33"/>
                  </a:lnTo>
                  <a:lnTo>
                    <a:pt x="7" y="35"/>
                  </a:lnTo>
                  <a:lnTo>
                    <a:pt x="2" y="35"/>
                  </a:lnTo>
                  <a:lnTo>
                    <a:pt x="0" y="62"/>
                  </a:lnTo>
                  <a:lnTo>
                    <a:pt x="17" y="65"/>
                  </a:lnTo>
                  <a:lnTo>
                    <a:pt x="19" y="69"/>
                  </a:lnTo>
                  <a:lnTo>
                    <a:pt x="19" y="88"/>
                  </a:lnTo>
                  <a:lnTo>
                    <a:pt x="21" y="94"/>
                  </a:lnTo>
                  <a:lnTo>
                    <a:pt x="23" y="98"/>
                  </a:lnTo>
                  <a:lnTo>
                    <a:pt x="23" y="104"/>
                  </a:lnTo>
                  <a:lnTo>
                    <a:pt x="19" y="123"/>
                  </a:lnTo>
                  <a:lnTo>
                    <a:pt x="21" y="131"/>
                  </a:lnTo>
                  <a:lnTo>
                    <a:pt x="21" y="158"/>
                  </a:lnTo>
                  <a:lnTo>
                    <a:pt x="17" y="165"/>
                  </a:lnTo>
                  <a:lnTo>
                    <a:pt x="17" y="169"/>
                  </a:lnTo>
                  <a:lnTo>
                    <a:pt x="19" y="175"/>
                  </a:lnTo>
                  <a:lnTo>
                    <a:pt x="21" y="183"/>
                  </a:lnTo>
                  <a:lnTo>
                    <a:pt x="21" y="194"/>
                  </a:lnTo>
                  <a:lnTo>
                    <a:pt x="23" y="198"/>
                  </a:lnTo>
                  <a:lnTo>
                    <a:pt x="25" y="200"/>
                  </a:lnTo>
                  <a:lnTo>
                    <a:pt x="25" y="208"/>
                  </a:lnTo>
                  <a:lnTo>
                    <a:pt x="29" y="20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1" name="Freeform 286"/>
            <p:cNvSpPr>
              <a:spLocks/>
            </p:cNvSpPr>
            <p:nvPr/>
          </p:nvSpPr>
          <p:spPr bwMode="gray">
            <a:xfrm>
              <a:off x="3338" y="1836"/>
              <a:ext cx="93" cy="88"/>
            </a:xfrm>
            <a:custGeom>
              <a:avLst/>
              <a:gdLst>
                <a:gd name="T0" fmla="*/ 55 w 186"/>
                <a:gd name="T1" fmla="*/ 34 h 177"/>
                <a:gd name="T2" fmla="*/ 71 w 186"/>
                <a:gd name="T3" fmla="*/ 27 h 177"/>
                <a:gd name="T4" fmla="*/ 78 w 186"/>
                <a:gd name="T5" fmla="*/ 27 h 177"/>
                <a:gd name="T6" fmla="*/ 80 w 186"/>
                <a:gd name="T7" fmla="*/ 8 h 177"/>
                <a:gd name="T8" fmla="*/ 84 w 186"/>
                <a:gd name="T9" fmla="*/ 0 h 177"/>
                <a:gd name="T10" fmla="*/ 96 w 186"/>
                <a:gd name="T11" fmla="*/ 4 h 177"/>
                <a:gd name="T12" fmla="*/ 105 w 186"/>
                <a:gd name="T13" fmla="*/ 0 h 177"/>
                <a:gd name="T14" fmla="*/ 109 w 186"/>
                <a:gd name="T15" fmla="*/ 8 h 177"/>
                <a:gd name="T16" fmla="*/ 119 w 186"/>
                <a:gd name="T17" fmla="*/ 4 h 177"/>
                <a:gd name="T18" fmla="*/ 126 w 186"/>
                <a:gd name="T19" fmla="*/ 6 h 177"/>
                <a:gd name="T20" fmla="*/ 140 w 186"/>
                <a:gd name="T21" fmla="*/ 9 h 177"/>
                <a:gd name="T22" fmla="*/ 147 w 186"/>
                <a:gd name="T23" fmla="*/ 19 h 177"/>
                <a:gd name="T24" fmla="*/ 153 w 186"/>
                <a:gd name="T25" fmla="*/ 25 h 177"/>
                <a:gd name="T26" fmla="*/ 157 w 186"/>
                <a:gd name="T27" fmla="*/ 40 h 177"/>
                <a:gd name="T28" fmla="*/ 163 w 186"/>
                <a:gd name="T29" fmla="*/ 54 h 177"/>
                <a:gd name="T30" fmla="*/ 161 w 186"/>
                <a:gd name="T31" fmla="*/ 71 h 177"/>
                <a:gd name="T32" fmla="*/ 176 w 186"/>
                <a:gd name="T33" fmla="*/ 82 h 177"/>
                <a:gd name="T34" fmla="*/ 184 w 186"/>
                <a:gd name="T35" fmla="*/ 98 h 177"/>
                <a:gd name="T36" fmla="*/ 182 w 186"/>
                <a:gd name="T37" fmla="*/ 107 h 177"/>
                <a:gd name="T38" fmla="*/ 169 w 186"/>
                <a:gd name="T39" fmla="*/ 106 h 177"/>
                <a:gd name="T40" fmla="*/ 165 w 186"/>
                <a:gd name="T41" fmla="*/ 115 h 177"/>
                <a:gd name="T42" fmla="*/ 174 w 186"/>
                <a:gd name="T43" fmla="*/ 154 h 177"/>
                <a:gd name="T44" fmla="*/ 165 w 186"/>
                <a:gd name="T45" fmla="*/ 155 h 177"/>
                <a:gd name="T46" fmla="*/ 159 w 186"/>
                <a:gd name="T47" fmla="*/ 157 h 177"/>
                <a:gd name="T48" fmla="*/ 157 w 186"/>
                <a:gd name="T49" fmla="*/ 171 h 177"/>
                <a:gd name="T50" fmla="*/ 149 w 186"/>
                <a:gd name="T51" fmla="*/ 173 h 177"/>
                <a:gd name="T52" fmla="*/ 124 w 186"/>
                <a:gd name="T53" fmla="*/ 171 h 177"/>
                <a:gd name="T54" fmla="*/ 119 w 186"/>
                <a:gd name="T55" fmla="*/ 171 h 177"/>
                <a:gd name="T56" fmla="*/ 109 w 186"/>
                <a:gd name="T57" fmla="*/ 169 h 177"/>
                <a:gd name="T58" fmla="*/ 105 w 186"/>
                <a:gd name="T59" fmla="*/ 171 h 177"/>
                <a:gd name="T60" fmla="*/ 103 w 186"/>
                <a:gd name="T61" fmla="*/ 177 h 177"/>
                <a:gd name="T62" fmla="*/ 96 w 186"/>
                <a:gd name="T63" fmla="*/ 169 h 177"/>
                <a:gd name="T64" fmla="*/ 76 w 186"/>
                <a:gd name="T65" fmla="*/ 171 h 177"/>
                <a:gd name="T66" fmla="*/ 61 w 186"/>
                <a:gd name="T67" fmla="*/ 167 h 177"/>
                <a:gd name="T68" fmla="*/ 42 w 186"/>
                <a:gd name="T69" fmla="*/ 165 h 177"/>
                <a:gd name="T70" fmla="*/ 23 w 186"/>
                <a:gd name="T71" fmla="*/ 169 h 177"/>
                <a:gd name="T72" fmla="*/ 13 w 186"/>
                <a:gd name="T73" fmla="*/ 171 h 177"/>
                <a:gd name="T74" fmla="*/ 4 w 186"/>
                <a:gd name="T75" fmla="*/ 167 h 177"/>
                <a:gd name="T76" fmla="*/ 2 w 186"/>
                <a:gd name="T77" fmla="*/ 165 h 177"/>
                <a:gd name="T78" fmla="*/ 0 w 186"/>
                <a:gd name="T79" fmla="*/ 150 h 177"/>
                <a:gd name="T80" fmla="*/ 7 w 186"/>
                <a:gd name="T81" fmla="*/ 127 h 177"/>
                <a:gd name="T82" fmla="*/ 0 w 186"/>
                <a:gd name="T83" fmla="*/ 111 h 177"/>
                <a:gd name="T84" fmla="*/ 11 w 186"/>
                <a:gd name="T85" fmla="*/ 102 h 177"/>
                <a:gd name="T86" fmla="*/ 27 w 186"/>
                <a:gd name="T87" fmla="*/ 100 h 177"/>
                <a:gd name="T88" fmla="*/ 28 w 186"/>
                <a:gd name="T89" fmla="*/ 92 h 177"/>
                <a:gd name="T90" fmla="*/ 40 w 186"/>
                <a:gd name="T91" fmla="*/ 90 h 177"/>
                <a:gd name="T92" fmla="*/ 38 w 186"/>
                <a:gd name="T93" fmla="*/ 77 h 177"/>
                <a:gd name="T94" fmla="*/ 44 w 186"/>
                <a:gd name="T95" fmla="*/ 59 h 177"/>
                <a:gd name="T96" fmla="*/ 52 w 186"/>
                <a:gd name="T97" fmla="*/ 46 h 177"/>
                <a:gd name="T98" fmla="*/ 52 w 186"/>
                <a:gd name="T99" fmla="*/ 40 h 17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86"/>
                <a:gd name="T151" fmla="*/ 0 h 177"/>
                <a:gd name="T152" fmla="*/ 186 w 186"/>
                <a:gd name="T153" fmla="*/ 177 h 17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86" h="177">
                  <a:moveTo>
                    <a:pt x="52" y="40"/>
                  </a:moveTo>
                  <a:lnTo>
                    <a:pt x="55" y="34"/>
                  </a:lnTo>
                  <a:lnTo>
                    <a:pt x="61" y="27"/>
                  </a:lnTo>
                  <a:lnTo>
                    <a:pt x="71" y="27"/>
                  </a:lnTo>
                  <a:lnTo>
                    <a:pt x="76" y="31"/>
                  </a:lnTo>
                  <a:lnTo>
                    <a:pt x="78" y="27"/>
                  </a:lnTo>
                  <a:lnTo>
                    <a:pt x="78" y="17"/>
                  </a:lnTo>
                  <a:lnTo>
                    <a:pt x="80" y="8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8" y="2"/>
                  </a:lnTo>
                  <a:lnTo>
                    <a:pt x="96" y="4"/>
                  </a:lnTo>
                  <a:lnTo>
                    <a:pt x="101" y="0"/>
                  </a:lnTo>
                  <a:lnTo>
                    <a:pt x="105" y="0"/>
                  </a:lnTo>
                  <a:lnTo>
                    <a:pt x="105" y="8"/>
                  </a:lnTo>
                  <a:lnTo>
                    <a:pt x="109" y="8"/>
                  </a:lnTo>
                  <a:lnTo>
                    <a:pt x="115" y="6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6" y="6"/>
                  </a:lnTo>
                  <a:lnTo>
                    <a:pt x="132" y="8"/>
                  </a:lnTo>
                  <a:lnTo>
                    <a:pt x="140" y="9"/>
                  </a:lnTo>
                  <a:lnTo>
                    <a:pt x="144" y="13"/>
                  </a:lnTo>
                  <a:lnTo>
                    <a:pt x="147" y="19"/>
                  </a:lnTo>
                  <a:lnTo>
                    <a:pt x="149" y="23"/>
                  </a:lnTo>
                  <a:lnTo>
                    <a:pt x="153" y="25"/>
                  </a:lnTo>
                  <a:lnTo>
                    <a:pt x="157" y="32"/>
                  </a:lnTo>
                  <a:lnTo>
                    <a:pt x="157" y="40"/>
                  </a:lnTo>
                  <a:lnTo>
                    <a:pt x="161" y="46"/>
                  </a:lnTo>
                  <a:lnTo>
                    <a:pt x="163" y="54"/>
                  </a:lnTo>
                  <a:lnTo>
                    <a:pt x="161" y="63"/>
                  </a:lnTo>
                  <a:lnTo>
                    <a:pt x="161" y="71"/>
                  </a:lnTo>
                  <a:lnTo>
                    <a:pt x="165" y="75"/>
                  </a:lnTo>
                  <a:lnTo>
                    <a:pt x="176" y="82"/>
                  </a:lnTo>
                  <a:lnTo>
                    <a:pt x="182" y="90"/>
                  </a:lnTo>
                  <a:lnTo>
                    <a:pt x="184" y="98"/>
                  </a:lnTo>
                  <a:lnTo>
                    <a:pt x="186" y="104"/>
                  </a:lnTo>
                  <a:lnTo>
                    <a:pt x="182" y="107"/>
                  </a:lnTo>
                  <a:lnTo>
                    <a:pt x="174" y="107"/>
                  </a:lnTo>
                  <a:lnTo>
                    <a:pt x="169" y="106"/>
                  </a:lnTo>
                  <a:lnTo>
                    <a:pt x="165" y="111"/>
                  </a:lnTo>
                  <a:lnTo>
                    <a:pt x="165" y="115"/>
                  </a:lnTo>
                  <a:lnTo>
                    <a:pt x="174" y="125"/>
                  </a:lnTo>
                  <a:lnTo>
                    <a:pt x="174" y="154"/>
                  </a:lnTo>
                  <a:lnTo>
                    <a:pt x="169" y="154"/>
                  </a:lnTo>
                  <a:lnTo>
                    <a:pt x="165" y="155"/>
                  </a:lnTo>
                  <a:lnTo>
                    <a:pt x="161" y="155"/>
                  </a:lnTo>
                  <a:lnTo>
                    <a:pt x="159" y="157"/>
                  </a:lnTo>
                  <a:lnTo>
                    <a:pt x="157" y="163"/>
                  </a:lnTo>
                  <a:lnTo>
                    <a:pt x="157" y="171"/>
                  </a:lnTo>
                  <a:lnTo>
                    <a:pt x="155" y="173"/>
                  </a:lnTo>
                  <a:lnTo>
                    <a:pt x="149" y="173"/>
                  </a:lnTo>
                  <a:lnTo>
                    <a:pt x="144" y="171"/>
                  </a:lnTo>
                  <a:lnTo>
                    <a:pt x="124" y="171"/>
                  </a:lnTo>
                  <a:lnTo>
                    <a:pt x="123" y="169"/>
                  </a:lnTo>
                  <a:lnTo>
                    <a:pt x="119" y="171"/>
                  </a:lnTo>
                  <a:lnTo>
                    <a:pt x="113" y="173"/>
                  </a:lnTo>
                  <a:lnTo>
                    <a:pt x="109" y="169"/>
                  </a:lnTo>
                  <a:lnTo>
                    <a:pt x="107" y="169"/>
                  </a:lnTo>
                  <a:lnTo>
                    <a:pt x="105" y="171"/>
                  </a:lnTo>
                  <a:lnTo>
                    <a:pt x="103" y="175"/>
                  </a:lnTo>
                  <a:lnTo>
                    <a:pt x="103" y="177"/>
                  </a:lnTo>
                  <a:lnTo>
                    <a:pt x="99" y="169"/>
                  </a:lnTo>
                  <a:lnTo>
                    <a:pt x="96" y="169"/>
                  </a:lnTo>
                  <a:lnTo>
                    <a:pt x="92" y="171"/>
                  </a:lnTo>
                  <a:lnTo>
                    <a:pt x="76" y="171"/>
                  </a:lnTo>
                  <a:lnTo>
                    <a:pt x="71" y="169"/>
                  </a:lnTo>
                  <a:lnTo>
                    <a:pt x="61" y="167"/>
                  </a:lnTo>
                  <a:lnTo>
                    <a:pt x="52" y="167"/>
                  </a:lnTo>
                  <a:lnTo>
                    <a:pt x="42" y="165"/>
                  </a:lnTo>
                  <a:lnTo>
                    <a:pt x="27" y="165"/>
                  </a:lnTo>
                  <a:lnTo>
                    <a:pt x="23" y="169"/>
                  </a:lnTo>
                  <a:lnTo>
                    <a:pt x="19" y="175"/>
                  </a:lnTo>
                  <a:lnTo>
                    <a:pt x="13" y="171"/>
                  </a:lnTo>
                  <a:lnTo>
                    <a:pt x="9" y="167"/>
                  </a:lnTo>
                  <a:lnTo>
                    <a:pt x="4" y="167"/>
                  </a:lnTo>
                  <a:lnTo>
                    <a:pt x="2" y="169"/>
                  </a:lnTo>
                  <a:lnTo>
                    <a:pt x="2" y="165"/>
                  </a:lnTo>
                  <a:lnTo>
                    <a:pt x="0" y="157"/>
                  </a:lnTo>
                  <a:lnTo>
                    <a:pt x="0" y="150"/>
                  </a:lnTo>
                  <a:lnTo>
                    <a:pt x="7" y="134"/>
                  </a:lnTo>
                  <a:lnTo>
                    <a:pt x="7" y="127"/>
                  </a:lnTo>
                  <a:lnTo>
                    <a:pt x="2" y="119"/>
                  </a:lnTo>
                  <a:lnTo>
                    <a:pt x="0" y="111"/>
                  </a:lnTo>
                  <a:lnTo>
                    <a:pt x="0" y="107"/>
                  </a:lnTo>
                  <a:lnTo>
                    <a:pt x="11" y="102"/>
                  </a:lnTo>
                  <a:lnTo>
                    <a:pt x="25" y="102"/>
                  </a:lnTo>
                  <a:lnTo>
                    <a:pt x="27" y="100"/>
                  </a:lnTo>
                  <a:lnTo>
                    <a:pt x="28" y="94"/>
                  </a:lnTo>
                  <a:lnTo>
                    <a:pt x="28" y="92"/>
                  </a:lnTo>
                  <a:lnTo>
                    <a:pt x="38" y="92"/>
                  </a:lnTo>
                  <a:lnTo>
                    <a:pt x="40" y="90"/>
                  </a:lnTo>
                  <a:lnTo>
                    <a:pt x="40" y="84"/>
                  </a:lnTo>
                  <a:lnTo>
                    <a:pt x="38" y="77"/>
                  </a:lnTo>
                  <a:lnTo>
                    <a:pt x="40" y="67"/>
                  </a:lnTo>
                  <a:lnTo>
                    <a:pt x="44" y="59"/>
                  </a:lnTo>
                  <a:lnTo>
                    <a:pt x="50" y="54"/>
                  </a:lnTo>
                  <a:lnTo>
                    <a:pt x="52" y="46"/>
                  </a:lnTo>
                  <a:lnTo>
                    <a:pt x="53" y="42"/>
                  </a:lnTo>
                  <a:lnTo>
                    <a:pt x="52" y="4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2" name="Freeform 287"/>
            <p:cNvSpPr>
              <a:spLocks/>
            </p:cNvSpPr>
            <p:nvPr/>
          </p:nvSpPr>
          <p:spPr bwMode="gray">
            <a:xfrm>
              <a:off x="1919" y="2493"/>
              <a:ext cx="14" cy="39"/>
            </a:xfrm>
            <a:custGeom>
              <a:avLst/>
              <a:gdLst>
                <a:gd name="T0" fmla="*/ 17 w 27"/>
                <a:gd name="T1" fmla="*/ 2 h 77"/>
                <a:gd name="T2" fmla="*/ 11 w 27"/>
                <a:gd name="T3" fmla="*/ 0 h 77"/>
                <a:gd name="T4" fmla="*/ 8 w 27"/>
                <a:gd name="T5" fmla="*/ 2 h 77"/>
                <a:gd name="T6" fmla="*/ 0 w 27"/>
                <a:gd name="T7" fmla="*/ 10 h 77"/>
                <a:gd name="T8" fmla="*/ 0 w 27"/>
                <a:gd name="T9" fmla="*/ 77 h 77"/>
                <a:gd name="T10" fmla="*/ 11 w 27"/>
                <a:gd name="T11" fmla="*/ 77 h 77"/>
                <a:gd name="T12" fmla="*/ 19 w 27"/>
                <a:gd name="T13" fmla="*/ 54 h 77"/>
                <a:gd name="T14" fmla="*/ 27 w 27"/>
                <a:gd name="T15" fmla="*/ 29 h 77"/>
                <a:gd name="T16" fmla="*/ 27 w 27"/>
                <a:gd name="T17" fmla="*/ 10 h 77"/>
                <a:gd name="T18" fmla="*/ 23 w 27"/>
                <a:gd name="T19" fmla="*/ 6 h 77"/>
                <a:gd name="T20" fmla="*/ 21 w 27"/>
                <a:gd name="T21" fmla="*/ 2 h 77"/>
                <a:gd name="T22" fmla="*/ 17 w 27"/>
                <a:gd name="T23" fmla="*/ 2 h 7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"/>
                <a:gd name="T37" fmla="*/ 0 h 77"/>
                <a:gd name="T38" fmla="*/ 27 w 27"/>
                <a:gd name="T39" fmla="*/ 77 h 7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" h="77">
                  <a:moveTo>
                    <a:pt x="17" y="2"/>
                  </a:moveTo>
                  <a:lnTo>
                    <a:pt x="11" y="0"/>
                  </a:lnTo>
                  <a:lnTo>
                    <a:pt x="8" y="2"/>
                  </a:lnTo>
                  <a:lnTo>
                    <a:pt x="0" y="10"/>
                  </a:lnTo>
                  <a:lnTo>
                    <a:pt x="0" y="77"/>
                  </a:lnTo>
                  <a:lnTo>
                    <a:pt x="11" y="77"/>
                  </a:lnTo>
                  <a:lnTo>
                    <a:pt x="19" y="54"/>
                  </a:lnTo>
                  <a:lnTo>
                    <a:pt x="27" y="29"/>
                  </a:lnTo>
                  <a:lnTo>
                    <a:pt x="27" y="10"/>
                  </a:lnTo>
                  <a:lnTo>
                    <a:pt x="23" y="6"/>
                  </a:lnTo>
                  <a:lnTo>
                    <a:pt x="21" y="2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3" name="Freeform 288"/>
            <p:cNvSpPr>
              <a:spLocks/>
            </p:cNvSpPr>
            <p:nvPr/>
          </p:nvSpPr>
          <p:spPr bwMode="gray">
            <a:xfrm>
              <a:off x="3059" y="1933"/>
              <a:ext cx="49" cy="32"/>
            </a:xfrm>
            <a:custGeom>
              <a:avLst/>
              <a:gdLst>
                <a:gd name="T0" fmla="*/ 0 w 98"/>
                <a:gd name="T1" fmla="*/ 6 h 63"/>
                <a:gd name="T2" fmla="*/ 8 w 98"/>
                <a:gd name="T3" fmla="*/ 13 h 63"/>
                <a:gd name="T4" fmla="*/ 12 w 98"/>
                <a:gd name="T5" fmla="*/ 15 h 63"/>
                <a:gd name="T6" fmla="*/ 12 w 98"/>
                <a:gd name="T7" fmla="*/ 21 h 63"/>
                <a:gd name="T8" fmla="*/ 14 w 98"/>
                <a:gd name="T9" fmla="*/ 25 h 63"/>
                <a:gd name="T10" fmla="*/ 14 w 98"/>
                <a:gd name="T11" fmla="*/ 27 h 63"/>
                <a:gd name="T12" fmla="*/ 16 w 98"/>
                <a:gd name="T13" fmla="*/ 27 h 63"/>
                <a:gd name="T14" fmla="*/ 19 w 98"/>
                <a:gd name="T15" fmla="*/ 29 h 63"/>
                <a:gd name="T16" fmla="*/ 25 w 98"/>
                <a:gd name="T17" fmla="*/ 35 h 63"/>
                <a:gd name="T18" fmla="*/ 31 w 98"/>
                <a:gd name="T19" fmla="*/ 38 h 63"/>
                <a:gd name="T20" fmla="*/ 35 w 98"/>
                <a:gd name="T21" fmla="*/ 36 h 63"/>
                <a:gd name="T22" fmla="*/ 37 w 98"/>
                <a:gd name="T23" fmla="*/ 36 h 63"/>
                <a:gd name="T24" fmla="*/ 37 w 98"/>
                <a:gd name="T25" fmla="*/ 40 h 63"/>
                <a:gd name="T26" fmla="*/ 40 w 98"/>
                <a:gd name="T27" fmla="*/ 46 h 63"/>
                <a:gd name="T28" fmla="*/ 46 w 98"/>
                <a:gd name="T29" fmla="*/ 50 h 63"/>
                <a:gd name="T30" fmla="*/ 54 w 98"/>
                <a:gd name="T31" fmla="*/ 54 h 63"/>
                <a:gd name="T32" fmla="*/ 60 w 98"/>
                <a:gd name="T33" fmla="*/ 54 h 63"/>
                <a:gd name="T34" fmla="*/ 63 w 98"/>
                <a:gd name="T35" fmla="*/ 50 h 63"/>
                <a:gd name="T36" fmla="*/ 65 w 98"/>
                <a:gd name="T37" fmla="*/ 54 h 63"/>
                <a:gd name="T38" fmla="*/ 65 w 98"/>
                <a:gd name="T39" fmla="*/ 59 h 63"/>
                <a:gd name="T40" fmla="*/ 69 w 98"/>
                <a:gd name="T41" fmla="*/ 63 h 63"/>
                <a:gd name="T42" fmla="*/ 77 w 98"/>
                <a:gd name="T43" fmla="*/ 63 h 63"/>
                <a:gd name="T44" fmla="*/ 88 w 98"/>
                <a:gd name="T45" fmla="*/ 61 h 63"/>
                <a:gd name="T46" fmla="*/ 88 w 98"/>
                <a:gd name="T47" fmla="*/ 58 h 63"/>
                <a:gd name="T48" fmla="*/ 90 w 98"/>
                <a:gd name="T49" fmla="*/ 54 h 63"/>
                <a:gd name="T50" fmla="*/ 90 w 98"/>
                <a:gd name="T51" fmla="*/ 50 h 63"/>
                <a:gd name="T52" fmla="*/ 94 w 98"/>
                <a:gd name="T53" fmla="*/ 48 h 63"/>
                <a:gd name="T54" fmla="*/ 96 w 98"/>
                <a:gd name="T55" fmla="*/ 44 h 63"/>
                <a:gd name="T56" fmla="*/ 98 w 98"/>
                <a:gd name="T57" fmla="*/ 36 h 63"/>
                <a:gd name="T58" fmla="*/ 92 w 98"/>
                <a:gd name="T59" fmla="*/ 25 h 63"/>
                <a:gd name="T60" fmla="*/ 94 w 98"/>
                <a:gd name="T61" fmla="*/ 23 h 63"/>
                <a:gd name="T62" fmla="*/ 94 w 98"/>
                <a:gd name="T63" fmla="*/ 21 h 63"/>
                <a:gd name="T64" fmla="*/ 87 w 98"/>
                <a:gd name="T65" fmla="*/ 17 h 63"/>
                <a:gd name="T66" fmla="*/ 85 w 98"/>
                <a:gd name="T67" fmla="*/ 15 h 63"/>
                <a:gd name="T68" fmla="*/ 81 w 98"/>
                <a:gd name="T69" fmla="*/ 15 h 63"/>
                <a:gd name="T70" fmla="*/ 77 w 98"/>
                <a:gd name="T71" fmla="*/ 13 h 63"/>
                <a:gd name="T72" fmla="*/ 73 w 98"/>
                <a:gd name="T73" fmla="*/ 10 h 63"/>
                <a:gd name="T74" fmla="*/ 73 w 98"/>
                <a:gd name="T75" fmla="*/ 6 h 63"/>
                <a:gd name="T76" fmla="*/ 63 w 98"/>
                <a:gd name="T77" fmla="*/ 6 h 63"/>
                <a:gd name="T78" fmla="*/ 58 w 98"/>
                <a:gd name="T79" fmla="*/ 8 h 63"/>
                <a:gd name="T80" fmla="*/ 54 w 98"/>
                <a:gd name="T81" fmla="*/ 10 h 63"/>
                <a:gd name="T82" fmla="*/ 46 w 98"/>
                <a:gd name="T83" fmla="*/ 11 h 63"/>
                <a:gd name="T84" fmla="*/ 37 w 98"/>
                <a:gd name="T85" fmla="*/ 8 h 63"/>
                <a:gd name="T86" fmla="*/ 33 w 98"/>
                <a:gd name="T87" fmla="*/ 2 h 63"/>
                <a:gd name="T88" fmla="*/ 33 w 98"/>
                <a:gd name="T89" fmla="*/ 0 h 63"/>
                <a:gd name="T90" fmla="*/ 19 w 98"/>
                <a:gd name="T91" fmla="*/ 2 h 63"/>
                <a:gd name="T92" fmla="*/ 0 w 98"/>
                <a:gd name="T93" fmla="*/ 6 h 6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98"/>
                <a:gd name="T142" fmla="*/ 0 h 63"/>
                <a:gd name="T143" fmla="*/ 98 w 98"/>
                <a:gd name="T144" fmla="*/ 63 h 6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98" h="63">
                  <a:moveTo>
                    <a:pt x="0" y="6"/>
                  </a:moveTo>
                  <a:lnTo>
                    <a:pt x="8" y="13"/>
                  </a:lnTo>
                  <a:lnTo>
                    <a:pt x="12" y="15"/>
                  </a:lnTo>
                  <a:lnTo>
                    <a:pt x="12" y="21"/>
                  </a:lnTo>
                  <a:lnTo>
                    <a:pt x="14" y="25"/>
                  </a:lnTo>
                  <a:lnTo>
                    <a:pt x="14" y="27"/>
                  </a:lnTo>
                  <a:lnTo>
                    <a:pt x="16" y="27"/>
                  </a:lnTo>
                  <a:lnTo>
                    <a:pt x="19" y="29"/>
                  </a:lnTo>
                  <a:lnTo>
                    <a:pt x="25" y="35"/>
                  </a:lnTo>
                  <a:lnTo>
                    <a:pt x="31" y="38"/>
                  </a:lnTo>
                  <a:lnTo>
                    <a:pt x="35" y="36"/>
                  </a:lnTo>
                  <a:lnTo>
                    <a:pt x="37" y="36"/>
                  </a:lnTo>
                  <a:lnTo>
                    <a:pt x="37" y="40"/>
                  </a:lnTo>
                  <a:lnTo>
                    <a:pt x="40" y="46"/>
                  </a:lnTo>
                  <a:lnTo>
                    <a:pt x="46" y="50"/>
                  </a:lnTo>
                  <a:lnTo>
                    <a:pt x="54" y="54"/>
                  </a:lnTo>
                  <a:lnTo>
                    <a:pt x="60" y="54"/>
                  </a:lnTo>
                  <a:lnTo>
                    <a:pt x="63" y="50"/>
                  </a:lnTo>
                  <a:lnTo>
                    <a:pt x="65" y="54"/>
                  </a:lnTo>
                  <a:lnTo>
                    <a:pt x="65" y="59"/>
                  </a:lnTo>
                  <a:lnTo>
                    <a:pt x="69" y="63"/>
                  </a:lnTo>
                  <a:lnTo>
                    <a:pt x="77" y="63"/>
                  </a:lnTo>
                  <a:lnTo>
                    <a:pt x="88" y="61"/>
                  </a:lnTo>
                  <a:lnTo>
                    <a:pt x="88" y="58"/>
                  </a:lnTo>
                  <a:lnTo>
                    <a:pt x="90" y="54"/>
                  </a:lnTo>
                  <a:lnTo>
                    <a:pt x="90" y="50"/>
                  </a:lnTo>
                  <a:lnTo>
                    <a:pt x="94" y="48"/>
                  </a:lnTo>
                  <a:lnTo>
                    <a:pt x="96" y="44"/>
                  </a:lnTo>
                  <a:lnTo>
                    <a:pt x="98" y="36"/>
                  </a:lnTo>
                  <a:lnTo>
                    <a:pt x="92" y="25"/>
                  </a:lnTo>
                  <a:lnTo>
                    <a:pt x="94" y="23"/>
                  </a:lnTo>
                  <a:lnTo>
                    <a:pt x="94" y="21"/>
                  </a:lnTo>
                  <a:lnTo>
                    <a:pt x="87" y="17"/>
                  </a:lnTo>
                  <a:lnTo>
                    <a:pt x="85" y="15"/>
                  </a:lnTo>
                  <a:lnTo>
                    <a:pt x="81" y="15"/>
                  </a:lnTo>
                  <a:lnTo>
                    <a:pt x="77" y="13"/>
                  </a:lnTo>
                  <a:lnTo>
                    <a:pt x="73" y="10"/>
                  </a:lnTo>
                  <a:lnTo>
                    <a:pt x="73" y="6"/>
                  </a:lnTo>
                  <a:lnTo>
                    <a:pt x="63" y="6"/>
                  </a:lnTo>
                  <a:lnTo>
                    <a:pt x="58" y="8"/>
                  </a:lnTo>
                  <a:lnTo>
                    <a:pt x="54" y="10"/>
                  </a:lnTo>
                  <a:lnTo>
                    <a:pt x="46" y="11"/>
                  </a:lnTo>
                  <a:lnTo>
                    <a:pt x="37" y="8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19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4" name="Freeform 289"/>
            <p:cNvSpPr>
              <a:spLocks/>
            </p:cNvSpPr>
            <p:nvPr/>
          </p:nvSpPr>
          <p:spPr bwMode="gray">
            <a:xfrm>
              <a:off x="4123" y="2371"/>
              <a:ext cx="68" cy="95"/>
            </a:xfrm>
            <a:custGeom>
              <a:avLst/>
              <a:gdLst>
                <a:gd name="T0" fmla="*/ 124 w 136"/>
                <a:gd name="T1" fmla="*/ 190 h 190"/>
                <a:gd name="T2" fmla="*/ 123 w 136"/>
                <a:gd name="T3" fmla="*/ 185 h 190"/>
                <a:gd name="T4" fmla="*/ 126 w 136"/>
                <a:gd name="T5" fmla="*/ 177 h 190"/>
                <a:gd name="T6" fmla="*/ 136 w 136"/>
                <a:gd name="T7" fmla="*/ 183 h 190"/>
                <a:gd name="T8" fmla="*/ 136 w 136"/>
                <a:gd name="T9" fmla="*/ 169 h 190"/>
                <a:gd name="T10" fmla="*/ 132 w 136"/>
                <a:gd name="T11" fmla="*/ 164 h 190"/>
                <a:gd name="T12" fmla="*/ 130 w 136"/>
                <a:gd name="T13" fmla="*/ 150 h 190"/>
                <a:gd name="T14" fmla="*/ 128 w 136"/>
                <a:gd name="T15" fmla="*/ 141 h 190"/>
                <a:gd name="T16" fmla="*/ 128 w 136"/>
                <a:gd name="T17" fmla="*/ 125 h 190"/>
                <a:gd name="T18" fmla="*/ 117 w 136"/>
                <a:gd name="T19" fmla="*/ 108 h 190"/>
                <a:gd name="T20" fmla="*/ 113 w 136"/>
                <a:gd name="T21" fmla="*/ 119 h 190"/>
                <a:gd name="T22" fmla="*/ 101 w 136"/>
                <a:gd name="T23" fmla="*/ 119 h 190"/>
                <a:gd name="T24" fmla="*/ 99 w 136"/>
                <a:gd name="T25" fmla="*/ 112 h 190"/>
                <a:gd name="T26" fmla="*/ 103 w 136"/>
                <a:gd name="T27" fmla="*/ 92 h 190"/>
                <a:gd name="T28" fmla="*/ 111 w 136"/>
                <a:gd name="T29" fmla="*/ 81 h 190"/>
                <a:gd name="T30" fmla="*/ 111 w 136"/>
                <a:gd name="T31" fmla="*/ 77 h 190"/>
                <a:gd name="T32" fmla="*/ 113 w 136"/>
                <a:gd name="T33" fmla="*/ 71 h 190"/>
                <a:gd name="T34" fmla="*/ 117 w 136"/>
                <a:gd name="T35" fmla="*/ 67 h 190"/>
                <a:gd name="T36" fmla="*/ 113 w 136"/>
                <a:gd name="T37" fmla="*/ 56 h 190"/>
                <a:gd name="T38" fmla="*/ 126 w 136"/>
                <a:gd name="T39" fmla="*/ 46 h 190"/>
                <a:gd name="T40" fmla="*/ 109 w 136"/>
                <a:gd name="T41" fmla="*/ 46 h 190"/>
                <a:gd name="T42" fmla="*/ 94 w 136"/>
                <a:gd name="T43" fmla="*/ 50 h 190"/>
                <a:gd name="T44" fmla="*/ 55 w 136"/>
                <a:gd name="T45" fmla="*/ 50 h 190"/>
                <a:gd name="T46" fmla="*/ 53 w 136"/>
                <a:gd name="T47" fmla="*/ 31 h 190"/>
                <a:gd name="T48" fmla="*/ 55 w 136"/>
                <a:gd name="T49" fmla="*/ 14 h 190"/>
                <a:gd name="T50" fmla="*/ 48 w 136"/>
                <a:gd name="T51" fmla="*/ 10 h 190"/>
                <a:gd name="T52" fmla="*/ 34 w 136"/>
                <a:gd name="T53" fmla="*/ 14 h 190"/>
                <a:gd name="T54" fmla="*/ 21 w 136"/>
                <a:gd name="T55" fmla="*/ 0 h 190"/>
                <a:gd name="T56" fmla="*/ 13 w 136"/>
                <a:gd name="T57" fmla="*/ 12 h 190"/>
                <a:gd name="T58" fmla="*/ 25 w 136"/>
                <a:gd name="T59" fmla="*/ 25 h 190"/>
                <a:gd name="T60" fmla="*/ 21 w 136"/>
                <a:gd name="T61" fmla="*/ 35 h 190"/>
                <a:gd name="T62" fmla="*/ 7 w 136"/>
                <a:gd name="T63" fmla="*/ 41 h 190"/>
                <a:gd name="T64" fmla="*/ 0 w 136"/>
                <a:gd name="T65" fmla="*/ 46 h 190"/>
                <a:gd name="T66" fmla="*/ 2 w 136"/>
                <a:gd name="T67" fmla="*/ 66 h 190"/>
                <a:gd name="T68" fmla="*/ 4 w 136"/>
                <a:gd name="T69" fmla="*/ 73 h 190"/>
                <a:gd name="T70" fmla="*/ 19 w 136"/>
                <a:gd name="T71" fmla="*/ 79 h 190"/>
                <a:gd name="T72" fmla="*/ 25 w 136"/>
                <a:gd name="T73" fmla="*/ 89 h 190"/>
                <a:gd name="T74" fmla="*/ 21 w 136"/>
                <a:gd name="T75" fmla="*/ 108 h 190"/>
                <a:gd name="T76" fmla="*/ 28 w 136"/>
                <a:gd name="T77" fmla="*/ 117 h 190"/>
                <a:gd name="T78" fmla="*/ 28 w 136"/>
                <a:gd name="T79" fmla="*/ 135 h 190"/>
                <a:gd name="T80" fmla="*/ 23 w 136"/>
                <a:gd name="T81" fmla="*/ 144 h 190"/>
                <a:gd name="T82" fmla="*/ 27 w 136"/>
                <a:gd name="T83" fmla="*/ 164 h 190"/>
                <a:gd name="T84" fmla="*/ 61 w 136"/>
                <a:gd name="T85" fmla="*/ 146 h 190"/>
                <a:gd name="T86" fmla="*/ 59 w 136"/>
                <a:gd name="T87" fmla="*/ 150 h 190"/>
                <a:gd name="T88" fmla="*/ 69 w 136"/>
                <a:gd name="T89" fmla="*/ 150 h 190"/>
                <a:gd name="T90" fmla="*/ 69 w 136"/>
                <a:gd name="T91" fmla="*/ 141 h 190"/>
                <a:gd name="T92" fmla="*/ 75 w 136"/>
                <a:gd name="T93" fmla="*/ 112 h 190"/>
                <a:gd name="T94" fmla="*/ 101 w 136"/>
                <a:gd name="T95" fmla="*/ 133 h 190"/>
                <a:gd name="T96" fmla="*/ 107 w 136"/>
                <a:gd name="T97" fmla="*/ 154 h 190"/>
                <a:gd name="T98" fmla="*/ 115 w 136"/>
                <a:gd name="T99" fmla="*/ 185 h 190"/>
                <a:gd name="T100" fmla="*/ 117 w 136"/>
                <a:gd name="T101" fmla="*/ 187 h 190"/>
                <a:gd name="T102" fmla="*/ 124 w 136"/>
                <a:gd name="T103" fmla="*/ 190 h 19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6"/>
                <a:gd name="T157" fmla="*/ 0 h 190"/>
                <a:gd name="T158" fmla="*/ 136 w 136"/>
                <a:gd name="T159" fmla="*/ 190 h 19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6" h="190">
                  <a:moveTo>
                    <a:pt x="124" y="190"/>
                  </a:moveTo>
                  <a:lnTo>
                    <a:pt x="123" y="185"/>
                  </a:lnTo>
                  <a:lnTo>
                    <a:pt x="126" y="177"/>
                  </a:lnTo>
                  <a:lnTo>
                    <a:pt x="136" y="183"/>
                  </a:lnTo>
                  <a:lnTo>
                    <a:pt x="136" y="169"/>
                  </a:lnTo>
                  <a:lnTo>
                    <a:pt x="132" y="164"/>
                  </a:lnTo>
                  <a:lnTo>
                    <a:pt x="130" y="150"/>
                  </a:lnTo>
                  <a:lnTo>
                    <a:pt x="128" y="141"/>
                  </a:lnTo>
                  <a:lnTo>
                    <a:pt x="128" y="125"/>
                  </a:lnTo>
                  <a:lnTo>
                    <a:pt x="117" y="108"/>
                  </a:lnTo>
                  <a:lnTo>
                    <a:pt x="113" y="119"/>
                  </a:lnTo>
                  <a:lnTo>
                    <a:pt x="101" y="119"/>
                  </a:lnTo>
                  <a:lnTo>
                    <a:pt x="99" y="112"/>
                  </a:lnTo>
                  <a:lnTo>
                    <a:pt x="103" y="92"/>
                  </a:lnTo>
                  <a:lnTo>
                    <a:pt x="111" y="81"/>
                  </a:lnTo>
                  <a:lnTo>
                    <a:pt x="111" y="77"/>
                  </a:lnTo>
                  <a:lnTo>
                    <a:pt x="113" y="71"/>
                  </a:lnTo>
                  <a:lnTo>
                    <a:pt x="117" y="67"/>
                  </a:lnTo>
                  <a:lnTo>
                    <a:pt x="113" y="56"/>
                  </a:lnTo>
                  <a:lnTo>
                    <a:pt x="126" y="46"/>
                  </a:lnTo>
                  <a:lnTo>
                    <a:pt x="109" y="46"/>
                  </a:lnTo>
                  <a:lnTo>
                    <a:pt x="94" y="50"/>
                  </a:lnTo>
                  <a:lnTo>
                    <a:pt x="55" y="50"/>
                  </a:lnTo>
                  <a:lnTo>
                    <a:pt x="53" y="31"/>
                  </a:lnTo>
                  <a:lnTo>
                    <a:pt x="55" y="14"/>
                  </a:lnTo>
                  <a:lnTo>
                    <a:pt x="48" y="10"/>
                  </a:lnTo>
                  <a:lnTo>
                    <a:pt x="34" y="14"/>
                  </a:lnTo>
                  <a:lnTo>
                    <a:pt x="21" y="0"/>
                  </a:lnTo>
                  <a:lnTo>
                    <a:pt x="13" y="12"/>
                  </a:lnTo>
                  <a:lnTo>
                    <a:pt x="25" y="25"/>
                  </a:lnTo>
                  <a:lnTo>
                    <a:pt x="21" y="35"/>
                  </a:lnTo>
                  <a:lnTo>
                    <a:pt x="7" y="41"/>
                  </a:lnTo>
                  <a:lnTo>
                    <a:pt x="0" y="46"/>
                  </a:lnTo>
                  <a:lnTo>
                    <a:pt x="2" y="66"/>
                  </a:lnTo>
                  <a:lnTo>
                    <a:pt x="4" y="73"/>
                  </a:lnTo>
                  <a:lnTo>
                    <a:pt x="19" y="79"/>
                  </a:lnTo>
                  <a:lnTo>
                    <a:pt x="25" y="89"/>
                  </a:lnTo>
                  <a:lnTo>
                    <a:pt x="21" y="108"/>
                  </a:lnTo>
                  <a:lnTo>
                    <a:pt x="28" y="117"/>
                  </a:lnTo>
                  <a:lnTo>
                    <a:pt x="28" y="135"/>
                  </a:lnTo>
                  <a:lnTo>
                    <a:pt x="23" y="144"/>
                  </a:lnTo>
                  <a:lnTo>
                    <a:pt x="27" y="164"/>
                  </a:lnTo>
                  <a:lnTo>
                    <a:pt x="61" y="146"/>
                  </a:lnTo>
                  <a:lnTo>
                    <a:pt x="59" y="150"/>
                  </a:lnTo>
                  <a:lnTo>
                    <a:pt x="69" y="150"/>
                  </a:lnTo>
                  <a:lnTo>
                    <a:pt x="69" y="141"/>
                  </a:lnTo>
                  <a:lnTo>
                    <a:pt x="75" y="112"/>
                  </a:lnTo>
                  <a:lnTo>
                    <a:pt x="101" y="133"/>
                  </a:lnTo>
                  <a:lnTo>
                    <a:pt x="107" y="154"/>
                  </a:lnTo>
                  <a:lnTo>
                    <a:pt x="115" y="185"/>
                  </a:lnTo>
                  <a:lnTo>
                    <a:pt x="117" y="187"/>
                  </a:lnTo>
                  <a:lnTo>
                    <a:pt x="124" y="19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5" name="Freeform 290"/>
            <p:cNvSpPr>
              <a:spLocks/>
            </p:cNvSpPr>
            <p:nvPr/>
          </p:nvSpPr>
          <p:spPr bwMode="gray">
            <a:xfrm>
              <a:off x="3595" y="2105"/>
              <a:ext cx="63" cy="58"/>
            </a:xfrm>
            <a:custGeom>
              <a:avLst/>
              <a:gdLst>
                <a:gd name="T0" fmla="*/ 88 w 127"/>
                <a:gd name="T1" fmla="*/ 109 h 115"/>
                <a:gd name="T2" fmla="*/ 100 w 127"/>
                <a:gd name="T3" fmla="*/ 88 h 115"/>
                <a:gd name="T4" fmla="*/ 117 w 127"/>
                <a:gd name="T5" fmla="*/ 52 h 115"/>
                <a:gd name="T6" fmla="*/ 127 w 127"/>
                <a:gd name="T7" fmla="*/ 50 h 115"/>
                <a:gd name="T8" fmla="*/ 111 w 127"/>
                <a:gd name="T9" fmla="*/ 44 h 115"/>
                <a:gd name="T10" fmla="*/ 104 w 127"/>
                <a:gd name="T11" fmla="*/ 34 h 115"/>
                <a:gd name="T12" fmla="*/ 94 w 127"/>
                <a:gd name="T13" fmla="*/ 15 h 115"/>
                <a:gd name="T14" fmla="*/ 85 w 127"/>
                <a:gd name="T15" fmla="*/ 27 h 115"/>
                <a:gd name="T16" fmla="*/ 75 w 127"/>
                <a:gd name="T17" fmla="*/ 31 h 115"/>
                <a:gd name="T18" fmla="*/ 69 w 127"/>
                <a:gd name="T19" fmla="*/ 21 h 115"/>
                <a:gd name="T20" fmla="*/ 58 w 127"/>
                <a:gd name="T21" fmla="*/ 11 h 115"/>
                <a:gd name="T22" fmla="*/ 40 w 127"/>
                <a:gd name="T23" fmla="*/ 6 h 115"/>
                <a:gd name="T24" fmla="*/ 44 w 127"/>
                <a:gd name="T25" fmla="*/ 13 h 115"/>
                <a:gd name="T26" fmla="*/ 44 w 127"/>
                <a:gd name="T27" fmla="*/ 21 h 115"/>
                <a:gd name="T28" fmla="*/ 35 w 127"/>
                <a:gd name="T29" fmla="*/ 19 h 115"/>
                <a:gd name="T30" fmla="*/ 27 w 127"/>
                <a:gd name="T31" fmla="*/ 10 h 115"/>
                <a:gd name="T32" fmla="*/ 13 w 127"/>
                <a:gd name="T33" fmla="*/ 8 h 115"/>
                <a:gd name="T34" fmla="*/ 8 w 127"/>
                <a:gd name="T35" fmla="*/ 15 h 115"/>
                <a:gd name="T36" fmla="*/ 0 w 127"/>
                <a:gd name="T37" fmla="*/ 21 h 115"/>
                <a:gd name="T38" fmla="*/ 4 w 127"/>
                <a:gd name="T39" fmla="*/ 31 h 115"/>
                <a:gd name="T40" fmla="*/ 12 w 127"/>
                <a:gd name="T41" fmla="*/ 31 h 115"/>
                <a:gd name="T42" fmla="*/ 21 w 127"/>
                <a:gd name="T43" fmla="*/ 38 h 115"/>
                <a:gd name="T44" fmla="*/ 17 w 127"/>
                <a:gd name="T45" fmla="*/ 48 h 115"/>
                <a:gd name="T46" fmla="*/ 17 w 127"/>
                <a:gd name="T47" fmla="*/ 50 h 115"/>
                <a:gd name="T48" fmla="*/ 31 w 127"/>
                <a:gd name="T49" fmla="*/ 58 h 115"/>
                <a:gd name="T50" fmla="*/ 27 w 127"/>
                <a:gd name="T51" fmla="*/ 67 h 115"/>
                <a:gd name="T52" fmla="*/ 33 w 127"/>
                <a:gd name="T53" fmla="*/ 75 h 115"/>
                <a:gd name="T54" fmla="*/ 44 w 127"/>
                <a:gd name="T55" fmla="*/ 77 h 115"/>
                <a:gd name="T56" fmla="*/ 46 w 127"/>
                <a:gd name="T57" fmla="*/ 92 h 115"/>
                <a:gd name="T58" fmla="*/ 50 w 127"/>
                <a:gd name="T59" fmla="*/ 92 h 115"/>
                <a:gd name="T60" fmla="*/ 60 w 127"/>
                <a:gd name="T61" fmla="*/ 83 h 115"/>
                <a:gd name="T62" fmla="*/ 67 w 127"/>
                <a:gd name="T63" fmla="*/ 75 h 115"/>
                <a:gd name="T64" fmla="*/ 75 w 127"/>
                <a:gd name="T65" fmla="*/ 77 h 115"/>
                <a:gd name="T66" fmla="*/ 81 w 127"/>
                <a:gd name="T67" fmla="*/ 86 h 115"/>
                <a:gd name="T68" fmla="*/ 77 w 127"/>
                <a:gd name="T69" fmla="*/ 88 h 115"/>
                <a:gd name="T70" fmla="*/ 69 w 127"/>
                <a:gd name="T71" fmla="*/ 96 h 115"/>
                <a:gd name="T72" fmla="*/ 71 w 127"/>
                <a:gd name="T73" fmla="*/ 102 h 115"/>
                <a:gd name="T74" fmla="*/ 83 w 127"/>
                <a:gd name="T75" fmla="*/ 115 h 11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27"/>
                <a:gd name="T115" fmla="*/ 0 h 115"/>
                <a:gd name="T116" fmla="*/ 127 w 127"/>
                <a:gd name="T117" fmla="*/ 115 h 11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27" h="115">
                  <a:moveTo>
                    <a:pt x="85" y="115"/>
                  </a:moveTo>
                  <a:lnTo>
                    <a:pt x="88" y="109"/>
                  </a:lnTo>
                  <a:lnTo>
                    <a:pt x="96" y="102"/>
                  </a:lnTo>
                  <a:lnTo>
                    <a:pt x="100" y="88"/>
                  </a:lnTo>
                  <a:lnTo>
                    <a:pt x="111" y="54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7" y="50"/>
                  </a:lnTo>
                  <a:lnTo>
                    <a:pt x="121" y="48"/>
                  </a:lnTo>
                  <a:lnTo>
                    <a:pt x="111" y="44"/>
                  </a:lnTo>
                  <a:lnTo>
                    <a:pt x="108" y="42"/>
                  </a:lnTo>
                  <a:lnTo>
                    <a:pt x="104" y="34"/>
                  </a:lnTo>
                  <a:lnTo>
                    <a:pt x="100" y="25"/>
                  </a:lnTo>
                  <a:lnTo>
                    <a:pt x="94" y="15"/>
                  </a:lnTo>
                  <a:lnTo>
                    <a:pt x="90" y="19"/>
                  </a:lnTo>
                  <a:lnTo>
                    <a:pt x="85" y="27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71" y="27"/>
                  </a:lnTo>
                  <a:lnTo>
                    <a:pt x="69" y="21"/>
                  </a:lnTo>
                  <a:lnTo>
                    <a:pt x="63" y="15"/>
                  </a:lnTo>
                  <a:lnTo>
                    <a:pt x="58" y="11"/>
                  </a:lnTo>
                  <a:lnTo>
                    <a:pt x="46" y="0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4" y="13"/>
                  </a:lnTo>
                  <a:lnTo>
                    <a:pt x="46" y="17"/>
                  </a:lnTo>
                  <a:lnTo>
                    <a:pt x="44" y="21"/>
                  </a:lnTo>
                  <a:lnTo>
                    <a:pt x="40" y="23"/>
                  </a:lnTo>
                  <a:lnTo>
                    <a:pt x="35" y="19"/>
                  </a:lnTo>
                  <a:lnTo>
                    <a:pt x="33" y="15"/>
                  </a:lnTo>
                  <a:lnTo>
                    <a:pt x="27" y="10"/>
                  </a:lnTo>
                  <a:lnTo>
                    <a:pt x="21" y="8"/>
                  </a:lnTo>
                  <a:lnTo>
                    <a:pt x="13" y="8"/>
                  </a:lnTo>
                  <a:lnTo>
                    <a:pt x="12" y="10"/>
                  </a:lnTo>
                  <a:lnTo>
                    <a:pt x="8" y="15"/>
                  </a:lnTo>
                  <a:lnTo>
                    <a:pt x="4" y="19"/>
                  </a:lnTo>
                  <a:lnTo>
                    <a:pt x="0" y="21"/>
                  </a:lnTo>
                  <a:lnTo>
                    <a:pt x="2" y="29"/>
                  </a:lnTo>
                  <a:lnTo>
                    <a:pt x="4" y="31"/>
                  </a:lnTo>
                  <a:lnTo>
                    <a:pt x="8" y="33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21" y="38"/>
                  </a:lnTo>
                  <a:lnTo>
                    <a:pt x="21" y="42"/>
                  </a:lnTo>
                  <a:lnTo>
                    <a:pt x="17" y="48"/>
                  </a:lnTo>
                  <a:lnTo>
                    <a:pt x="15" y="50"/>
                  </a:lnTo>
                  <a:lnTo>
                    <a:pt x="17" y="50"/>
                  </a:lnTo>
                  <a:lnTo>
                    <a:pt x="27" y="56"/>
                  </a:lnTo>
                  <a:lnTo>
                    <a:pt x="31" y="58"/>
                  </a:lnTo>
                  <a:lnTo>
                    <a:pt x="33" y="61"/>
                  </a:lnTo>
                  <a:lnTo>
                    <a:pt x="27" y="67"/>
                  </a:lnTo>
                  <a:lnTo>
                    <a:pt x="29" y="71"/>
                  </a:lnTo>
                  <a:lnTo>
                    <a:pt x="33" y="75"/>
                  </a:lnTo>
                  <a:lnTo>
                    <a:pt x="37" y="77"/>
                  </a:lnTo>
                  <a:lnTo>
                    <a:pt x="44" y="77"/>
                  </a:lnTo>
                  <a:lnTo>
                    <a:pt x="46" y="79"/>
                  </a:lnTo>
                  <a:lnTo>
                    <a:pt x="46" y="92"/>
                  </a:lnTo>
                  <a:lnTo>
                    <a:pt x="48" y="96"/>
                  </a:lnTo>
                  <a:lnTo>
                    <a:pt x="50" y="92"/>
                  </a:lnTo>
                  <a:lnTo>
                    <a:pt x="54" y="86"/>
                  </a:lnTo>
                  <a:lnTo>
                    <a:pt x="60" y="83"/>
                  </a:lnTo>
                  <a:lnTo>
                    <a:pt x="65" y="81"/>
                  </a:lnTo>
                  <a:lnTo>
                    <a:pt x="67" y="75"/>
                  </a:lnTo>
                  <a:lnTo>
                    <a:pt x="71" y="75"/>
                  </a:lnTo>
                  <a:lnTo>
                    <a:pt x="75" y="77"/>
                  </a:lnTo>
                  <a:lnTo>
                    <a:pt x="77" y="79"/>
                  </a:lnTo>
                  <a:lnTo>
                    <a:pt x="81" y="86"/>
                  </a:lnTo>
                  <a:lnTo>
                    <a:pt x="81" y="88"/>
                  </a:lnTo>
                  <a:lnTo>
                    <a:pt x="77" y="88"/>
                  </a:lnTo>
                  <a:lnTo>
                    <a:pt x="71" y="90"/>
                  </a:lnTo>
                  <a:lnTo>
                    <a:pt x="69" y="96"/>
                  </a:lnTo>
                  <a:lnTo>
                    <a:pt x="71" y="100"/>
                  </a:lnTo>
                  <a:lnTo>
                    <a:pt x="71" y="102"/>
                  </a:lnTo>
                  <a:lnTo>
                    <a:pt x="81" y="111"/>
                  </a:lnTo>
                  <a:lnTo>
                    <a:pt x="83" y="115"/>
                  </a:lnTo>
                  <a:lnTo>
                    <a:pt x="85" y="115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6" name="Freeform 291"/>
            <p:cNvSpPr>
              <a:spLocks/>
            </p:cNvSpPr>
            <p:nvPr/>
          </p:nvSpPr>
          <p:spPr bwMode="gray">
            <a:xfrm>
              <a:off x="3594" y="2145"/>
              <a:ext cx="17" cy="13"/>
            </a:xfrm>
            <a:custGeom>
              <a:avLst/>
              <a:gdLst>
                <a:gd name="T0" fmla="*/ 0 w 35"/>
                <a:gd name="T1" fmla="*/ 0 h 25"/>
                <a:gd name="T2" fmla="*/ 0 w 35"/>
                <a:gd name="T3" fmla="*/ 2 h 25"/>
                <a:gd name="T4" fmla="*/ 2 w 35"/>
                <a:gd name="T5" fmla="*/ 3 h 25"/>
                <a:gd name="T6" fmla="*/ 6 w 35"/>
                <a:gd name="T7" fmla="*/ 9 h 25"/>
                <a:gd name="T8" fmla="*/ 10 w 35"/>
                <a:gd name="T9" fmla="*/ 13 h 25"/>
                <a:gd name="T10" fmla="*/ 14 w 35"/>
                <a:gd name="T11" fmla="*/ 21 h 25"/>
                <a:gd name="T12" fmla="*/ 21 w 35"/>
                <a:gd name="T13" fmla="*/ 25 h 25"/>
                <a:gd name="T14" fmla="*/ 35 w 35"/>
                <a:gd name="T15" fmla="*/ 25 h 25"/>
                <a:gd name="T16" fmla="*/ 35 w 35"/>
                <a:gd name="T17" fmla="*/ 21 h 25"/>
                <a:gd name="T18" fmla="*/ 33 w 35"/>
                <a:gd name="T19" fmla="*/ 17 h 25"/>
                <a:gd name="T20" fmla="*/ 27 w 35"/>
                <a:gd name="T21" fmla="*/ 9 h 25"/>
                <a:gd name="T22" fmla="*/ 21 w 35"/>
                <a:gd name="T23" fmla="*/ 5 h 25"/>
                <a:gd name="T24" fmla="*/ 19 w 35"/>
                <a:gd name="T25" fmla="*/ 3 h 25"/>
                <a:gd name="T26" fmla="*/ 19 w 35"/>
                <a:gd name="T27" fmla="*/ 2 h 25"/>
                <a:gd name="T28" fmla="*/ 17 w 35"/>
                <a:gd name="T29" fmla="*/ 2 h 25"/>
                <a:gd name="T30" fmla="*/ 14 w 35"/>
                <a:gd name="T31" fmla="*/ 0 h 25"/>
                <a:gd name="T32" fmla="*/ 0 w 35"/>
                <a:gd name="T33" fmla="*/ 0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5"/>
                <a:gd name="T52" fmla="*/ 0 h 25"/>
                <a:gd name="T53" fmla="*/ 35 w 35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5" h="25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6" y="9"/>
                  </a:lnTo>
                  <a:lnTo>
                    <a:pt x="10" y="13"/>
                  </a:lnTo>
                  <a:lnTo>
                    <a:pt x="14" y="21"/>
                  </a:lnTo>
                  <a:lnTo>
                    <a:pt x="21" y="25"/>
                  </a:lnTo>
                  <a:lnTo>
                    <a:pt x="35" y="25"/>
                  </a:lnTo>
                  <a:lnTo>
                    <a:pt x="35" y="21"/>
                  </a:lnTo>
                  <a:lnTo>
                    <a:pt x="33" y="17"/>
                  </a:lnTo>
                  <a:lnTo>
                    <a:pt x="27" y="9"/>
                  </a:lnTo>
                  <a:lnTo>
                    <a:pt x="21" y="5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7" name="Freeform 292"/>
            <p:cNvSpPr>
              <a:spLocks/>
            </p:cNvSpPr>
            <p:nvPr/>
          </p:nvSpPr>
          <p:spPr bwMode="gray">
            <a:xfrm>
              <a:off x="3157" y="1974"/>
              <a:ext cx="88" cy="46"/>
            </a:xfrm>
            <a:custGeom>
              <a:avLst/>
              <a:gdLst>
                <a:gd name="T0" fmla="*/ 6 w 175"/>
                <a:gd name="T1" fmla="*/ 82 h 92"/>
                <a:gd name="T2" fmla="*/ 0 w 175"/>
                <a:gd name="T3" fmla="*/ 75 h 92"/>
                <a:gd name="T4" fmla="*/ 6 w 175"/>
                <a:gd name="T5" fmla="*/ 61 h 92"/>
                <a:gd name="T6" fmla="*/ 17 w 175"/>
                <a:gd name="T7" fmla="*/ 57 h 92"/>
                <a:gd name="T8" fmla="*/ 25 w 175"/>
                <a:gd name="T9" fmla="*/ 55 h 92"/>
                <a:gd name="T10" fmla="*/ 40 w 175"/>
                <a:gd name="T11" fmla="*/ 46 h 92"/>
                <a:gd name="T12" fmla="*/ 56 w 175"/>
                <a:gd name="T13" fmla="*/ 48 h 92"/>
                <a:gd name="T14" fmla="*/ 63 w 175"/>
                <a:gd name="T15" fmla="*/ 55 h 92"/>
                <a:gd name="T16" fmla="*/ 67 w 175"/>
                <a:gd name="T17" fmla="*/ 40 h 92"/>
                <a:gd name="T18" fmla="*/ 61 w 175"/>
                <a:gd name="T19" fmla="*/ 34 h 92"/>
                <a:gd name="T20" fmla="*/ 69 w 175"/>
                <a:gd name="T21" fmla="*/ 28 h 92"/>
                <a:gd name="T22" fmla="*/ 79 w 175"/>
                <a:gd name="T23" fmla="*/ 26 h 92"/>
                <a:gd name="T24" fmla="*/ 80 w 175"/>
                <a:gd name="T25" fmla="*/ 13 h 92"/>
                <a:gd name="T26" fmla="*/ 88 w 175"/>
                <a:gd name="T27" fmla="*/ 7 h 92"/>
                <a:gd name="T28" fmla="*/ 102 w 175"/>
                <a:gd name="T29" fmla="*/ 15 h 92"/>
                <a:gd name="T30" fmla="*/ 113 w 175"/>
                <a:gd name="T31" fmla="*/ 5 h 92"/>
                <a:gd name="T32" fmla="*/ 117 w 175"/>
                <a:gd name="T33" fmla="*/ 0 h 92"/>
                <a:gd name="T34" fmla="*/ 132 w 175"/>
                <a:gd name="T35" fmla="*/ 1 h 92"/>
                <a:gd name="T36" fmla="*/ 144 w 175"/>
                <a:gd name="T37" fmla="*/ 9 h 92"/>
                <a:gd name="T38" fmla="*/ 165 w 175"/>
                <a:gd name="T39" fmla="*/ 11 h 92"/>
                <a:gd name="T40" fmla="*/ 169 w 175"/>
                <a:gd name="T41" fmla="*/ 23 h 92"/>
                <a:gd name="T42" fmla="*/ 167 w 175"/>
                <a:gd name="T43" fmla="*/ 34 h 92"/>
                <a:gd name="T44" fmla="*/ 169 w 175"/>
                <a:gd name="T45" fmla="*/ 44 h 92"/>
                <a:gd name="T46" fmla="*/ 167 w 175"/>
                <a:gd name="T47" fmla="*/ 57 h 92"/>
                <a:gd name="T48" fmla="*/ 157 w 175"/>
                <a:gd name="T49" fmla="*/ 61 h 92"/>
                <a:gd name="T50" fmla="*/ 153 w 175"/>
                <a:gd name="T51" fmla="*/ 69 h 92"/>
                <a:gd name="T52" fmla="*/ 150 w 175"/>
                <a:gd name="T53" fmla="*/ 71 h 92"/>
                <a:gd name="T54" fmla="*/ 132 w 175"/>
                <a:gd name="T55" fmla="*/ 73 h 92"/>
                <a:gd name="T56" fmla="*/ 119 w 175"/>
                <a:gd name="T57" fmla="*/ 75 h 92"/>
                <a:gd name="T58" fmla="*/ 105 w 175"/>
                <a:gd name="T59" fmla="*/ 84 h 92"/>
                <a:gd name="T60" fmla="*/ 90 w 175"/>
                <a:gd name="T61" fmla="*/ 82 h 92"/>
                <a:gd name="T62" fmla="*/ 88 w 175"/>
                <a:gd name="T63" fmla="*/ 86 h 92"/>
                <a:gd name="T64" fmla="*/ 61 w 175"/>
                <a:gd name="T65" fmla="*/ 90 h 92"/>
                <a:gd name="T66" fmla="*/ 50 w 175"/>
                <a:gd name="T67" fmla="*/ 92 h 92"/>
                <a:gd name="T68" fmla="*/ 46 w 175"/>
                <a:gd name="T69" fmla="*/ 88 h 92"/>
                <a:gd name="T70" fmla="*/ 32 w 175"/>
                <a:gd name="T71" fmla="*/ 86 h 92"/>
                <a:gd name="T72" fmla="*/ 23 w 175"/>
                <a:gd name="T73" fmla="*/ 80 h 92"/>
                <a:gd name="T74" fmla="*/ 23 w 175"/>
                <a:gd name="T75" fmla="*/ 84 h 92"/>
                <a:gd name="T76" fmla="*/ 13 w 175"/>
                <a:gd name="T77" fmla="*/ 84 h 92"/>
                <a:gd name="T78" fmla="*/ 8 w 175"/>
                <a:gd name="T79" fmla="*/ 82 h 9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75"/>
                <a:gd name="T121" fmla="*/ 0 h 92"/>
                <a:gd name="T122" fmla="*/ 175 w 175"/>
                <a:gd name="T123" fmla="*/ 92 h 9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75" h="92">
                  <a:moveTo>
                    <a:pt x="8" y="82"/>
                  </a:moveTo>
                  <a:lnTo>
                    <a:pt x="6" y="82"/>
                  </a:lnTo>
                  <a:lnTo>
                    <a:pt x="6" y="80"/>
                  </a:lnTo>
                  <a:lnTo>
                    <a:pt x="0" y="75"/>
                  </a:lnTo>
                  <a:lnTo>
                    <a:pt x="0" y="67"/>
                  </a:lnTo>
                  <a:lnTo>
                    <a:pt x="6" y="61"/>
                  </a:lnTo>
                  <a:lnTo>
                    <a:pt x="11" y="57"/>
                  </a:lnTo>
                  <a:lnTo>
                    <a:pt x="17" y="57"/>
                  </a:lnTo>
                  <a:lnTo>
                    <a:pt x="21" y="55"/>
                  </a:lnTo>
                  <a:lnTo>
                    <a:pt x="25" y="55"/>
                  </a:lnTo>
                  <a:lnTo>
                    <a:pt x="34" y="46"/>
                  </a:lnTo>
                  <a:lnTo>
                    <a:pt x="40" y="46"/>
                  </a:lnTo>
                  <a:lnTo>
                    <a:pt x="46" y="48"/>
                  </a:lnTo>
                  <a:lnTo>
                    <a:pt x="56" y="48"/>
                  </a:lnTo>
                  <a:lnTo>
                    <a:pt x="57" y="51"/>
                  </a:lnTo>
                  <a:lnTo>
                    <a:pt x="63" y="55"/>
                  </a:lnTo>
                  <a:lnTo>
                    <a:pt x="67" y="55"/>
                  </a:lnTo>
                  <a:lnTo>
                    <a:pt x="67" y="40"/>
                  </a:lnTo>
                  <a:lnTo>
                    <a:pt x="61" y="36"/>
                  </a:lnTo>
                  <a:lnTo>
                    <a:pt x="61" y="34"/>
                  </a:lnTo>
                  <a:lnTo>
                    <a:pt x="63" y="32"/>
                  </a:lnTo>
                  <a:lnTo>
                    <a:pt x="69" y="28"/>
                  </a:lnTo>
                  <a:lnTo>
                    <a:pt x="75" y="28"/>
                  </a:lnTo>
                  <a:lnTo>
                    <a:pt x="79" y="26"/>
                  </a:lnTo>
                  <a:lnTo>
                    <a:pt x="79" y="21"/>
                  </a:lnTo>
                  <a:lnTo>
                    <a:pt x="80" y="13"/>
                  </a:lnTo>
                  <a:lnTo>
                    <a:pt x="86" y="9"/>
                  </a:lnTo>
                  <a:lnTo>
                    <a:pt x="88" y="7"/>
                  </a:lnTo>
                  <a:lnTo>
                    <a:pt x="92" y="11"/>
                  </a:lnTo>
                  <a:lnTo>
                    <a:pt x="102" y="15"/>
                  </a:lnTo>
                  <a:lnTo>
                    <a:pt x="107" y="13"/>
                  </a:lnTo>
                  <a:lnTo>
                    <a:pt x="113" y="5"/>
                  </a:lnTo>
                  <a:lnTo>
                    <a:pt x="115" y="1"/>
                  </a:lnTo>
                  <a:lnTo>
                    <a:pt x="117" y="0"/>
                  </a:lnTo>
                  <a:lnTo>
                    <a:pt x="127" y="0"/>
                  </a:lnTo>
                  <a:lnTo>
                    <a:pt x="132" y="1"/>
                  </a:lnTo>
                  <a:lnTo>
                    <a:pt x="138" y="7"/>
                  </a:lnTo>
                  <a:lnTo>
                    <a:pt x="144" y="9"/>
                  </a:lnTo>
                  <a:lnTo>
                    <a:pt x="169" y="9"/>
                  </a:lnTo>
                  <a:lnTo>
                    <a:pt x="165" y="11"/>
                  </a:lnTo>
                  <a:lnTo>
                    <a:pt x="163" y="19"/>
                  </a:lnTo>
                  <a:lnTo>
                    <a:pt x="169" y="23"/>
                  </a:lnTo>
                  <a:lnTo>
                    <a:pt x="175" y="34"/>
                  </a:lnTo>
                  <a:lnTo>
                    <a:pt x="167" y="34"/>
                  </a:lnTo>
                  <a:lnTo>
                    <a:pt x="167" y="40"/>
                  </a:lnTo>
                  <a:lnTo>
                    <a:pt x="169" y="44"/>
                  </a:lnTo>
                  <a:lnTo>
                    <a:pt x="167" y="50"/>
                  </a:lnTo>
                  <a:lnTo>
                    <a:pt x="167" y="57"/>
                  </a:lnTo>
                  <a:lnTo>
                    <a:pt x="163" y="61"/>
                  </a:lnTo>
                  <a:lnTo>
                    <a:pt x="157" y="61"/>
                  </a:lnTo>
                  <a:lnTo>
                    <a:pt x="153" y="65"/>
                  </a:lnTo>
                  <a:lnTo>
                    <a:pt x="153" y="69"/>
                  </a:lnTo>
                  <a:lnTo>
                    <a:pt x="151" y="69"/>
                  </a:lnTo>
                  <a:lnTo>
                    <a:pt x="150" y="71"/>
                  </a:lnTo>
                  <a:lnTo>
                    <a:pt x="138" y="75"/>
                  </a:lnTo>
                  <a:lnTo>
                    <a:pt x="132" y="73"/>
                  </a:lnTo>
                  <a:lnTo>
                    <a:pt x="123" y="73"/>
                  </a:lnTo>
                  <a:lnTo>
                    <a:pt x="119" y="75"/>
                  </a:lnTo>
                  <a:lnTo>
                    <a:pt x="111" y="82"/>
                  </a:lnTo>
                  <a:lnTo>
                    <a:pt x="105" y="84"/>
                  </a:lnTo>
                  <a:lnTo>
                    <a:pt x="98" y="84"/>
                  </a:lnTo>
                  <a:lnTo>
                    <a:pt x="90" y="82"/>
                  </a:lnTo>
                  <a:lnTo>
                    <a:pt x="88" y="82"/>
                  </a:lnTo>
                  <a:lnTo>
                    <a:pt x="88" y="86"/>
                  </a:lnTo>
                  <a:lnTo>
                    <a:pt x="84" y="90"/>
                  </a:lnTo>
                  <a:lnTo>
                    <a:pt x="61" y="90"/>
                  </a:lnTo>
                  <a:lnTo>
                    <a:pt x="56" y="92"/>
                  </a:lnTo>
                  <a:lnTo>
                    <a:pt x="50" y="92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0" y="86"/>
                  </a:lnTo>
                  <a:lnTo>
                    <a:pt x="32" y="86"/>
                  </a:lnTo>
                  <a:lnTo>
                    <a:pt x="29" y="84"/>
                  </a:lnTo>
                  <a:lnTo>
                    <a:pt x="23" y="80"/>
                  </a:lnTo>
                  <a:lnTo>
                    <a:pt x="21" y="80"/>
                  </a:lnTo>
                  <a:lnTo>
                    <a:pt x="23" y="84"/>
                  </a:lnTo>
                  <a:lnTo>
                    <a:pt x="19" y="86"/>
                  </a:lnTo>
                  <a:lnTo>
                    <a:pt x="13" y="84"/>
                  </a:lnTo>
                  <a:lnTo>
                    <a:pt x="9" y="82"/>
                  </a:lnTo>
                  <a:lnTo>
                    <a:pt x="8" y="8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8" name="Freeform 293"/>
            <p:cNvSpPr>
              <a:spLocks/>
            </p:cNvSpPr>
            <p:nvPr/>
          </p:nvSpPr>
          <p:spPr bwMode="gray">
            <a:xfrm>
              <a:off x="4819" y="3442"/>
              <a:ext cx="49" cy="51"/>
            </a:xfrm>
            <a:custGeom>
              <a:avLst/>
              <a:gdLst>
                <a:gd name="T0" fmla="*/ 6 w 98"/>
                <a:gd name="T1" fmla="*/ 0 h 104"/>
                <a:gd name="T2" fmla="*/ 4 w 98"/>
                <a:gd name="T3" fmla="*/ 6 h 104"/>
                <a:gd name="T4" fmla="*/ 2 w 98"/>
                <a:gd name="T5" fmla="*/ 10 h 104"/>
                <a:gd name="T6" fmla="*/ 0 w 98"/>
                <a:gd name="T7" fmla="*/ 12 h 104"/>
                <a:gd name="T8" fmla="*/ 10 w 98"/>
                <a:gd name="T9" fmla="*/ 23 h 104"/>
                <a:gd name="T10" fmla="*/ 14 w 98"/>
                <a:gd name="T11" fmla="*/ 38 h 104"/>
                <a:gd name="T12" fmla="*/ 19 w 98"/>
                <a:gd name="T13" fmla="*/ 50 h 104"/>
                <a:gd name="T14" fmla="*/ 23 w 98"/>
                <a:gd name="T15" fmla="*/ 52 h 104"/>
                <a:gd name="T16" fmla="*/ 29 w 98"/>
                <a:gd name="T17" fmla="*/ 54 h 104"/>
                <a:gd name="T18" fmla="*/ 33 w 98"/>
                <a:gd name="T19" fmla="*/ 54 h 104"/>
                <a:gd name="T20" fmla="*/ 25 w 98"/>
                <a:gd name="T21" fmla="*/ 69 h 104"/>
                <a:gd name="T22" fmla="*/ 33 w 98"/>
                <a:gd name="T23" fmla="*/ 81 h 104"/>
                <a:gd name="T24" fmla="*/ 42 w 98"/>
                <a:gd name="T25" fmla="*/ 92 h 104"/>
                <a:gd name="T26" fmla="*/ 42 w 98"/>
                <a:gd name="T27" fmla="*/ 100 h 104"/>
                <a:gd name="T28" fmla="*/ 60 w 98"/>
                <a:gd name="T29" fmla="*/ 104 h 104"/>
                <a:gd name="T30" fmla="*/ 67 w 98"/>
                <a:gd name="T31" fmla="*/ 94 h 104"/>
                <a:gd name="T32" fmla="*/ 73 w 98"/>
                <a:gd name="T33" fmla="*/ 81 h 104"/>
                <a:gd name="T34" fmla="*/ 83 w 98"/>
                <a:gd name="T35" fmla="*/ 90 h 104"/>
                <a:gd name="T36" fmla="*/ 88 w 98"/>
                <a:gd name="T37" fmla="*/ 88 h 104"/>
                <a:gd name="T38" fmla="*/ 88 w 98"/>
                <a:gd name="T39" fmla="*/ 79 h 104"/>
                <a:gd name="T40" fmla="*/ 87 w 98"/>
                <a:gd name="T41" fmla="*/ 73 h 104"/>
                <a:gd name="T42" fmla="*/ 87 w 98"/>
                <a:gd name="T43" fmla="*/ 63 h 104"/>
                <a:gd name="T44" fmla="*/ 88 w 98"/>
                <a:gd name="T45" fmla="*/ 56 h 104"/>
                <a:gd name="T46" fmla="*/ 88 w 98"/>
                <a:gd name="T47" fmla="*/ 50 h 104"/>
                <a:gd name="T48" fmla="*/ 96 w 98"/>
                <a:gd name="T49" fmla="*/ 50 h 104"/>
                <a:gd name="T50" fmla="*/ 98 w 98"/>
                <a:gd name="T51" fmla="*/ 37 h 104"/>
                <a:gd name="T52" fmla="*/ 96 w 98"/>
                <a:gd name="T53" fmla="*/ 21 h 104"/>
                <a:gd name="T54" fmla="*/ 94 w 98"/>
                <a:gd name="T55" fmla="*/ 8 h 104"/>
                <a:gd name="T56" fmla="*/ 62 w 98"/>
                <a:gd name="T57" fmla="*/ 17 h 104"/>
                <a:gd name="T58" fmla="*/ 37 w 98"/>
                <a:gd name="T59" fmla="*/ 12 h 104"/>
                <a:gd name="T60" fmla="*/ 6 w 98"/>
                <a:gd name="T61" fmla="*/ 0 h 1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8"/>
                <a:gd name="T94" fmla="*/ 0 h 104"/>
                <a:gd name="T95" fmla="*/ 98 w 98"/>
                <a:gd name="T96" fmla="*/ 104 h 1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8" h="104">
                  <a:moveTo>
                    <a:pt x="6" y="0"/>
                  </a:moveTo>
                  <a:lnTo>
                    <a:pt x="4" y="6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10" y="23"/>
                  </a:lnTo>
                  <a:lnTo>
                    <a:pt x="14" y="38"/>
                  </a:lnTo>
                  <a:lnTo>
                    <a:pt x="19" y="50"/>
                  </a:lnTo>
                  <a:lnTo>
                    <a:pt x="23" y="52"/>
                  </a:lnTo>
                  <a:lnTo>
                    <a:pt x="29" y="54"/>
                  </a:lnTo>
                  <a:lnTo>
                    <a:pt x="33" y="54"/>
                  </a:lnTo>
                  <a:lnTo>
                    <a:pt x="25" y="69"/>
                  </a:lnTo>
                  <a:lnTo>
                    <a:pt x="33" y="81"/>
                  </a:lnTo>
                  <a:lnTo>
                    <a:pt x="42" y="92"/>
                  </a:lnTo>
                  <a:lnTo>
                    <a:pt x="42" y="100"/>
                  </a:lnTo>
                  <a:lnTo>
                    <a:pt x="60" y="104"/>
                  </a:lnTo>
                  <a:lnTo>
                    <a:pt x="67" y="94"/>
                  </a:lnTo>
                  <a:lnTo>
                    <a:pt x="73" y="81"/>
                  </a:lnTo>
                  <a:lnTo>
                    <a:pt x="83" y="90"/>
                  </a:lnTo>
                  <a:lnTo>
                    <a:pt x="88" y="88"/>
                  </a:lnTo>
                  <a:lnTo>
                    <a:pt x="88" y="79"/>
                  </a:lnTo>
                  <a:lnTo>
                    <a:pt x="87" y="73"/>
                  </a:lnTo>
                  <a:lnTo>
                    <a:pt x="87" y="63"/>
                  </a:lnTo>
                  <a:lnTo>
                    <a:pt x="88" y="56"/>
                  </a:lnTo>
                  <a:lnTo>
                    <a:pt x="88" y="50"/>
                  </a:lnTo>
                  <a:lnTo>
                    <a:pt x="96" y="50"/>
                  </a:lnTo>
                  <a:lnTo>
                    <a:pt x="98" y="37"/>
                  </a:lnTo>
                  <a:lnTo>
                    <a:pt x="96" y="21"/>
                  </a:lnTo>
                  <a:lnTo>
                    <a:pt x="94" y="8"/>
                  </a:lnTo>
                  <a:lnTo>
                    <a:pt x="62" y="17"/>
                  </a:lnTo>
                  <a:lnTo>
                    <a:pt x="37" y="1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89" name="Freeform 294"/>
            <p:cNvSpPr>
              <a:spLocks/>
            </p:cNvSpPr>
            <p:nvPr/>
          </p:nvSpPr>
          <p:spPr bwMode="gray">
            <a:xfrm>
              <a:off x="4853" y="3488"/>
              <a:ext cx="2" cy="3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8 h 8"/>
                <a:gd name="T4" fmla="*/ 4 w 4"/>
                <a:gd name="T5" fmla="*/ 2 h 8"/>
                <a:gd name="T6" fmla="*/ 0 w 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8"/>
                <a:gd name="T14" fmla="*/ 4 w 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8">
                  <a:moveTo>
                    <a:pt x="0" y="0"/>
                  </a:moveTo>
                  <a:lnTo>
                    <a:pt x="4" y="8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0" name="Freeform 295"/>
            <p:cNvSpPr>
              <a:spLocks/>
            </p:cNvSpPr>
            <p:nvPr/>
          </p:nvSpPr>
          <p:spPr bwMode="gray">
            <a:xfrm>
              <a:off x="4438" y="2958"/>
              <a:ext cx="494" cy="459"/>
            </a:xfrm>
            <a:custGeom>
              <a:avLst/>
              <a:gdLst>
                <a:gd name="T0" fmla="*/ 54 w 989"/>
                <a:gd name="T1" fmla="*/ 623 h 919"/>
                <a:gd name="T2" fmla="*/ 41 w 989"/>
                <a:gd name="T3" fmla="*/ 721 h 919"/>
                <a:gd name="T4" fmla="*/ 69 w 989"/>
                <a:gd name="T5" fmla="*/ 756 h 919"/>
                <a:gd name="T6" fmla="*/ 140 w 989"/>
                <a:gd name="T7" fmla="*/ 742 h 919"/>
                <a:gd name="T8" fmla="*/ 167 w 989"/>
                <a:gd name="T9" fmla="*/ 734 h 919"/>
                <a:gd name="T10" fmla="*/ 246 w 989"/>
                <a:gd name="T11" fmla="*/ 727 h 919"/>
                <a:gd name="T12" fmla="*/ 290 w 989"/>
                <a:gd name="T13" fmla="*/ 688 h 919"/>
                <a:gd name="T14" fmla="*/ 332 w 989"/>
                <a:gd name="T15" fmla="*/ 677 h 919"/>
                <a:gd name="T16" fmla="*/ 488 w 989"/>
                <a:gd name="T17" fmla="*/ 667 h 919"/>
                <a:gd name="T18" fmla="*/ 513 w 989"/>
                <a:gd name="T19" fmla="*/ 692 h 919"/>
                <a:gd name="T20" fmla="*/ 528 w 989"/>
                <a:gd name="T21" fmla="*/ 706 h 919"/>
                <a:gd name="T22" fmla="*/ 568 w 989"/>
                <a:gd name="T23" fmla="*/ 727 h 919"/>
                <a:gd name="T24" fmla="*/ 603 w 989"/>
                <a:gd name="T25" fmla="*/ 708 h 919"/>
                <a:gd name="T26" fmla="*/ 578 w 989"/>
                <a:gd name="T27" fmla="*/ 763 h 919"/>
                <a:gd name="T28" fmla="*/ 613 w 989"/>
                <a:gd name="T29" fmla="*/ 744 h 919"/>
                <a:gd name="T30" fmla="*/ 632 w 989"/>
                <a:gd name="T31" fmla="*/ 786 h 919"/>
                <a:gd name="T32" fmla="*/ 682 w 989"/>
                <a:gd name="T33" fmla="*/ 881 h 919"/>
                <a:gd name="T34" fmla="*/ 745 w 989"/>
                <a:gd name="T35" fmla="*/ 906 h 919"/>
                <a:gd name="T36" fmla="*/ 781 w 989"/>
                <a:gd name="T37" fmla="*/ 863 h 919"/>
                <a:gd name="T38" fmla="*/ 795 w 989"/>
                <a:gd name="T39" fmla="*/ 900 h 919"/>
                <a:gd name="T40" fmla="*/ 816 w 989"/>
                <a:gd name="T41" fmla="*/ 906 h 919"/>
                <a:gd name="T42" fmla="*/ 897 w 989"/>
                <a:gd name="T43" fmla="*/ 863 h 919"/>
                <a:gd name="T44" fmla="*/ 897 w 989"/>
                <a:gd name="T45" fmla="*/ 827 h 919"/>
                <a:gd name="T46" fmla="*/ 929 w 989"/>
                <a:gd name="T47" fmla="*/ 748 h 919"/>
                <a:gd name="T48" fmla="*/ 939 w 989"/>
                <a:gd name="T49" fmla="*/ 706 h 919"/>
                <a:gd name="T50" fmla="*/ 977 w 989"/>
                <a:gd name="T51" fmla="*/ 660 h 919"/>
                <a:gd name="T52" fmla="*/ 977 w 989"/>
                <a:gd name="T53" fmla="*/ 585 h 919"/>
                <a:gd name="T54" fmla="*/ 973 w 989"/>
                <a:gd name="T55" fmla="*/ 519 h 919"/>
                <a:gd name="T56" fmla="*/ 945 w 989"/>
                <a:gd name="T57" fmla="*/ 417 h 919"/>
                <a:gd name="T58" fmla="*/ 895 w 989"/>
                <a:gd name="T59" fmla="*/ 335 h 919"/>
                <a:gd name="T60" fmla="*/ 877 w 989"/>
                <a:gd name="T61" fmla="*/ 285 h 919"/>
                <a:gd name="T62" fmla="*/ 795 w 989"/>
                <a:gd name="T63" fmla="*/ 162 h 919"/>
                <a:gd name="T64" fmla="*/ 774 w 989"/>
                <a:gd name="T65" fmla="*/ 108 h 919"/>
                <a:gd name="T66" fmla="*/ 737 w 989"/>
                <a:gd name="T67" fmla="*/ 31 h 919"/>
                <a:gd name="T68" fmla="*/ 701 w 989"/>
                <a:gd name="T69" fmla="*/ 131 h 919"/>
                <a:gd name="T70" fmla="*/ 684 w 989"/>
                <a:gd name="T71" fmla="*/ 191 h 919"/>
                <a:gd name="T72" fmla="*/ 645 w 989"/>
                <a:gd name="T73" fmla="*/ 187 h 919"/>
                <a:gd name="T74" fmla="*/ 576 w 989"/>
                <a:gd name="T75" fmla="*/ 139 h 919"/>
                <a:gd name="T76" fmla="*/ 555 w 989"/>
                <a:gd name="T77" fmla="*/ 73 h 919"/>
                <a:gd name="T78" fmla="*/ 574 w 989"/>
                <a:gd name="T79" fmla="*/ 52 h 919"/>
                <a:gd name="T80" fmla="*/ 555 w 989"/>
                <a:gd name="T81" fmla="*/ 31 h 919"/>
                <a:gd name="T82" fmla="*/ 501 w 989"/>
                <a:gd name="T83" fmla="*/ 22 h 919"/>
                <a:gd name="T84" fmla="*/ 472 w 989"/>
                <a:gd name="T85" fmla="*/ 12 h 919"/>
                <a:gd name="T86" fmla="*/ 480 w 989"/>
                <a:gd name="T87" fmla="*/ 47 h 919"/>
                <a:gd name="T88" fmla="*/ 426 w 989"/>
                <a:gd name="T89" fmla="*/ 39 h 919"/>
                <a:gd name="T90" fmla="*/ 409 w 989"/>
                <a:gd name="T91" fmla="*/ 87 h 919"/>
                <a:gd name="T92" fmla="*/ 384 w 989"/>
                <a:gd name="T93" fmla="*/ 120 h 919"/>
                <a:gd name="T94" fmla="*/ 351 w 989"/>
                <a:gd name="T95" fmla="*/ 93 h 919"/>
                <a:gd name="T96" fmla="*/ 313 w 989"/>
                <a:gd name="T97" fmla="*/ 100 h 919"/>
                <a:gd name="T98" fmla="*/ 305 w 989"/>
                <a:gd name="T99" fmla="*/ 123 h 919"/>
                <a:gd name="T100" fmla="*/ 284 w 989"/>
                <a:gd name="T101" fmla="*/ 131 h 919"/>
                <a:gd name="T102" fmla="*/ 257 w 989"/>
                <a:gd name="T103" fmla="*/ 179 h 919"/>
                <a:gd name="T104" fmla="*/ 240 w 989"/>
                <a:gd name="T105" fmla="*/ 168 h 919"/>
                <a:gd name="T106" fmla="*/ 202 w 989"/>
                <a:gd name="T107" fmla="*/ 246 h 919"/>
                <a:gd name="T108" fmla="*/ 142 w 989"/>
                <a:gd name="T109" fmla="*/ 273 h 919"/>
                <a:gd name="T110" fmla="*/ 89 w 989"/>
                <a:gd name="T111" fmla="*/ 296 h 919"/>
                <a:gd name="T112" fmla="*/ 25 w 989"/>
                <a:gd name="T113" fmla="*/ 350 h 919"/>
                <a:gd name="T114" fmla="*/ 12 w 989"/>
                <a:gd name="T115" fmla="*/ 354 h 919"/>
                <a:gd name="T116" fmla="*/ 0 w 989"/>
                <a:gd name="T117" fmla="*/ 412 h 919"/>
                <a:gd name="T118" fmla="*/ 21 w 989"/>
                <a:gd name="T119" fmla="*/ 477 h 919"/>
                <a:gd name="T120" fmla="*/ 12 w 989"/>
                <a:gd name="T121" fmla="*/ 489 h 919"/>
                <a:gd name="T122" fmla="*/ 25 w 989"/>
                <a:gd name="T123" fmla="*/ 538 h 91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89"/>
                <a:gd name="T187" fmla="*/ 0 h 919"/>
                <a:gd name="T188" fmla="*/ 989 w 989"/>
                <a:gd name="T189" fmla="*/ 919 h 91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89" h="919">
                  <a:moveTo>
                    <a:pt x="41" y="550"/>
                  </a:moveTo>
                  <a:lnTo>
                    <a:pt x="39" y="556"/>
                  </a:lnTo>
                  <a:lnTo>
                    <a:pt x="37" y="558"/>
                  </a:lnTo>
                  <a:lnTo>
                    <a:pt x="37" y="562"/>
                  </a:lnTo>
                  <a:lnTo>
                    <a:pt x="44" y="577"/>
                  </a:lnTo>
                  <a:lnTo>
                    <a:pt x="44" y="594"/>
                  </a:lnTo>
                  <a:lnTo>
                    <a:pt x="46" y="619"/>
                  </a:lnTo>
                  <a:lnTo>
                    <a:pt x="54" y="623"/>
                  </a:lnTo>
                  <a:lnTo>
                    <a:pt x="58" y="635"/>
                  </a:lnTo>
                  <a:lnTo>
                    <a:pt x="58" y="646"/>
                  </a:lnTo>
                  <a:lnTo>
                    <a:pt x="60" y="658"/>
                  </a:lnTo>
                  <a:lnTo>
                    <a:pt x="62" y="658"/>
                  </a:lnTo>
                  <a:lnTo>
                    <a:pt x="64" y="677"/>
                  </a:lnTo>
                  <a:lnTo>
                    <a:pt x="60" y="696"/>
                  </a:lnTo>
                  <a:lnTo>
                    <a:pt x="60" y="721"/>
                  </a:lnTo>
                  <a:lnTo>
                    <a:pt x="41" y="721"/>
                  </a:lnTo>
                  <a:lnTo>
                    <a:pt x="44" y="733"/>
                  </a:lnTo>
                  <a:lnTo>
                    <a:pt x="46" y="736"/>
                  </a:lnTo>
                  <a:lnTo>
                    <a:pt x="52" y="740"/>
                  </a:lnTo>
                  <a:lnTo>
                    <a:pt x="60" y="742"/>
                  </a:lnTo>
                  <a:lnTo>
                    <a:pt x="65" y="744"/>
                  </a:lnTo>
                  <a:lnTo>
                    <a:pt x="67" y="748"/>
                  </a:lnTo>
                  <a:lnTo>
                    <a:pt x="67" y="754"/>
                  </a:lnTo>
                  <a:lnTo>
                    <a:pt x="69" y="756"/>
                  </a:lnTo>
                  <a:lnTo>
                    <a:pt x="79" y="759"/>
                  </a:lnTo>
                  <a:lnTo>
                    <a:pt x="87" y="758"/>
                  </a:lnTo>
                  <a:lnTo>
                    <a:pt x="92" y="756"/>
                  </a:lnTo>
                  <a:lnTo>
                    <a:pt x="106" y="763"/>
                  </a:lnTo>
                  <a:lnTo>
                    <a:pt x="119" y="761"/>
                  </a:lnTo>
                  <a:lnTo>
                    <a:pt x="129" y="75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4" y="748"/>
                  </a:lnTo>
                  <a:lnTo>
                    <a:pt x="152" y="748"/>
                  </a:lnTo>
                  <a:lnTo>
                    <a:pt x="154" y="744"/>
                  </a:lnTo>
                  <a:lnTo>
                    <a:pt x="152" y="734"/>
                  </a:lnTo>
                  <a:lnTo>
                    <a:pt x="152" y="729"/>
                  </a:lnTo>
                  <a:lnTo>
                    <a:pt x="154" y="731"/>
                  </a:lnTo>
                  <a:lnTo>
                    <a:pt x="160" y="733"/>
                  </a:lnTo>
                  <a:lnTo>
                    <a:pt x="167" y="734"/>
                  </a:lnTo>
                  <a:lnTo>
                    <a:pt x="179" y="731"/>
                  </a:lnTo>
                  <a:lnTo>
                    <a:pt x="198" y="725"/>
                  </a:lnTo>
                  <a:lnTo>
                    <a:pt x="211" y="721"/>
                  </a:lnTo>
                  <a:lnTo>
                    <a:pt x="219" y="729"/>
                  </a:lnTo>
                  <a:lnTo>
                    <a:pt x="223" y="729"/>
                  </a:lnTo>
                  <a:lnTo>
                    <a:pt x="234" y="721"/>
                  </a:lnTo>
                  <a:lnTo>
                    <a:pt x="240" y="723"/>
                  </a:lnTo>
                  <a:lnTo>
                    <a:pt x="246" y="727"/>
                  </a:lnTo>
                  <a:lnTo>
                    <a:pt x="254" y="727"/>
                  </a:lnTo>
                  <a:lnTo>
                    <a:pt x="259" y="719"/>
                  </a:lnTo>
                  <a:lnTo>
                    <a:pt x="263" y="708"/>
                  </a:lnTo>
                  <a:lnTo>
                    <a:pt x="267" y="700"/>
                  </a:lnTo>
                  <a:lnTo>
                    <a:pt x="275" y="696"/>
                  </a:lnTo>
                  <a:lnTo>
                    <a:pt x="286" y="700"/>
                  </a:lnTo>
                  <a:lnTo>
                    <a:pt x="286" y="692"/>
                  </a:lnTo>
                  <a:lnTo>
                    <a:pt x="290" y="688"/>
                  </a:lnTo>
                  <a:lnTo>
                    <a:pt x="303" y="688"/>
                  </a:lnTo>
                  <a:lnTo>
                    <a:pt x="303" y="685"/>
                  </a:lnTo>
                  <a:lnTo>
                    <a:pt x="305" y="679"/>
                  </a:lnTo>
                  <a:lnTo>
                    <a:pt x="305" y="677"/>
                  </a:lnTo>
                  <a:lnTo>
                    <a:pt x="309" y="677"/>
                  </a:lnTo>
                  <a:lnTo>
                    <a:pt x="309" y="673"/>
                  </a:lnTo>
                  <a:lnTo>
                    <a:pt x="317" y="673"/>
                  </a:lnTo>
                  <a:lnTo>
                    <a:pt x="332" y="677"/>
                  </a:lnTo>
                  <a:lnTo>
                    <a:pt x="369" y="667"/>
                  </a:lnTo>
                  <a:lnTo>
                    <a:pt x="411" y="654"/>
                  </a:lnTo>
                  <a:lnTo>
                    <a:pt x="449" y="650"/>
                  </a:lnTo>
                  <a:lnTo>
                    <a:pt x="455" y="654"/>
                  </a:lnTo>
                  <a:lnTo>
                    <a:pt x="459" y="663"/>
                  </a:lnTo>
                  <a:lnTo>
                    <a:pt x="465" y="669"/>
                  </a:lnTo>
                  <a:lnTo>
                    <a:pt x="474" y="669"/>
                  </a:lnTo>
                  <a:lnTo>
                    <a:pt x="488" y="667"/>
                  </a:lnTo>
                  <a:lnTo>
                    <a:pt x="501" y="669"/>
                  </a:lnTo>
                  <a:lnTo>
                    <a:pt x="501" y="673"/>
                  </a:lnTo>
                  <a:lnTo>
                    <a:pt x="505" y="675"/>
                  </a:lnTo>
                  <a:lnTo>
                    <a:pt x="505" y="681"/>
                  </a:lnTo>
                  <a:lnTo>
                    <a:pt x="501" y="685"/>
                  </a:lnTo>
                  <a:lnTo>
                    <a:pt x="511" y="685"/>
                  </a:lnTo>
                  <a:lnTo>
                    <a:pt x="517" y="686"/>
                  </a:lnTo>
                  <a:lnTo>
                    <a:pt x="513" y="692"/>
                  </a:lnTo>
                  <a:lnTo>
                    <a:pt x="513" y="694"/>
                  </a:lnTo>
                  <a:lnTo>
                    <a:pt x="515" y="696"/>
                  </a:lnTo>
                  <a:lnTo>
                    <a:pt x="509" y="694"/>
                  </a:lnTo>
                  <a:lnTo>
                    <a:pt x="511" y="698"/>
                  </a:lnTo>
                  <a:lnTo>
                    <a:pt x="513" y="700"/>
                  </a:lnTo>
                  <a:lnTo>
                    <a:pt x="513" y="702"/>
                  </a:lnTo>
                  <a:lnTo>
                    <a:pt x="522" y="704"/>
                  </a:lnTo>
                  <a:lnTo>
                    <a:pt x="528" y="706"/>
                  </a:lnTo>
                  <a:lnTo>
                    <a:pt x="532" y="708"/>
                  </a:lnTo>
                  <a:lnTo>
                    <a:pt x="536" y="731"/>
                  </a:lnTo>
                  <a:lnTo>
                    <a:pt x="541" y="744"/>
                  </a:lnTo>
                  <a:lnTo>
                    <a:pt x="543" y="746"/>
                  </a:lnTo>
                  <a:lnTo>
                    <a:pt x="547" y="748"/>
                  </a:lnTo>
                  <a:lnTo>
                    <a:pt x="551" y="748"/>
                  </a:lnTo>
                  <a:lnTo>
                    <a:pt x="559" y="740"/>
                  </a:lnTo>
                  <a:lnTo>
                    <a:pt x="568" y="727"/>
                  </a:lnTo>
                  <a:lnTo>
                    <a:pt x="576" y="717"/>
                  </a:lnTo>
                  <a:lnTo>
                    <a:pt x="578" y="717"/>
                  </a:lnTo>
                  <a:lnTo>
                    <a:pt x="584" y="719"/>
                  </a:lnTo>
                  <a:lnTo>
                    <a:pt x="586" y="717"/>
                  </a:lnTo>
                  <a:lnTo>
                    <a:pt x="589" y="711"/>
                  </a:lnTo>
                  <a:lnTo>
                    <a:pt x="595" y="704"/>
                  </a:lnTo>
                  <a:lnTo>
                    <a:pt x="597" y="700"/>
                  </a:lnTo>
                  <a:lnTo>
                    <a:pt x="603" y="708"/>
                  </a:lnTo>
                  <a:lnTo>
                    <a:pt x="597" y="729"/>
                  </a:lnTo>
                  <a:lnTo>
                    <a:pt x="589" y="742"/>
                  </a:lnTo>
                  <a:lnTo>
                    <a:pt x="591" y="748"/>
                  </a:lnTo>
                  <a:lnTo>
                    <a:pt x="593" y="756"/>
                  </a:lnTo>
                  <a:lnTo>
                    <a:pt x="595" y="761"/>
                  </a:lnTo>
                  <a:lnTo>
                    <a:pt x="589" y="761"/>
                  </a:lnTo>
                  <a:lnTo>
                    <a:pt x="584" y="763"/>
                  </a:lnTo>
                  <a:lnTo>
                    <a:pt x="578" y="763"/>
                  </a:lnTo>
                  <a:lnTo>
                    <a:pt x="578" y="773"/>
                  </a:lnTo>
                  <a:lnTo>
                    <a:pt x="584" y="771"/>
                  </a:lnTo>
                  <a:lnTo>
                    <a:pt x="586" y="769"/>
                  </a:lnTo>
                  <a:lnTo>
                    <a:pt x="597" y="761"/>
                  </a:lnTo>
                  <a:lnTo>
                    <a:pt x="601" y="756"/>
                  </a:lnTo>
                  <a:lnTo>
                    <a:pt x="603" y="742"/>
                  </a:lnTo>
                  <a:lnTo>
                    <a:pt x="613" y="742"/>
                  </a:lnTo>
                  <a:lnTo>
                    <a:pt x="613" y="744"/>
                  </a:lnTo>
                  <a:lnTo>
                    <a:pt x="609" y="748"/>
                  </a:lnTo>
                  <a:lnTo>
                    <a:pt x="611" y="748"/>
                  </a:lnTo>
                  <a:lnTo>
                    <a:pt x="616" y="756"/>
                  </a:lnTo>
                  <a:lnTo>
                    <a:pt x="620" y="769"/>
                  </a:lnTo>
                  <a:lnTo>
                    <a:pt x="622" y="781"/>
                  </a:lnTo>
                  <a:lnTo>
                    <a:pt x="616" y="790"/>
                  </a:lnTo>
                  <a:lnTo>
                    <a:pt x="626" y="790"/>
                  </a:lnTo>
                  <a:lnTo>
                    <a:pt x="632" y="786"/>
                  </a:lnTo>
                  <a:lnTo>
                    <a:pt x="641" y="783"/>
                  </a:lnTo>
                  <a:lnTo>
                    <a:pt x="647" y="808"/>
                  </a:lnTo>
                  <a:lnTo>
                    <a:pt x="651" y="831"/>
                  </a:lnTo>
                  <a:lnTo>
                    <a:pt x="651" y="852"/>
                  </a:lnTo>
                  <a:lnTo>
                    <a:pt x="657" y="856"/>
                  </a:lnTo>
                  <a:lnTo>
                    <a:pt x="668" y="859"/>
                  </a:lnTo>
                  <a:lnTo>
                    <a:pt x="672" y="871"/>
                  </a:lnTo>
                  <a:lnTo>
                    <a:pt x="682" y="881"/>
                  </a:lnTo>
                  <a:lnTo>
                    <a:pt x="691" y="884"/>
                  </a:lnTo>
                  <a:lnTo>
                    <a:pt x="699" y="886"/>
                  </a:lnTo>
                  <a:lnTo>
                    <a:pt x="699" y="884"/>
                  </a:lnTo>
                  <a:lnTo>
                    <a:pt x="703" y="881"/>
                  </a:lnTo>
                  <a:lnTo>
                    <a:pt x="707" y="879"/>
                  </a:lnTo>
                  <a:lnTo>
                    <a:pt x="712" y="884"/>
                  </a:lnTo>
                  <a:lnTo>
                    <a:pt x="720" y="900"/>
                  </a:lnTo>
                  <a:lnTo>
                    <a:pt x="745" y="906"/>
                  </a:lnTo>
                  <a:lnTo>
                    <a:pt x="755" y="894"/>
                  </a:lnTo>
                  <a:lnTo>
                    <a:pt x="762" y="882"/>
                  </a:lnTo>
                  <a:lnTo>
                    <a:pt x="770" y="882"/>
                  </a:lnTo>
                  <a:lnTo>
                    <a:pt x="768" y="881"/>
                  </a:lnTo>
                  <a:lnTo>
                    <a:pt x="768" y="875"/>
                  </a:lnTo>
                  <a:lnTo>
                    <a:pt x="772" y="871"/>
                  </a:lnTo>
                  <a:lnTo>
                    <a:pt x="778" y="867"/>
                  </a:lnTo>
                  <a:lnTo>
                    <a:pt x="781" y="863"/>
                  </a:lnTo>
                  <a:lnTo>
                    <a:pt x="781" y="869"/>
                  </a:lnTo>
                  <a:lnTo>
                    <a:pt x="783" y="873"/>
                  </a:lnTo>
                  <a:lnTo>
                    <a:pt x="785" y="875"/>
                  </a:lnTo>
                  <a:lnTo>
                    <a:pt x="774" y="886"/>
                  </a:lnTo>
                  <a:lnTo>
                    <a:pt x="787" y="882"/>
                  </a:lnTo>
                  <a:lnTo>
                    <a:pt x="797" y="882"/>
                  </a:lnTo>
                  <a:lnTo>
                    <a:pt x="785" y="894"/>
                  </a:lnTo>
                  <a:lnTo>
                    <a:pt x="795" y="900"/>
                  </a:lnTo>
                  <a:lnTo>
                    <a:pt x="801" y="902"/>
                  </a:lnTo>
                  <a:lnTo>
                    <a:pt x="808" y="906"/>
                  </a:lnTo>
                  <a:lnTo>
                    <a:pt x="810" y="909"/>
                  </a:lnTo>
                  <a:lnTo>
                    <a:pt x="812" y="915"/>
                  </a:lnTo>
                  <a:lnTo>
                    <a:pt x="814" y="919"/>
                  </a:lnTo>
                  <a:lnTo>
                    <a:pt x="814" y="913"/>
                  </a:lnTo>
                  <a:lnTo>
                    <a:pt x="816" y="909"/>
                  </a:lnTo>
                  <a:lnTo>
                    <a:pt x="816" y="906"/>
                  </a:lnTo>
                  <a:lnTo>
                    <a:pt x="829" y="906"/>
                  </a:lnTo>
                  <a:lnTo>
                    <a:pt x="839" y="896"/>
                  </a:lnTo>
                  <a:lnTo>
                    <a:pt x="849" y="867"/>
                  </a:lnTo>
                  <a:lnTo>
                    <a:pt x="866" y="867"/>
                  </a:lnTo>
                  <a:lnTo>
                    <a:pt x="881" y="869"/>
                  </a:lnTo>
                  <a:lnTo>
                    <a:pt x="895" y="867"/>
                  </a:lnTo>
                  <a:lnTo>
                    <a:pt x="895" y="865"/>
                  </a:lnTo>
                  <a:lnTo>
                    <a:pt x="897" y="863"/>
                  </a:lnTo>
                  <a:lnTo>
                    <a:pt x="902" y="859"/>
                  </a:lnTo>
                  <a:lnTo>
                    <a:pt x="902" y="854"/>
                  </a:lnTo>
                  <a:lnTo>
                    <a:pt x="904" y="848"/>
                  </a:lnTo>
                  <a:lnTo>
                    <a:pt x="904" y="844"/>
                  </a:lnTo>
                  <a:lnTo>
                    <a:pt x="902" y="840"/>
                  </a:lnTo>
                  <a:lnTo>
                    <a:pt x="897" y="838"/>
                  </a:lnTo>
                  <a:lnTo>
                    <a:pt x="895" y="829"/>
                  </a:lnTo>
                  <a:lnTo>
                    <a:pt x="897" y="827"/>
                  </a:lnTo>
                  <a:lnTo>
                    <a:pt x="902" y="823"/>
                  </a:lnTo>
                  <a:lnTo>
                    <a:pt x="904" y="821"/>
                  </a:lnTo>
                  <a:lnTo>
                    <a:pt x="908" y="811"/>
                  </a:lnTo>
                  <a:lnTo>
                    <a:pt x="908" y="800"/>
                  </a:lnTo>
                  <a:lnTo>
                    <a:pt x="910" y="788"/>
                  </a:lnTo>
                  <a:lnTo>
                    <a:pt x="914" y="775"/>
                  </a:lnTo>
                  <a:lnTo>
                    <a:pt x="923" y="761"/>
                  </a:lnTo>
                  <a:lnTo>
                    <a:pt x="929" y="748"/>
                  </a:lnTo>
                  <a:lnTo>
                    <a:pt x="929" y="736"/>
                  </a:lnTo>
                  <a:lnTo>
                    <a:pt x="927" y="723"/>
                  </a:lnTo>
                  <a:lnTo>
                    <a:pt x="929" y="715"/>
                  </a:lnTo>
                  <a:lnTo>
                    <a:pt x="931" y="713"/>
                  </a:lnTo>
                  <a:lnTo>
                    <a:pt x="937" y="715"/>
                  </a:lnTo>
                  <a:lnTo>
                    <a:pt x="939" y="715"/>
                  </a:lnTo>
                  <a:lnTo>
                    <a:pt x="941" y="711"/>
                  </a:lnTo>
                  <a:lnTo>
                    <a:pt x="939" y="706"/>
                  </a:lnTo>
                  <a:lnTo>
                    <a:pt x="939" y="702"/>
                  </a:lnTo>
                  <a:lnTo>
                    <a:pt x="946" y="696"/>
                  </a:lnTo>
                  <a:lnTo>
                    <a:pt x="958" y="692"/>
                  </a:lnTo>
                  <a:lnTo>
                    <a:pt x="966" y="688"/>
                  </a:lnTo>
                  <a:lnTo>
                    <a:pt x="966" y="669"/>
                  </a:lnTo>
                  <a:lnTo>
                    <a:pt x="973" y="669"/>
                  </a:lnTo>
                  <a:lnTo>
                    <a:pt x="975" y="663"/>
                  </a:lnTo>
                  <a:lnTo>
                    <a:pt x="977" y="660"/>
                  </a:lnTo>
                  <a:lnTo>
                    <a:pt x="977" y="658"/>
                  </a:lnTo>
                  <a:lnTo>
                    <a:pt x="979" y="646"/>
                  </a:lnTo>
                  <a:lnTo>
                    <a:pt x="979" y="636"/>
                  </a:lnTo>
                  <a:lnTo>
                    <a:pt x="977" y="635"/>
                  </a:lnTo>
                  <a:lnTo>
                    <a:pt x="977" y="625"/>
                  </a:lnTo>
                  <a:lnTo>
                    <a:pt x="979" y="613"/>
                  </a:lnTo>
                  <a:lnTo>
                    <a:pt x="977" y="598"/>
                  </a:lnTo>
                  <a:lnTo>
                    <a:pt x="977" y="585"/>
                  </a:lnTo>
                  <a:lnTo>
                    <a:pt x="985" y="585"/>
                  </a:lnTo>
                  <a:lnTo>
                    <a:pt x="987" y="577"/>
                  </a:lnTo>
                  <a:lnTo>
                    <a:pt x="989" y="571"/>
                  </a:lnTo>
                  <a:lnTo>
                    <a:pt x="989" y="560"/>
                  </a:lnTo>
                  <a:lnTo>
                    <a:pt x="987" y="550"/>
                  </a:lnTo>
                  <a:lnTo>
                    <a:pt x="985" y="546"/>
                  </a:lnTo>
                  <a:lnTo>
                    <a:pt x="977" y="527"/>
                  </a:lnTo>
                  <a:lnTo>
                    <a:pt x="973" y="519"/>
                  </a:lnTo>
                  <a:lnTo>
                    <a:pt x="975" y="500"/>
                  </a:lnTo>
                  <a:lnTo>
                    <a:pt x="977" y="475"/>
                  </a:lnTo>
                  <a:lnTo>
                    <a:pt x="973" y="454"/>
                  </a:lnTo>
                  <a:lnTo>
                    <a:pt x="950" y="439"/>
                  </a:lnTo>
                  <a:lnTo>
                    <a:pt x="950" y="435"/>
                  </a:lnTo>
                  <a:lnTo>
                    <a:pt x="952" y="427"/>
                  </a:lnTo>
                  <a:lnTo>
                    <a:pt x="950" y="423"/>
                  </a:lnTo>
                  <a:lnTo>
                    <a:pt x="945" y="417"/>
                  </a:lnTo>
                  <a:lnTo>
                    <a:pt x="935" y="412"/>
                  </a:lnTo>
                  <a:lnTo>
                    <a:pt x="929" y="408"/>
                  </a:lnTo>
                  <a:lnTo>
                    <a:pt x="925" y="396"/>
                  </a:lnTo>
                  <a:lnTo>
                    <a:pt x="925" y="383"/>
                  </a:lnTo>
                  <a:lnTo>
                    <a:pt x="923" y="369"/>
                  </a:lnTo>
                  <a:lnTo>
                    <a:pt x="904" y="358"/>
                  </a:lnTo>
                  <a:lnTo>
                    <a:pt x="895" y="354"/>
                  </a:lnTo>
                  <a:lnTo>
                    <a:pt x="895" y="335"/>
                  </a:lnTo>
                  <a:lnTo>
                    <a:pt x="893" y="319"/>
                  </a:lnTo>
                  <a:lnTo>
                    <a:pt x="883" y="308"/>
                  </a:lnTo>
                  <a:lnTo>
                    <a:pt x="875" y="308"/>
                  </a:lnTo>
                  <a:lnTo>
                    <a:pt x="877" y="302"/>
                  </a:lnTo>
                  <a:lnTo>
                    <a:pt x="883" y="296"/>
                  </a:lnTo>
                  <a:lnTo>
                    <a:pt x="881" y="292"/>
                  </a:lnTo>
                  <a:lnTo>
                    <a:pt x="879" y="291"/>
                  </a:lnTo>
                  <a:lnTo>
                    <a:pt x="877" y="285"/>
                  </a:lnTo>
                  <a:lnTo>
                    <a:pt x="858" y="273"/>
                  </a:lnTo>
                  <a:lnTo>
                    <a:pt x="833" y="262"/>
                  </a:lnTo>
                  <a:lnTo>
                    <a:pt x="816" y="250"/>
                  </a:lnTo>
                  <a:lnTo>
                    <a:pt x="814" y="233"/>
                  </a:lnTo>
                  <a:lnTo>
                    <a:pt x="814" y="196"/>
                  </a:lnTo>
                  <a:lnTo>
                    <a:pt x="808" y="183"/>
                  </a:lnTo>
                  <a:lnTo>
                    <a:pt x="799" y="171"/>
                  </a:lnTo>
                  <a:lnTo>
                    <a:pt x="795" y="162"/>
                  </a:lnTo>
                  <a:lnTo>
                    <a:pt x="793" y="146"/>
                  </a:lnTo>
                  <a:lnTo>
                    <a:pt x="795" y="131"/>
                  </a:lnTo>
                  <a:lnTo>
                    <a:pt x="795" y="116"/>
                  </a:lnTo>
                  <a:lnTo>
                    <a:pt x="781" y="116"/>
                  </a:lnTo>
                  <a:lnTo>
                    <a:pt x="781" y="114"/>
                  </a:lnTo>
                  <a:lnTo>
                    <a:pt x="779" y="110"/>
                  </a:lnTo>
                  <a:lnTo>
                    <a:pt x="778" y="108"/>
                  </a:lnTo>
                  <a:lnTo>
                    <a:pt x="774" y="108"/>
                  </a:lnTo>
                  <a:lnTo>
                    <a:pt x="774" y="96"/>
                  </a:lnTo>
                  <a:lnTo>
                    <a:pt x="762" y="100"/>
                  </a:lnTo>
                  <a:lnTo>
                    <a:pt x="762" y="108"/>
                  </a:lnTo>
                  <a:lnTo>
                    <a:pt x="756" y="108"/>
                  </a:lnTo>
                  <a:lnTo>
                    <a:pt x="755" y="104"/>
                  </a:lnTo>
                  <a:lnTo>
                    <a:pt x="751" y="104"/>
                  </a:lnTo>
                  <a:lnTo>
                    <a:pt x="747" y="62"/>
                  </a:lnTo>
                  <a:lnTo>
                    <a:pt x="737" y="31"/>
                  </a:lnTo>
                  <a:lnTo>
                    <a:pt x="720" y="0"/>
                  </a:lnTo>
                  <a:lnTo>
                    <a:pt x="710" y="0"/>
                  </a:lnTo>
                  <a:lnTo>
                    <a:pt x="707" y="29"/>
                  </a:lnTo>
                  <a:lnTo>
                    <a:pt x="705" y="50"/>
                  </a:lnTo>
                  <a:lnTo>
                    <a:pt x="707" y="73"/>
                  </a:lnTo>
                  <a:lnTo>
                    <a:pt x="699" y="77"/>
                  </a:lnTo>
                  <a:lnTo>
                    <a:pt x="699" y="106"/>
                  </a:lnTo>
                  <a:lnTo>
                    <a:pt x="701" y="131"/>
                  </a:lnTo>
                  <a:lnTo>
                    <a:pt x="699" y="158"/>
                  </a:lnTo>
                  <a:lnTo>
                    <a:pt x="697" y="160"/>
                  </a:lnTo>
                  <a:lnTo>
                    <a:pt x="693" y="160"/>
                  </a:lnTo>
                  <a:lnTo>
                    <a:pt x="691" y="162"/>
                  </a:lnTo>
                  <a:lnTo>
                    <a:pt x="689" y="168"/>
                  </a:lnTo>
                  <a:lnTo>
                    <a:pt x="691" y="177"/>
                  </a:lnTo>
                  <a:lnTo>
                    <a:pt x="691" y="183"/>
                  </a:lnTo>
                  <a:lnTo>
                    <a:pt x="684" y="191"/>
                  </a:lnTo>
                  <a:lnTo>
                    <a:pt x="684" y="208"/>
                  </a:lnTo>
                  <a:lnTo>
                    <a:pt x="680" y="210"/>
                  </a:lnTo>
                  <a:lnTo>
                    <a:pt x="678" y="208"/>
                  </a:lnTo>
                  <a:lnTo>
                    <a:pt x="676" y="212"/>
                  </a:lnTo>
                  <a:lnTo>
                    <a:pt x="657" y="212"/>
                  </a:lnTo>
                  <a:lnTo>
                    <a:pt x="651" y="206"/>
                  </a:lnTo>
                  <a:lnTo>
                    <a:pt x="647" y="196"/>
                  </a:lnTo>
                  <a:lnTo>
                    <a:pt x="645" y="187"/>
                  </a:lnTo>
                  <a:lnTo>
                    <a:pt x="632" y="187"/>
                  </a:lnTo>
                  <a:lnTo>
                    <a:pt x="624" y="179"/>
                  </a:lnTo>
                  <a:lnTo>
                    <a:pt x="614" y="164"/>
                  </a:lnTo>
                  <a:lnTo>
                    <a:pt x="605" y="154"/>
                  </a:lnTo>
                  <a:lnTo>
                    <a:pt x="595" y="150"/>
                  </a:lnTo>
                  <a:lnTo>
                    <a:pt x="586" y="150"/>
                  </a:lnTo>
                  <a:lnTo>
                    <a:pt x="576" y="146"/>
                  </a:lnTo>
                  <a:lnTo>
                    <a:pt x="576" y="139"/>
                  </a:lnTo>
                  <a:lnTo>
                    <a:pt x="566" y="135"/>
                  </a:lnTo>
                  <a:lnTo>
                    <a:pt x="551" y="127"/>
                  </a:lnTo>
                  <a:lnTo>
                    <a:pt x="553" y="118"/>
                  </a:lnTo>
                  <a:lnTo>
                    <a:pt x="551" y="100"/>
                  </a:lnTo>
                  <a:lnTo>
                    <a:pt x="559" y="96"/>
                  </a:lnTo>
                  <a:lnTo>
                    <a:pt x="561" y="87"/>
                  </a:lnTo>
                  <a:lnTo>
                    <a:pt x="561" y="77"/>
                  </a:lnTo>
                  <a:lnTo>
                    <a:pt x="555" y="73"/>
                  </a:lnTo>
                  <a:lnTo>
                    <a:pt x="576" y="73"/>
                  </a:lnTo>
                  <a:lnTo>
                    <a:pt x="574" y="70"/>
                  </a:lnTo>
                  <a:lnTo>
                    <a:pt x="574" y="66"/>
                  </a:lnTo>
                  <a:lnTo>
                    <a:pt x="576" y="62"/>
                  </a:lnTo>
                  <a:lnTo>
                    <a:pt x="574" y="62"/>
                  </a:lnTo>
                  <a:lnTo>
                    <a:pt x="570" y="60"/>
                  </a:lnTo>
                  <a:lnTo>
                    <a:pt x="570" y="54"/>
                  </a:lnTo>
                  <a:lnTo>
                    <a:pt x="574" y="52"/>
                  </a:lnTo>
                  <a:lnTo>
                    <a:pt x="580" y="50"/>
                  </a:lnTo>
                  <a:lnTo>
                    <a:pt x="584" y="47"/>
                  </a:lnTo>
                  <a:lnTo>
                    <a:pt x="582" y="41"/>
                  </a:lnTo>
                  <a:lnTo>
                    <a:pt x="578" y="31"/>
                  </a:lnTo>
                  <a:lnTo>
                    <a:pt x="580" y="31"/>
                  </a:lnTo>
                  <a:lnTo>
                    <a:pt x="568" y="35"/>
                  </a:lnTo>
                  <a:lnTo>
                    <a:pt x="559" y="39"/>
                  </a:lnTo>
                  <a:lnTo>
                    <a:pt x="555" y="31"/>
                  </a:lnTo>
                  <a:lnTo>
                    <a:pt x="543" y="33"/>
                  </a:lnTo>
                  <a:lnTo>
                    <a:pt x="530" y="31"/>
                  </a:lnTo>
                  <a:lnTo>
                    <a:pt x="513" y="27"/>
                  </a:lnTo>
                  <a:lnTo>
                    <a:pt x="515" y="27"/>
                  </a:lnTo>
                  <a:lnTo>
                    <a:pt x="507" y="27"/>
                  </a:lnTo>
                  <a:lnTo>
                    <a:pt x="509" y="27"/>
                  </a:lnTo>
                  <a:lnTo>
                    <a:pt x="503" y="23"/>
                  </a:lnTo>
                  <a:lnTo>
                    <a:pt x="501" y="22"/>
                  </a:lnTo>
                  <a:lnTo>
                    <a:pt x="497" y="16"/>
                  </a:lnTo>
                  <a:lnTo>
                    <a:pt x="495" y="18"/>
                  </a:lnTo>
                  <a:lnTo>
                    <a:pt x="490" y="22"/>
                  </a:lnTo>
                  <a:lnTo>
                    <a:pt x="490" y="23"/>
                  </a:lnTo>
                  <a:lnTo>
                    <a:pt x="488" y="23"/>
                  </a:lnTo>
                  <a:lnTo>
                    <a:pt x="482" y="22"/>
                  </a:lnTo>
                  <a:lnTo>
                    <a:pt x="484" y="20"/>
                  </a:lnTo>
                  <a:lnTo>
                    <a:pt x="472" y="12"/>
                  </a:lnTo>
                  <a:lnTo>
                    <a:pt x="469" y="8"/>
                  </a:lnTo>
                  <a:lnTo>
                    <a:pt x="459" y="10"/>
                  </a:lnTo>
                  <a:lnTo>
                    <a:pt x="474" y="23"/>
                  </a:lnTo>
                  <a:lnTo>
                    <a:pt x="488" y="31"/>
                  </a:lnTo>
                  <a:lnTo>
                    <a:pt x="486" y="35"/>
                  </a:lnTo>
                  <a:lnTo>
                    <a:pt x="486" y="41"/>
                  </a:lnTo>
                  <a:lnTo>
                    <a:pt x="480" y="39"/>
                  </a:lnTo>
                  <a:lnTo>
                    <a:pt x="480" y="47"/>
                  </a:lnTo>
                  <a:lnTo>
                    <a:pt x="469" y="45"/>
                  </a:lnTo>
                  <a:lnTo>
                    <a:pt x="453" y="39"/>
                  </a:lnTo>
                  <a:lnTo>
                    <a:pt x="440" y="35"/>
                  </a:lnTo>
                  <a:lnTo>
                    <a:pt x="440" y="39"/>
                  </a:lnTo>
                  <a:lnTo>
                    <a:pt x="438" y="45"/>
                  </a:lnTo>
                  <a:lnTo>
                    <a:pt x="438" y="47"/>
                  </a:lnTo>
                  <a:lnTo>
                    <a:pt x="432" y="45"/>
                  </a:lnTo>
                  <a:lnTo>
                    <a:pt x="426" y="39"/>
                  </a:lnTo>
                  <a:lnTo>
                    <a:pt x="422" y="52"/>
                  </a:lnTo>
                  <a:lnTo>
                    <a:pt x="421" y="66"/>
                  </a:lnTo>
                  <a:lnTo>
                    <a:pt x="426" y="73"/>
                  </a:lnTo>
                  <a:lnTo>
                    <a:pt x="421" y="75"/>
                  </a:lnTo>
                  <a:lnTo>
                    <a:pt x="415" y="73"/>
                  </a:lnTo>
                  <a:lnTo>
                    <a:pt x="411" y="73"/>
                  </a:lnTo>
                  <a:lnTo>
                    <a:pt x="409" y="77"/>
                  </a:lnTo>
                  <a:lnTo>
                    <a:pt x="409" y="87"/>
                  </a:lnTo>
                  <a:lnTo>
                    <a:pt x="411" y="93"/>
                  </a:lnTo>
                  <a:lnTo>
                    <a:pt x="399" y="96"/>
                  </a:lnTo>
                  <a:lnTo>
                    <a:pt x="396" y="100"/>
                  </a:lnTo>
                  <a:lnTo>
                    <a:pt x="403" y="112"/>
                  </a:lnTo>
                  <a:lnTo>
                    <a:pt x="405" y="120"/>
                  </a:lnTo>
                  <a:lnTo>
                    <a:pt x="392" y="123"/>
                  </a:lnTo>
                  <a:lnTo>
                    <a:pt x="386" y="121"/>
                  </a:lnTo>
                  <a:lnTo>
                    <a:pt x="384" y="120"/>
                  </a:lnTo>
                  <a:lnTo>
                    <a:pt x="382" y="116"/>
                  </a:lnTo>
                  <a:lnTo>
                    <a:pt x="371" y="116"/>
                  </a:lnTo>
                  <a:lnTo>
                    <a:pt x="371" y="131"/>
                  </a:lnTo>
                  <a:lnTo>
                    <a:pt x="359" y="135"/>
                  </a:lnTo>
                  <a:lnTo>
                    <a:pt x="365" y="120"/>
                  </a:lnTo>
                  <a:lnTo>
                    <a:pt x="363" y="108"/>
                  </a:lnTo>
                  <a:lnTo>
                    <a:pt x="351" y="96"/>
                  </a:lnTo>
                  <a:lnTo>
                    <a:pt x="351" y="93"/>
                  </a:lnTo>
                  <a:lnTo>
                    <a:pt x="350" y="89"/>
                  </a:lnTo>
                  <a:lnTo>
                    <a:pt x="350" y="85"/>
                  </a:lnTo>
                  <a:lnTo>
                    <a:pt x="328" y="89"/>
                  </a:lnTo>
                  <a:lnTo>
                    <a:pt x="321" y="93"/>
                  </a:lnTo>
                  <a:lnTo>
                    <a:pt x="317" y="108"/>
                  </a:lnTo>
                  <a:lnTo>
                    <a:pt x="317" y="106"/>
                  </a:lnTo>
                  <a:lnTo>
                    <a:pt x="315" y="104"/>
                  </a:lnTo>
                  <a:lnTo>
                    <a:pt x="313" y="100"/>
                  </a:lnTo>
                  <a:lnTo>
                    <a:pt x="305" y="100"/>
                  </a:lnTo>
                  <a:lnTo>
                    <a:pt x="307" y="102"/>
                  </a:lnTo>
                  <a:lnTo>
                    <a:pt x="309" y="106"/>
                  </a:lnTo>
                  <a:lnTo>
                    <a:pt x="309" y="108"/>
                  </a:lnTo>
                  <a:lnTo>
                    <a:pt x="303" y="108"/>
                  </a:lnTo>
                  <a:lnTo>
                    <a:pt x="303" y="112"/>
                  </a:lnTo>
                  <a:lnTo>
                    <a:pt x="305" y="120"/>
                  </a:lnTo>
                  <a:lnTo>
                    <a:pt x="305" y="123"/>
                  </a:lnTo>
                  <a:lnTo>
                    <a:pt x="296" y="123"/>
                  </a:lnTo>
                  <a:lnTo>
                    <a:pt x="296" y="125"/>
                  </a:lnTo>
                  <a:lnTo>
                    <a:pt x="300" y="131"/>
                  </a:lnTo>
                  <a:lnTo>
                    <a:pt x="298" y="135"/>
                  </a:lnTo>
                  <a:lnTo>
                    <a:pt x="296" y="133"/>
                  </a:lnTo>
                  <a:lnTo>
                    <a:pt x="290" y="129"/>
                  </a:lnTo>
                  <a:lnTo>
                    <a:pt x="286" y="127"/>
                  </a:lnTo>
                  <a:lnTo>
                    <a:pt x="284" y="131"/>
                  </a:lnTo>
                  <a:lnTo>
                    <a:pt x="282" y="133"/>
                  </a:lnTo>
                  <a:lnTo>
                    <a:pt x="279" y="135"/>
                  </a:lnTo>
                  <a:lnTo>
                    <a:pt x="279" y="158"/>
                  </a:lnTo>
                  <a:lnTo>
                    <a:pt x="273" y="152"/>
                  </a:lnTo>
                  <a:lnTo>
                    <a:pt x="263" y="148"/>
                  </a:lnTo>
                  <a:lnTo>
                    <a:pt x="259" y="150"/>
                  </a:lnTo>
                  <a:lnTo>
                    <a:pt x="257" y="154"/>
                  </a:lnTo>
                  <a:lnTo>
                    <a:pt x="257" y="179"/>
                  </a:lnTo>
                  <a:lnTo>
                    <a:pt x="261" y="181"/>
                  </a:lnTo>
                  <a:lnTo>
                    <a:pt x="259" y="189"/>
                  </a:lnTo>
                  <a:lnTo>
                    <a:pt x="257" y="196"/>
                  </a:lnTo>
                  <a:lnTo>
                    <a:pt x="254" y="194"/>
                  </a:lnTo>
                  <a:lnTo>
                    <a:pt x="248" y="187"/>
                  </a:lnTo>
                  <a:lnTo>
                    <a:pt x="246" y="183"/>
                  </a:lnTo>
                  <a:lnTo>
                    <a:pt x="240" y="166"/>
                  </a:lnTo>
                  <a:lnTo>
                    <a:pt x="240" y="168"/>
                  </a:lnTo>
                  <a:lnTo>
                    <a:pt x="227" y="179"/>
                  </a:lnTo>
                  <a:lnTo>
                    <a:pt x="223" y="198"/>
                  </a:lnTo>
                  <a:lnTo>
                    <a:pt x="221" y="216"/>
                  </a:lnTo>
                  <a:lnTo>
                    <a:pt x="227" y="223"/>
                  </a:lnTo>
                  <a:lnTo>
                    <a:pt x="217" y="229"/>
                  </a:lnTo>
                  <a:lnTo>
                    <a:pt x="209" y="235"/>
                  </a:lnTo>
                  <a:lnTo>
                    <a:pt x="204" y="243"/>
                  </a:lnTo>
                  <a:lnTo>
                    <a:pt x="202" y="246"/>
                  </a:lnTo>
                  <a:lnTo>
                    <a:pt x="202" y="258"/>
                  </a:lnTo>
                  <a:lnTo>
                    <a:pt x="188" y="264"/>
                  </a:lnTo>
                  <a:lnTo>
                    <a:pt x="175" y="266"/>
                  </a:lnTo>
                  <a:lnTo>
                    <a:pt x="160" y="269"/>
                  </a:lnTo>
                  <a:lnTo>
                    <a:pt x="154" y="277"/>
                  </a:lnTo>
                  <a:lnTo>
                    <a:pt x="148" y="277"/>
                  </a:lnTo>
                  <a:lnTo>
                    <a:pt x="146" y="273"/>
                  </a:lnTo>
                  <a:lnTo>
                    <a:pt x="142" y="273"/>
                  </a:lnTo>
                  <a:lnTo>
                    <a:pt x="138" y="279"/>
                  </a:lnTo>
                  <a:lnTo>
                    <a:pt x="137" y="287"/>
                  </a:lnTo>
                  <a:lnTo>
                    <a:pt x="133" y="292"/>
                  </a:lnTo>
                  <a:lnTo>
                    <a:pt x="115" y="292"/>
                  </a:lnTo>
                  <a:lnTo>
                    <a:pt x="113" y="300"/>
                  </a:lnTo>
                  <a:lnTo>
                    <a:pt x="104" y="300"/>
                  </a:lnTo>
                  <a:lnTo>
                    <a:pt x="94" y="298"/>
                  </a:lnTo>
                  <a:lnTo>
                    <a:pt x="89" y="296"/>
                  </a:lnTo>
                  <a:lnTo>
                    <a:pt x="87" y="300"/>
                  </a:lnTo>
                  <a:lnTo>
                    <a:pt x="87" y="308"/>
                  </a:lnTo>
                  <a:lnTo>
                    <a:pt x="69" y="308"/>
                  </a:lnTo>
                  <a:lnTo>
                    <a:pt x="69" y="312"/>
                  </a:lnTo>
                  <a:lnTo>
                    <a:pt x="46" y="331"/>
                  </a:lnTo>
                  <a:lnTo>
                    <a:pt x="37" y="342"/>
                  </a:lnTo>
                  <a:lnTo>
                    <a:pt x="33" y="344"/>
                  </a:lnTo>
                  <a:lnTo>
                    <a:pt x="25" y="350"/>
                  </a:lnTo>
                  <a:lnTo>
                    <a:pt x="19" y="352"/>
                  </a:lnTo>
                  <a:lnTo>
                    <a:pt x="18" y="354"/>
                  </a:lnTo>
                  <a:lnTo>
                    <a:pt x="21" y="342"/>
                  </a:lnTo>
                  <a:lnTo>
                    <a:pt x="18" y="344"/>
                  </a:lnTo>
                  <a:lnTo>
                    <a:pt x="16" y="346"/>
                  </a:lnTo>
                  <a:lnTo>
                    <a:pt x="14" y="346"/>
                  </a:lnTo>
                  <a:lnTo>
                    <a:pt x="14" y="348"/>
                  </a:lnTo>
                  <a:lnTo>
                    <a:pt x="12" y="354"/>
                  </a:lnTo>
                  <a:lnTo>
                    <a:pt x="10" y="358"/>
                  </a:lnTo>
                  <a:lnTo>
                    <a:pt x="12" y="367"/>
                  </a:lnTo>
                  <a:lnTo>
                    <a:pt x="14" y="381"/>
                  </a:lnTo>
                  <a:lnTo>
                    <a:pt x="14" y="396"/>
                  </a:lnTo>
                  <a:lnTo>
                    <a:pt x="10" y="400"/>
                  </a:lnTo>
                  <a:lnTo>
                    <a:pt x="2" y="404"/>
                  </a:lnTo>
                  <a:lnTo>
                    <a:pt x="0" y="408"/>
                  </a:lnTo>
                  <a:lnTo>
                    <a:pt x="0" y="412"/>
                  </a:lnTo>
                  <a:lnTo>
                    <a:pt x="0" y="419"/>
                  </a:lnTo>
                  <a:lnTo>
                    <a:pt x="6" y="419"/>
                  </a:lnTo>
                  <a:lnTo>
                    <a:pt x="6" y="423"/>
                  </a:lnTo>
                  <a:lnTo>
                    <a:pt x="14" y="431"/>
                  </a:lnTo>
                  <a:lnTo>
                    <a:pt x="21" y="458"/>
                  </a:lnTo>
                  <a:lnTo>
                    <a:pt x="19" y="462"/>
                  </a:lnTo>
                  <a:lnTo>
                    <a:pt x="21" y="471"/>
                  </a:lnTo>
                  <a:lnTo>
                    <a:pt x="21" y="477"/>
                  </a:lnTo>
                  <a:lnTo>
                    <a:pt x="14" y="473"/>
                  </a:lnTo>
                  <a:lnTo>
                    <a:pt x="10" y="473"/>
                  </a:lnTo>
                  <a:lnTo>
                    <a:pt x="10" y="462"/>
                  </a:lnTo>
                  <a:lnTo>
                    <a:pt x="6" y="462"/>
                  </a:lnTo>
                  <a:lnTo>
                    <a:pt x="4" y="467"/>
                  </a:lnTo>
                  <a:lnTo>
                    <a:pt x="6" y="473"/>
                  </a:lnTo>
                  <a:lnTo>
                    <a:pt x="23" y="490"/>
                  </a:lnTo>
                  <a:lnTo>
                    <a:pt x="12" y="489"/>
                  </a:lnTo>
                  <a:lnTo>
                    <a:pt x="2" y="485"/>
                  </a:lnTo>
                  <a:lnTo>
                    <a:pt x="2" y="492"/>
                  </a:lnTo>
                  <a:lnTo>
                    <a:pt x="10" y="498"/>
                  </a:lnTo>
                  <a:lnTo>
                    <a:pt x="18" y="506"/>
                  </a:lnTo>
                  <a:lnTo>
                    <a:pt x="25" y="515"/>
                  </a:lnTo>
                  <a:lnTo>
                    <a:pt x="25" y="523"/>
                  </a:lnTo>
                  <a:lnTo>
                    <a:pt x="23" y="531"/>
                  </a:lnTo>
                  <a:lnTo>
                    <a:pt x="25" y="538"/>
                  </a:lnTo>
                  <a:lnTo>
                    <a:pt x="29" y="542"/>
                  </a:lnTo>
                  <a:lnTo>
                    <a:pt x="41" y="55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1" name="Freeform 296"/>
            <p:cNvSpPr>
              <a:spLocks/>
            </p:cNvSpPr>
            <p:nvPr/>
          </p:nvSpPr>
          <p:spPr bwMode="gray">
            <a:xfrm>
              <a:off x="3576" y="2116"/>
              <a:ext cx="43" cy="42"/>
            </a:xfrm>
            <a:custGeom>
              <a:avLst/>
              <a:gdLst>
                <a:gd name="T0" fmla="*/ 5 w 86"/>
                <a:gd name="T1" fmla="*/ 2 h 85"/>
                <a:gd name="T2" fmla="*/ 7 w 86"/>
                <a:gd name="T3" fmla="*/ 6 h 85"/>
                <a:gd name="T4" fmla="*/ 9 w 86"/>
                <a:gd name="T5" fmla="*/ 13 h 85"/>
                <a:gd name="T6" fmla="*/ 5 w 86"/>
                <a:gd name="T7" fmla="*/ 19 h 85"/>
                <a:gd name="T8" fmla="*/ 2 w 86"/>
                <a:gd name="T9" fmla="*/ 23 h 85"/>
                <a:gd name="T10" fmla="*/ 2 w 86"/>
                <a:gd name="T11" fmla="*/ 27 h 85"/>
                <a:gd name="T12" fmla="*/ 0 w 86"/>
                <a:gd name="T13" fmla="*/ 33 h 85"/>
                <a:gd name="T14" fmla="*/ 4 w 86"/>
                <a:gd name="T15" fmla="*/ 38 h 85"/>
                <a:gd name="T16" fmla="*/ 17 w 86"/>
                <a:gd name="T17" fmla="*/ 44 h 85"/>
                <a:gd name="T18" fmla="*/ 27 w 86"/>
                <a:gd name="T19" fmla="*/ 46 h 85"/>
                <a:gd name="T20" fmla="*/ 34 w 86"/>
                <a:gd name="T21" fmla="*/ 54 h 85"/>
                <a:gd name="T22" fmla="*/ 36 w 86"/>
                <a:gd name="T23" fmla="*/ 58 h 85"/>
                <a:gd name="T24" fmla="*/ 36 w 86"/>
                <a:gd name="T25" fmla="*/ 62 h 85"/>
                <a:gd name="T26" fmla="*/ 40 w 86"/>
                <a:gd name="T27" fmla="*/ 60 h 85"/>
                <a:gd name="T28" fmla="*/ 50 w 86"/>
                <a:gd name="T29" fmla="*/ 60 h 85"/>
                <a:gd name="T30" fmla="*/ 53 w 86"/>
                <a:gd name="T31" fmla="*/ 62 h 85"/>
                <a:gd name="T32" fmla="*/ 55 w 86"/>
                <a:gd name="T33" fmla="*/ 62 h 85"/>
                <a:gd name="T34" fmla="*/ 55 w 86"/>
                <a:gd name="T35" fmla="*/ 63 h 85"/>
                <a:gd name="T36" fmla="*/ 57 w 86"/>
                <a:gd name="T37" fmla="*/ 65 h 85"/>
                <a:gd name="T38" fmla="*/ 63 w 86"/>
                <a:gd name="T39" fmla="*/ 69 h 85"/>
                <a:gd name="T40" fmla="*/ 69 w 86"/>
                <a:gd name="T41" fmla="*/ 77 h 85"/>
                <a:gd name="T42" fmla="*/ 71 w 86"/>
                <a:gd name="T43" fmla="*/ 81 h 85"/>
                <a:gd name="T44" fmla="*/ 71 w 86"/>
                <a:gd name="T45" fmla="*/ 85 h 85"/>
                <a:gd name="T46" fmla="*/ 75 w 86"/>
                <a:gd name="T47" fmla="*/ 81 h 85"/>
                <a:gd name="T48" fmla="*/ 80 w 86"/>
                <a:gd name="T49" fmla="*/ 79 h 85"/>
                <a:gd name="T50" fmla="*/ 86 w 86"/>
                <a:gd name="T51" fmla="*/ 73 h 85"/>
                <a:gd name="T52" fmla="*/ 84 w 86"/>
                <a:gd name="T53" fmla="*/ 69 h 85"/>
                <a:gd name="T54" fmla="*/ 84 w 86"/>
                <a:gd name="T55" fmla="*/ 58 h 85"/>
                <a:gd name="T56" fmla="*/ 82 w 86"/>
                <a:gd name="T57" fmla="*/ 56 h 85"/>
                <a:gd name="T58" fmla="*/ 75 w 86"/>
                <a:gd name="T59" fmla="*/ 56 h 85"/>
                <a:gd name="T60" fmla="*/ 71 w 86"/>
                <a:gd name="T61" fmla="*/ 54 h 85"/>
                <a:gd name="T62" fmla="*/ 67 w 86"/>
                <a:gd name="T63" fmla="*/ 50 h 85"/>
                <a:gd name="T64" fmla="*/ 65 w 86"/>
                <a:gd name="T65" fmla="*/ 46 h 85"/>
                <a:gd name="T66" fmla="*/ 71 w 86"/>
                <a:gd name="T67" fmla="*/ 40 h 85"/>
                <a:gd name="T68" fmla="*/ 69 w 86"/>
                <a:gd name="T69" fmla="*/ 37 h 85"/>
                <a:gd name="T70" fmla="*/ 65 w 86"/>
                <a:gd name="T71" fmla="*/ 35 h 85"/>
                <a:gd name="T72" fmla="*/ 55 w 86"/>
                <a:gd name="T73" fmla="*/ 29 h 85"/>
                <a:gd name="T74" fmla="*/ 53 w 86"/>
                <a:gd name="T75" fmla="*/ 29 h 85"/>
                <a:gd name="T76" fmla="*/ 55 w 86"/>
                <a:gd name="T77" fmla="*/ 27 h 85"/>
                <a:gd name="T78" fmla="*/ 59 w 86"/>
                <a:gd name="T79" fmla="*/ 21 h 85"/>
                <a:gd name="T80" fmla="*/ 59 w 86"/>
                <a:gd name="T81" fmla="*/ 17 h 85"/>
                <a:gd name="T82" fmla="*/ 51 w 86"/>
                <a:gd name="T83" fmla="*/ 10 h 85"/>
                <a:gd name="T84" fmla="*/ 50 w 86"/>
                <a:gd name="T85" fmla="*/ 10 h 85"/>
                <a:gd name="T86" fmla="*/ 46 w 86"/>
                <a:gd name="T87" fmla="*/ 12 h 85"/>
                <a:gd name="T88" fmla="*/ 42 w 86"/>
                <a:gd name="T89" fmla="*/ 10 h 85"/>
                <a:gd name="T90" fmla="*/ 40 w 86"/>
                <a:gd name="T91" fmla="*/ 8 h 85"/>
                <a:gd name="T92" fmla="*/ 38 w 86"/>
                <a:gd name="T93" fmla="*/ 0 h 85"/>
                <a:gd name="T94" fmla="*/ 17 w 86"/>
                <a:gd name="T95" fmla="*/ 0 h 85"/>
                <a:gd name="T96" fmla="*/ 9 w 86"/>
                <a:gd name="T97" fmla="*/ 2 h 85"/>
                <a:gd name="T98" fmla="*/ 5 w 86"/>
                <a:gd name="T99" fmla="*/ 2 h 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6"/>
                <a:gd name="T151" fmla="*/ 0 h 85"/>
                <a:gd name="T152" fmla="*/ 86 w 86"/>
                <a:gd name="T153" fmla="*/ 85 h 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6" h="85">
                  <a:moveTo>
                    <a:pt x="5" y="2"/>
                  </a:moveTo>
                  <a:lnTo>
                    <a:pt x="7" y="6"/>
                  </a:lnTo>
                  <a:lnTo>
                    <a:pt x="9" y="13"/>
                  </a:lnTo>
                  <a:lnTo>
                    <a:pt x="5" y="19"/>
                  </a:lnTo>
                  <a:lnTo>
                    <a:pt x="2" y="23"/>
                  </a:lnTo>
                  <a:lnTo>
                    <a:pt x="2" y="27"/>
                  </a:lnTo>
                  <a:lnTo>
                    <a:pt x="0" y="33"/>
                  </a:lnTo>
                  <a:lnTo>
                    <a:pt x="4" y="38"/>
                  </a:lnTo>
                  <a:lnTo>
                    <a:pt x="17" y="44"/>
                  </a:lnTo>
                  <a:lnTo>
                    <a:pt x="27" y="46"/>
                  </a:lnTo>
                  <a:lnTo>
                    <a:pt x="34" y="54"/>
                  </a:lnTo>
                  <a:lnTo>
                    <a:pt x="36" y="58"/>
                  </a:lnTo>
                  <a:lnTo>
                    <a:pt x="36" y="62"/>
                  </a:lnTo>
                  <a:lnTo>
                    <a:pt x="40" y="60"/>
                  </a:lnTo>
                  <a:lnTo>
                    <a:pt x="50" y="60"/>
                  </a:lnTo>
                  <a:lnTo>
                    <a:pt x="53" y="62"/>
                  </a:lnTo>
                  <a:lnTo>
                    <a:pt x="55" y="62"/>
                  </a:lnTo>
                  <a:lnTo>
                    <a:pt x="55" y="63"/>
                  </a:lnTo>
                  <a:lnTo>
                    <a:pt x="57" y="65"/>
                  </a:lnTo>
                  <a:lnTo>
                    <a:pt x="63" y="69"/>
                  </a:lnTo>
                  <a:lnTo>
                    <a:pt x="69" y="77"/>
                  </a:lnTo>
                  <a:lnTo>
                    <a:pt x="71" y="81"/>
                  </a:lnTo>
                  <a:lnTo>
                    <a:pt x="71" y="85"/>
                  </a:lnTo>
                  <a:lnTo>
                    <a:pt x="75" y="81"/>
                  </a:lnTo>
                  <a:lnTo>
                    <a:pt x="80" y="79"/>
                  </a:lnTo>
                  <a:lnTo>
                    <a:pt x="86" y="73"/>
                  </a:lnTo>
                  <a:lnTo>
                    <a:pt x="84" y="69"/>
                  </a:lnTo>
                  <a:lnTo>
                    <a:pt x="84" y="58"/>
                  </a:lnTo>
                  <a:lnTo>
                    <a:pt x="82" y="56"/>
                  </a:lnTo>
                  <a:lnTo>
                    <a:pt x="75" y="56"/>
                  </a:lnTo>
                  <a:lnTo>
                    <a:pt x="71" y="54"/>
                  </a:lnTo>
                  <a:lnTo>
                    <a:pt x="67" y="50"/>
                  </a:lnTo>
                  <a:lnTo>
                    <a:pt x="65" y="46"/>
                  </a:lnTo>
                  <a:lnTo>
                    <a:pt x="71" y="40"/>
                  </a:lnTo>
                  <a:lnTo>
                    <a:pt x="69" y="37"/>
                  </a:lnTo>
                  <a:lnTo>
                    <a:pt x="65" y="35"/>
                  </a:lnTo>
                  <a:lnTo>
                    <a:pt x="55" y="29"/>
                  </a:lnTo>
                  <a:lnTo>
                    <a:pt x="53" y="29"/>
                  </a:lnTo>
                  <a:lnTo>
                    <a:pt x="55" y="27"/>
                  </a:lnTo>
                  <a:lnTo>
                    <a:pt x="59" y="21"/>
                  </a:lnTo>
                  <a:lnTo>
                    <a:pt x="59" y="17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46" y="12"/>
                  </a:lnTo>
                  <a:lnTo>
                    <a:pt x="42" y="10"/>
                  </a:lnTo>
                  <a:lnTo>
                    <a:pt x="40" y="8"/>
                  </a:lnTo>
                  <a:lnTo>
                    <a:pt x="38" y="0"/>
                  </a:lnTo>
                  <a:lnTo>
                    <a:pt x="17" y="0"/>
                  </a:lnTo>
                  <a:lnTo>
                    <a:pt x="9" y="2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2" name="Freeform 297"/>
            <p:cNvSpPr>
              <a:spLocks/>
            </p:cNvSpPr>
            <p:nvPr/>
          </p:nvSpPr>
          <p:spPr bwMode="gray">
            <a:xfrm>
              <a:off x="2114" y="3122"/>
              <a:ext cx="244" cy="526"/>
            </a:xfrm>
            <a:custGeom>
              <a:avLst/>
              <a:gdLst>
                <a:gd name="T0" fmla="*/ 220 w 487"/>
                <a:gd name="T1" fmla="*/ 21 h 1053"/>
                <a:gd name="T2" fmla="*/ 168 w 487"/>
                <a:gd name="T3" fmla="*/ 0 h 1053"/>
                <a:gd name="T4" fmla="*/ 159 w 487"/>
                <a:gd name="T5" fmla="*/ 62 h 1053"/>
                <a:gd name="T6" fmla="*/ 126 w 487"/>
                <a:gd name="T7" fmla="*/ 92 h 1053"/>
                <a:gd name="T8" fmla="*/ 124 w 487"/>
                <a:gd name="T9" fmla="*/ 146 h 1053"/>
                <a:gd name="T10" fmla="*/ 117 w 487"/>
                <a:gd name="T11" fmla="*/ 194 h 1053"/>
                <a:gd name="T12" fmla="*/ 94 w 487"/>
                <a:gd name="T13" fmla="*/ 261 h 1053"/>
                <a:gd name="T14" fmla="*/ 88 w 487"/>
                <a:gd name="T15" fmla="*/ 321 h 1053"/>
                <a:gd name="T16" fmla="*/ 82 w 487"/>
                <a:gd name="T17" fmla="*/ 367 h 1053"/>
                <a:gd name="T18" fmla="*/ 72 w 487"/>
                <a:gd name="T19" fmla="*/ 440 h 1053"/>
                <a:gd name="T20" fmla="*/ 61 w 487"/>
                <a:gd name="T21" fmla="*/ 482 h 1053"/>
                <a:gd name="T22" fmla="*/ 49 w 487"/>
                <a:gd name="T23" fmla="*/ 530 h 1053"/>
                <a:gd name="T24" fmla="*/ 44 w 487"/>
                <a:gd name="T25" fmla="*/ 565 h 1053"/>
                <a:gd name="T26" fmla="*/ 32 w 487"/>
                <a:gd name="T27" fmla="*/ 642 h 1053"/>
                <a:gd name="T28" fmla="*/ 44 w 487"/>
                <a:gd name="T29" fmla="*/ 673 h 1053"/>
                <a:gd name="T30" fmla="*/ 42 w 487"/>
                <a:gd name="T31" fmla="*/ 738 h 1053"/>
                <a:gd name="T32" fmla="*/ 42 w 487"/>
                <a:gd name="T33" fmla="*/ 778 h 1053"/>
                <a:gd name="T34" fmla="*/ 34 w 487"/>
                <a:gd name="T35" fmla="*/ 813 h 1053"/>
                <a:gd name="T36" fmla="*/ 36 w 487"/>
                <a:gd name="T37" fmla="*/ 867 h 1053"/>
                <a:gd name="T38" fmla="*/ 24 w 487"/>
                <a:gd name="T39" fmla="*/ 899 h 1053"/>
                <a:gd name="T40" fmla="*/ 3 w 487"/>
                <a:gd name="T41" fmla="*/ 934 h 1053"/>
                <a:gd name="T42" fmla="*/ 1 w 487"/>
                <a:gd name="T43" fmla="*/ 990 h 1053"/>
                <a:gd name="T44" fmla="*/ 23 w 487"/>
                <a:gd name="T45" fmla="*/ 1001 h 1053"/>
                <a:gd name="T46" fmla="*/ 44 w 487"/>
                <a:gd name="T47" fmla="*/ 1051 h 1053"/>
                <a:gd name="T48" fmla="*/ 101 w 487"/>
                <a:gd name="T49" fmla="*/ 1040 h 1053"/>
                <a:gd name="T50" fmla="*/ 124 w 487"/>
                <a:gd name="T51" fmla="*/ 994 h 1053"/>
                <a:gd name="T52" fmla="*/ 117 w 487"/>
                <a:gd name="T53" fmla="*/ 967 h 1053"/>
                <a:gd name="T54" fmla="*/ 147 w 487"/>
                <a:gd name="T55" fmla="*/ 946 h 1053"/>
                <a:gd name="T56" fmla="*/ 167 w 487"/>
                <a:gd name="T57" fmla="*/ 867 h 1053"/>
                <a:gd name="T58" fmla="*/ 159 w 487"/>
                <a:gd name="T59" fmla="*/ 813 h 1053"/>
                <a:gd name="T60" fmla="*/ 195 w 487"/>
                <a:gd name="T61" fmla="*/ 782 h 1053"/>
                <a:gd name="T62" fmla="*/ 205 w 487"/>
                <a:gd name="T63" fmla="*/ 738 h 1053"/>
                <a:gd name="T64" fmla="*/ 214 w 487"/>
                <a:gd name="T65" fmla="*/ 707 h 1053"/>
                <a:gd name="T66" fmla="*/ 236 w 487"/>
                <a:gd name="T67" fmla="*/ 707 h 1053"/>
                <a:gd name="T68" fmla="*/ 239 w 487"/>
                <a:gd name="T69" fmla="*/ 694 h 1053"/>
                <a:gd name="T70" fmla="*/ 205 w 487"/>
                <a:gd name="T71" fmla="*/ 667 h 1053"/>
                <a:gd name="T72" fmla="*/ 228 w 487"/>
                <a:gd name="T73" fmla="*/ 644 h 1053"/>
                <a:gd name="T74" fmla="*/ 266 w 487"/>
                <a:gd name="T75" fmla="*/ 648 h 1053"/>
                <a:gd name="T76" fmla="*/ 278 w 487"/>
                <a:gd name="T77" fmla="*/ 588 h 1053"/>
                <a:gd name="T78" fmla="*/ 278 w 487"/>
                <a:gd name="T79" fmla="*/ 571 h 1053"/>
                <a:gd name="T80" fmla="*/ 328 w 487"/>
                <a:gd name="T81" fmla="*/ 567 h 1053"/>
                <a:gd name="T82" fmla="*/ 405 w 487"/>
                <a:gd name="T83" fmla="*/ 482 h 1053"/>
                <a:gd name="T84" fmla="*/ 391 w 487"/>
                <a:gd name="T85" fmla="*/ 444 h 1053"/>
                <a:gd name="T86" fmla="*/ 366 w 487"/>
                <a:gd name="T87" fmla="*/ 381 h 1053"/>
                <a:gd name="T88" fmla="*/ 376 w 487"/>
                <a:gd name="T89" fmla="*/ 352 h 1053"/>
                <a:gd name="T90" fmla="*/ 385 w 487"/>
                <a:gd name="T91" fmla="*/ 311 h 1053"/>
                <a:gd name="T92" fmla="*/ 395 w 487"/>
                <a:gd name="T93" fmla="*/ 265 h 1053"/>
                <a:gd name="T94" fmla="*/ 420 w 487"/>
                <a:gd name="T95" fmla="*/ 227 h 1053"/>
                <a:gd name="T96" fmla="*/ 451 w 487"/>
                <a:gd name="T97" fmla="*/ 204 h 1053"/>
                <a:gd name="T98" fmla="*/ 481 w 487"/>
                <a:gd name="T99" fmla="*/ 179 h 1053"/>
                <a:gd name="T100" fmla="*/ 477 w 487"/>
                <a:gd name="T101" fmla="*/ 123 h 1053"/>
                <a:gd name="T102" fmla="*/ 458 w 487"/>
                <a:gd name="T103" fmla="*/ 137 h 1053"/>
                <a:gd name="T104" fmla="*/ 443 w 487"/>
                <a:gd name="T105" fmla="*/ 175 h 1053"/>
                <a:gd name="T106" fmla="*/ 405 w 487"/>
                <a:gd name="T107" fmla="*/ 181 h 1053"/>
                <a:gd name="T108" fmla="*/ 366 w 487"/>
                <a:gd name="T109" fmla="*/ 177 h 1053"/>
                <a:gd name="T110" fmla="*/ 383 w 487"/>
                <a:gd name="T111" fmla="*/ 133 h 1053"/>
                <a:gd name="T112" fmla="*/ 366 w 487"/>
                <a:gd name="T113" fmla="*/ 94 h 1053"/>
                <a:gd name="T114" fmla="*/ 333 w 487"/>
                <a:gd name="T115" fmla="*/ 71 h 1053"/>
                <a:gd name="T116" fmla="*/ 307 w 487"/>
                <a:gd name="T117" fmla="*/ 40 h 1053"/>
                <a:gd name="T118" fmla="*/ 272 w 487"/>
                <a:gd name="T119" fmla="*/ 6 h 105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87"/>
                <a:gd name="T181" fmla="*/ 0 h 1053"/>
                <a:gd name="T182" fmla="*/ 487 w 487"/>
                <a:gd name="T183" fmla="*/ 1053 h 105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87" h="1053">
                  <a:moveTo>
                    <a:pt x="272" y="6"/>
                  </a:moveTo>
                  <a:lnTo>
                    <a:pt x="234" y="6"/>
                  </a:lnTo>
                  <a:lnTo>
                    <a:pt x="234" y="4"/>
                  </a:lnTo>
                  <a:lnTo>
                    <a:pt x="230" y="2"/>
                  </a:lnTo>
                  <a:lnTo>
                    <a:pt x="224" y="10"/>
                  </a:lnTo>
                  <a:lnTo>
                    <a:pt x="220" y="21"/>
                  </a:lnTo>
                  <a:lnTo>
                    <a:pt x="218" y="25"/>
                  </a:lnTo>
                  <a:lnTo>
                    <a:pt x="207" y="6"/>
                  </a:lnTo>
                  <a:lnTo>
                    <a:pt x="191" y="6"/>
                  </a:lnTo>
                  <a:lnTo>
                    <a:pt x="180" y="4"/>
                  </a:lnTo>
                  <a:lnTo>
                    <a:pt x="172" y="2"/>
                  </a:lnTo>
                  <a:lnTo>
                    <a:pt x="168" y="0"/>
                  </a:lnTo>
                  <a:lnTo>
                    <a:pt x="149" y="15"/>
                  </a:lnTo>
                  <a:lnTo>
                    <a:pt x="149" y="29"/>
                  </a:lnTo>
                  <a:lnTo>
                    <a:pt x="155" y="37"/>
                  </a:lnTo>
                  <a:lnTo>
                    <a:pt x="161" y="42"/>
                  </a:lnTo>
                  <a:lnTo>
                    <a:pt x="161" y="52"/>
                  </a:lnTo>
                  <a:lnTo>
                    <a:pt x="159" y="62"/>
                  </a:lnTo>
                  <a:lnTo>
                    <a:pt x="155" y="67"/>
                  </a:lnTo>
                  <a:lnTo>
                    <a:pt x="147" y="71"/>
                  </a:lnTo>
                  <a:lnTo>
                    <a:pt x="143" y="77"/>
                  </a:lnTo>
                  <a:lnTo>
                    <a:pt x="138" y="83"/>
                  </a:lnTo>
                  <a:lnTo>
                    <a:pt x="130" y="87"/>
                  </a:lnTo>
                  <a:lnTo>
                    <a:pt x="126" y="92"/>
                  </a:lnTo>
                  <a:lnTo>
                    <a:pt x="124" y="100"/>
                  </a:lnTo>
                  <a:lnTo>
                    <a:pt x="124" y="112"/>
                  </a:lnTo>
                  <a:lnTo>
                    <a:pt x="128" y="131"/>
                  </a:lnTo>
                  <a:lnTo>
                    <a:pt x="132" y="137"/>
                  </a:lnTo>
                  <a:lnTo>
                    <a:pt x="128" y="142"/>
                  </a:lnTo>
                  <a:lnTo>
                    <a:pt x="124" y="146"/>
                  </a:lnTo>
                  <a:lnTo>
                    <a:pt x="124" y="152"/>
                  </a:lnTo>
                  <a:lnTo>
                    <a:pt x="128" y="167"/>
                  </a:lnTo>
                  <a:lnTo>
                    <a:pt x="126" y="173"/>
                  </a:lnTo>
                  <a:lnTo>
                    <a:pt x="124" y="181"/>
                  </a:lnTo>
                  <a:lnTo>
                    <a:pt x="120" y="188"/>
                  </a:lnTo>
                  <a:lnTo>
                    <a:pt x="117" y="194"/>
                  </a:lnTo>
                  <a:lnTo>
                    <a:pt x="113" y="202"/>
                  </a:lnTo>
                  <a:lnTo>
                    <a:pt x="101" y="217"/>
                  </a:lnTo>
                  <a:lnTo>
                    <a:pt x="97" y="227"/>
                  </a:lnTo>
                  <a:lnTo>
                    <a:pt x="97" y="240"/>
                  </a:lnTo>
                  <a:lnTo>
                    <a:pt x="96" y="252"/>
                  </a:lnTo>
                  <a:lnTo>
                    <a:pt x="94" y="261"/>
                  </a:lnTo>
                  <a:lnTo>
                    <a:pt x="96" y="271"/>
                  </a:lnTo>
                  <a:lnTo>
                    <a:pt x="96" y="279"/>
                  </a:lnTo>
                  <a:lnTo>
                    <a:pt x="94" y="286"/>
                  </a:lnTo>
                  <a:lnTo>
                    <a:pt x="90" y="298"/>
                  </a:lnTo>
                  <a:lnTo>
                    <a:pt x="88" y="309"/>
                  </a:lnTo>
                  <a:lnTo>
                    <a:pt x="88" y="321"/>
                  </a:lnTo>
                  <a:lnTo>
                    <a:pt x="86" y="327"/>
                  </a:lnTo>
                  <a:lnTo>
                    <a:pt x="86" y="336"/>
                  </a:lnTo>
                  <a:lnTo>
                    <a:pt x="88" y="346"/>
                  </a:lnTo>
                  <a:lnTo>
                    <a:pt x="88" y="354"/>
                  </a:lnTo>
                  <a:lnTo>
                    <a:pt x="86" y="359"/>
                  </a:lnTo>
                  <a:lnTo>
                    <a:pt x="82" y="367"/>
                  </a:lnTo>
                  <a:lnTo>
                    <a:pt x="80" y="373"/>
                  </a:lnTo>
                  <a:lnTo>
                    <a:pt x="84" y="388"/>
                  </a:lnTo>
                  <a:lnTo>
                    <a:pt x="84" y="404"/>
                  </a:lnTo>
                  <a:lnTo>
                    <a:pt x="82" y="417"/>
                  </a:lnTo>
                  <a:lnTo>
                    <a:pt x="78" y="431"/>
                  </a:lnTo>
                  <a:lnTo>
                    <a:pt x="72" y="440"/>
                  </a:lnTo>
                  <a:lnTo>
                    <a:pt x="71" y="448"/>
                  </a:lnTo>
                  <a:lnTo>
                    <a:pt x="71" y="461"/>
                  </a:lnTo>
                  <a:lnTo>
                    <a:pt x="74" y="473"/>
                  </a:lnTo>
                  <a:lnTo>
                    <a:pt x="72" y="479"/>
                  </a:lnTo>
                  <a:lnTo>
                    <a:pt x="69" y="482"/>
                  </a:lnTo>
                  <a:lnTo>
                    <a:pt x="61" y="482"/>
                  </a:lnTo>
                  <a:lnTo>
                    <a:pt x="59" y="486"/>
                  </a:lnTo>
                  <a:lnTo>
                    <a:pt x="53" y="492"/>
                  </a:lnTo>
                  <a:lnTo>
                    <a:pt x="51" y="502"/>
                  </a:lnTo>
                  <a:lnTo>
                    <a:pt x="51" y="509"/>
                  </a:lnTo>
                  <a:lnTo>
                    <a:pt x="49" y="517"/>
                  </a:lnTo>
                  <a:lnTo>
                    <a:pt x="49" y="530"/>
                  </a:lnTo>
                  <a:lnTo>
                    <a:pt x="53" y="538"/>
                  </a:lnTo>
                  <a:lnTo>
                    <a:pt x="55" y="544"/>
                  </a:lnTo>
                  <a:lnTo>
                    <a:pt x="55" y="550"/>
                  </a:lnTo>
                  <a:lnTo>
                    <a:pt x="53" y="550"/>
                  </a:lnTo>
                  <a:lnTo>
                    <a:pt x="49" y="554"/>
                  </a:lnTo>
                  <a:lnTo>
                    <a:pt x="44" y="565"/>
                  </a:lnTo>
                  <a:lnTo>
                    <a:pt x="40" y="592"/>
                  </a:lnTo>
                  <a:lnTo>
                    <a:pt x="36" y="604"/>
                  </a:lnTo>
                  <a:lnTo>
                    <a:pt x="28" y="615"/>
                  </a:lnTo>
                  <a:lnTo>
                    <a:pt x="32" y="625"/>
                  </a:lnTo>
                  <a:lnTo>
                    <a:pt x="34" y="632"/>
                  </a:lnTo>
                  <a:lnTo>
                    <a:pt x="32" y="642"/>
                  </a:lnTo>
                  <a:lnTo>
                    <a:pt x="32" y="650"/>
                  </a:lnTo>
                  <a:lnTo>
                    <a:pt x="36" y="655"/>
                  </a:lnTo>
                  <a:lnTo>
                    <a:pt x="40" y="657"/>
                  </a:lnTo>
                  <a:lnTo>
                    <a:pt x="42" y="659"/>
                  </a:lnTo>
                  <a:lnTo>
                    <a:pt x="42" y="665"/>
                  </a:lnTo>
                  <a:lnTo>
                    <a:pt x="44" y="673"/>
                  </a:lnTo>
                  <a:lnTo>
                    <a:pt x="44" y="678"/>
                  </a:lnTo>
                  <a:lnTo>
                    <a:pt x="42" y="686"/>
                  </a:lnTo>
                  <a:lnTo>
                    <a:pt x="34" y="705"/>
                  </a:lnTo>
                  <a:lnTo>
                    <a:pt x="34" y="715"/>
                  </a:lnTo>
                  <a:lnTo>
                    <a:pt x="42" y="726"/>
                  </a:lnTo>
                  <a:lnTo>
                    <a:pt x="42" y="738"/>
                  </a:lnTo>
                  <a:lnTo>
                    <a:pt x="44" y="742"/>
                  </a:lnTo>
                  <a:lnTo>
                    <a:pt x="44" y="750"/>
                  </a:lnTo>
                  <a:lnTo>
                    <a:pt x="46" y="755"/>
                  </a:lnTo>
                  <a:lnTo>
                    <a:pt x="48" y="763"/>
                  </a:lnTo>
                  <a:lnTo>
                    <a:pt x="46" y="767"/>
                  </a:lnTo>
                  <a:lnTo>
                    <a:pt x="42" y="778"/>
                  </a:lnTo>
                  <a:lnTo>
                    <a:pt x="42" y="784"/>
                  </a:lnTo>
                  <a:lnTo>
                    <a:pt x="46" y="792"/>
                  </a:lnTo>
                  <a:lnTo>
                    <a:pt x="40" y="798"/>
                  </a:lnTo>
                  <a:lnTo>
                    <a:pt x="36" y="805"/>
                  </a:lnTo>
                  <a:lnTo>
                    <a:pt x="34" y="807"/>
                  </a:lnTo>
                  <a:lnTo>
                    <a:pt x="34" y="813"/>
                  </a:lnTo>
                  <a:lnTo>
                    <a:pt x="38" y="821"/>
                  </a:lnTo>
                  <a:lnTo>
                    <a:pt x="40" y="826"/>
                  </a:lnTo>
                  <a:lnTo>
                    <a:pt x="40" y="832"/>
                  </a:lnTo>
                  <a:lnTo>
                    <a:pt x="38" y="838"/>
                  </a:lnTo>
                  <a:lnTo>
                    <a:pt x="36" y="848"/>
                  </a:lnTo>
                  <a:lnTo>
                    <a:pt x="36" y="867"/>
                  </a:lnTo>
                  <a:lnTo>
                    <a:pt x="34" y="871"/>
                  </a:lnTo>
                  <a:lnTo>
                    <a:pt x="34" y="873"/>
                  </a:lnTo>
                  <a:lnTo>
                    <a:pt x="30" y="876"/>
                  </a:lnTo>
                  <a:lnTo>
                    <a:pt x="23" y="888"/>
                  </a:lnTo>
                  <a:lnTo>
                    <a:pt x="24" y="894"/>
                  </a:lnTo>
                  <a:lnTo>
                    <a:pt x="24" y="899"/>
                  </a:lnTo>
                  <a:lnTo>
                    <a:pt x="26" y="907"/>
                  </a:lnTo>
                  <a:lnTo>
                    <a:pt x="24" y="913"/>
                  </a:lnTo>
                  <a:lnTo>
                    <a:pt x="21" y="919"/>
                  </a:lnTo>
                  <a:lnTo>
                    <a:pt x="13" y="921"/>
                  </a:lnTo>
                  <a:lnTo>
                    <a:pt x="5" y="926"/>
                  </a:lnTo>
                  <a:lnTo>
                    <a:pt x="3" y="934"/>
                  </a:lnTo>
                  <a:lnTo>
                    <a:pt x="7" y="944"/>
                  </a:lnTo>
                  <a:lnTo>
                    <a:pt x="7" y="957"/>
                  </a:lnTo>
                  <a:lnTo>
                    <a:pt x="3" y="963"/>
                  </a:lnTo>
                  <a:lnTo>
                    <a:pt x="0" y="974"/>
                  </a:lnTo>
                  <a:lnTo>
                    <a:pt x="1" y="984"/>
                  </a:lnTo>
                  <a:lnTo>
                    <a:pt x="1" y="990"/>
                  </a:lnTo>
                  <a:lnTo>
                    <a:pt x="5" y="992"/>
                  </a:lnTo>
                  <a:lnTo>
                    <a:pt x="11" y="990"/>
                  </a:lnTo>
                  <a:lnTo>
                    <a:pt x="15" y="986"/>
                  </a:lnTo>
                  <a:lnTo>
                    <a:pt x="19" y="988"/>
                  </a:lnTo>
                  <a:lnTo>
                    <a:pt x="23" y="996"/>
                  </a:lnTo>
                  <a:lnTo>
                    <a:pt x="23" y="1001"/>
                  </a:lnTo>
                  <a:lnTo>
                    <a:pt x="19" y="1007"/>
                  </a:lnTo>
                  <a:lnTo>
                    <a:pt x="17" y="1011"/>
                  </a:lnTo>
                  <a:lnTo>
                    <a:pt x="17" y="1019"/>
                  </a:lnTo>
                  <a:lnTo>
                    <a:pt x="21" y="1026"/>
                  </a:lnTo>
                  <a:lnTo>
                    <a:pt x="28" y="1036"/>
                  </a:lnTo>
                  <a:lnTo>
                    <a:pt x="44" y="1051"/>
                  </a:lnTo>
                  <a:lnTo>
                    <a:pt x="49" y="1049"/>
                  </a:lnTo>
                  <a:lnTo>
                    <a:pt x="92" y="1049"/>
                  </a:lnTo>
                  <a:lnTo>
                    <a:pt x="109" y="1051"/>
                  </a:lnTo>
                  <a:lnTo>
                    <a:pt x="119" y="1053"/>
                  </a:lnTo>
                  <a:lnTo>
                    <a:pt x="117" y="1040"/>
                  </a:lnTo>
                  <a:lnTo>
                    <a:pt x="101" y="1040"/>
                  </a:lnTo>
                  <a:lnTo>
                    <a:pt x="107" y="1030"/>
                  </a:lnTo>
                  <a:lnTo>
                    <a:pt x="107" y="1015"/>
                  </a:lnTo>
                  <a:lnTo>
                    <a:pt x="109" y="1001"/>
                  </a:lnTo>
                  <a:lnTo>
                    <a:pt x="113" y="997"/>
                  </a:lnTo>
                  <a:lnTo>
                    <a:pt x="120" y="996"/>
                  </a:lnTo>
                  <a:lnTo>
                    <a:pt x="124" y="994"/>
                  </a:lnTo>
                  <a:lnTo>
                    <a:pt x="120" y="988"/>
                  </a:lnTo>
                  <a:lnTo>
                    <a:pt x="119" y="986"/>
                  </a:lnTo>
                  <a:lnTo>
                    <a:pt x="113" y="982"/>
                  </a:lnTo>
                  <a:lnTo>
                    <a:pt x="115" y="976"/>
                  </a:lnTo>
                  <a:lnTo>
                    <a:pt x="117" y="972"/>
                  </a:lnTo>
                  <a:lnTo>
                    <a:pt x="117" y="967"/>
                  </a:lnTo>
                  <a:lnTo>
                    <a:pt x="124" y="974"/>
                  </a:lnTo>
                  <a:lnTo>
                    <a:pt x="124" y="982"/>
                  </a:lnTo>
                  <a:lnTo>
                    <a:pt x="132" y="980"/>
                  </a:lnTo>
                  <a:lnTo>
                    <a:pt x="138" y="978"/>
                  </a:lnTo>
                  <a:lnTo>
                    <a:pt x="143" y="978"/>
                  </a:lnTo>
                  <a:lnTo>
                    <a:pt x="147" y="946"/>
                  </a:lnTo>
                  <a:lnTo>
                    <a:pt x="165" y="923"/>
                  </a:lnTo>
                  <a:lnTo>
                    <a:pt x="193" y="901"/>
                  </a:lnTo>
                  <a:lnTo>
                    <a:pt x="186" y="890"/>
                  </a:lnTo>
                  <a:lnTo>
                    <a:pt x="188" y="878"/>
                  </a:lnTo>
                  <a:lnTo>
                    <a:pt x="182" y="867"/>
                  </a:lnTo>
                  <a:lnTo>
                    <a:pt x="167" y="867"/>
                  </a:lnTo>
                  <a:lnTo>
                    <a:pt x="165" y="865"/>
                  </a:lnTo>
                  <a:lnTo>
                    <a:pt x="161" y="859"/>
                  </a:lnTo>
                  <a:lnTo>
                    <a:pt x="159" y="855"/>
                  </a:lnTo>
                  <a:lnTo>
                    <a:pt x="143" y="840"/>
                  </a:lnTo>
                  <a:lnTo>
                    <a:pt x="145" y="828"/>
                  </a:lnTo>
                  <a:lnTo>
                    <a:pt x="159" y="813"/>
                  </a:lnTo>
                  <a:lnTo>
                    <a:pt x="178" y="790"/>
                  </a:lnTo>
                  <a:lnTo>
                    <a:pt x="186" y="790"/>
                  </a:lnTo>
                  <a:lnTo>
                    <a:pt x="191" y="794"/>
                  </a:lnTo>
                  <a:lnTo>
                    <a:pt x="197" y="794"/>
                  </a:lnTo>
                  <a:lnTo>
                    <a:pt x="197" y="782"/>
                  </a:lnTo>
                  <a:lnTo>
                    <a:pt x="195" y="782"/>
                  </a:lnTo>
                  <a:lnTo>
                    <a:pt x="193" y="778"/>
                  </a:lnTo>
                  <a:lnTo>
                    <a:pt x="193" y="775"/>
                  </a:lnTo>
                  <a:lnTo>
                    <a:pt x="197" y="773"/>
                  </a:lnTo>
                  <a:lnTo>
                    <a:pt x="201" y="773"/>
                  </a:lnTo>
                  <a:lnTo>
                    <a:pt x="205" y="771"/>
                  </a:lnTo>
                  <a:lnTo>
                    <a:pt x="205" y="738"/>
                  </a:lnTo>
                  <a:lnTo>
                    <a:pt x="209" y="725"/>
                  </a:lnTo>
                  <a:lnTo>
                    <a:pt x="216" y="721"/>
                  </a:lnTo>
                  <a:lnTo>
                    <a:pt x="224" y="719"/>
                  </a:lnTo>
                  <a:lnTo>
                    <a:pt x="226" y="713"/>
                  </a:lnTo>
                  <a:lnTo>
                    <a:pt x="213" y="709"/>
                  </a:lnTo>
                  <a:lnTo>
                    <a:pt x="214" y="707"/>
                  </a:lnTo>
                  <a:lnTo>
                    <a:pt x="216" y="703"/>
                  </a:lnTo>
                  <a:lnTo>
                    <a:pt x="216" y="702"/>
                  </a:lnTo>
                  <a:lnTo>
                    <a:pt x="220" y="703"/>
                  </a:lnTo>
                  <a:lnTo>
                    <a:pt x="226" y="702"/>
                  </a:lnTo>
                  <a:lnTo>
                    <a:pt x="232" y="702"/>
                  </a:lnTo>
                  <a:lnTo>
                    <a:pt x="236" y="707"/>
                  </a:lnTo>
                  <a:lnTo>
                    <a:pt x="238" y="713"/>
                  </a:lnTo>
                  <a:lnTo>
                    <a:pt x="247" y="709"/>
                  </a:lnTo>
                  <a:lnTo>
                    <a:pt x="249" y="703"/>
                  </a:lnTo>
                  <a:lnTo>
                    <a:pt x="247" y="698"/>
                  </a:lnTo>
                  <a:lnTo>
                    <a:pt x="247" y="690"/>
                  </a:lnTo>
                  <a:lnTo>
                    <a:pt x="239" y="694"/>
                  </a:lnTo>
                  <a:lnTo>
                    <a:pt x="226" y="694"/>
                  </a:lnTo>
                  <a:lnTo>
                    <a:pt x="222" y="692"/>
                  </a:lnTo>
                  <a:lnTo>
                    <a:pt x="216" y="690"/>
                  </a:lnTo>
                  <a:lnTo>
                    <a:pt x="216" y="671"/>
                  </a:lnTo>
                  <a:lnTo>
                    <a:pt x="214" y="669"/>
                  </a:lnTo>
                  <a:lnTo>
                    <a:pt x="205" y="667"/>
                  </a:lnTo>
                  <a:lnTo>
                    <a:pt x="207" y="659"/>
                  </a:lnTo>
                  <a:lnTo>
                    <a:pt x="211" y="650"/>
                  </a:lnTo>
                  <a:lnTo>
                    <a:pt x="213" y="640"/>
                  </a:lnTo>
                  <a:lnTo>
                    <a:pt x="218" y="642"/>
                  </a:lnTo>
                  <a:lnTo>
                    <a:pt x="222" y="642"/>
                  </a:lnTo>
                  <a:lnTo>
                    <a:pt x="228" y="644"/>
                  </a:lnTo>
                  <a:lnTo>
                    <a:pt x="230" y="648"/>
                  </a:lnTo>
                  <a:lnTo>
                    <a:pt x="230" y="652"/>
                  </a:lnTo>
                  <a:lnTo>
                    <a:pt x="232" y="655"/>
                  </a:lnTo>
                  <a:lnTo>
                    <a:pt x="247" y="657"/>
                  </a:lnTo>
                  <a:lnTo>
                    <a:pt x="255" y="655"/>
                  </a:lnTo>
                  <a:lnTo>
                    <a:pt x="266" y="648"/>
                  </a:lnTo>
                  <a:lnTo>
                    <a:pt x="274" y="644"/>
                  </a:lnTo>
                  <a:lnTo>
                    <a:pt x="278" y="640"/>
                  </a:lnTo>
                  <a:lnTo>
                    <a:pt x="278" y="628"/>
                  </a:lnTo>
                  <a:lnTo>
                    <a:pt x="280" y="607"/>
                  </a:lnTo>
                  <a:lnTo>
                    <a:pt x="282" y="592"/>
                  </a:lnTo>
                  <a:lnTo>
                    <a:pt x="278" y="588"/>
                  </a:lnTo>
                  <a:lnTo>
                    <a:pt x="272" y="586"/>
                  </a:lnTo>
                  <a:lnTo>
                    <a:pt x="270" y="582"/>
                  </a:lnTo>
                  <a:lnTo>
                    <a:pt x="270" y="577"/>
                  </a:lnTo>
                  <a:lnTo>
                    <a:pt x="272" y="573"/>
                  </a:lnTo>
                  <a:lnTo>
                    <a:pt x="274" y="567"/>
                  </a:lnTo>
                  <a:lnTo>
                    <a:pt x="278" y="571"/>
                  </a:lnTo>
                  <a:lnTo>
                    <a:pt x="282" y="577"/>
                  </a:lnTo>
                  <a:lnTo>
                    <a:pt x="286" y="579"/>
                  </a:lnTo>
                  <a:lnTo>
                    <a:pt x="289" y="579"/>
                  </a:lnTo>
                  <a:lnTo>
                    <a:pt x="293" y="573"/>
                  </a:lnTo>
                  <a:lnTo>
                    <a:pt x="297" y="573"/>
                  </a:lnTo>
                  <a:lnTo>
                    <a:pt x="328" y="567"/>
                  </a:lnTo>
                  <a:lnTo>
                    <a:pt x="353" y="563"/>
                  </a:lnTo>
                  <a:lnTo>
                    <a:pt x="378" y="552"/>
                  </a:lnTo>
                  <a:lnTo>
                    <a:pt x="395" y="534"/>
                  </a:lnTo>
                  <a:lnTo>
                    <a:pt x="405" y="511"/>
                  </a:lnTo>
                  <a:lnTo>
                    <a:pt x="412" y="482"/>
                  </a:lnTo>
                  <a:lnTo>
                    <a:pt x="405" y="482"/>
                  </a:lnTo>
                  <a:lnTo>
                    <a:pt x="397" y="481"/>
                  </a:lnTo>
                  <a:lnTo>
                    <a:pt x="393" y="477"/>
                  </a:lnTo>
                  <a:lnTo>
                    <a:pt x="393" y="467"/>
                  </a:lnTo>
                  <a:lnTo>
                    <a:pt x="395" y="459"/>
                  </a:lnTo>
                  <a:lnTo>
                    <a:pt x="397" y="454"/>
                  </a:lnTo>
                  <a:lnTo>
                    <a:pt x="391" y="444"/>
                  </a:lnTo>
                  <a:lnTo>
                    <a:pt x="374" y="427"/>
                  </a:lnTo>
                  <a:lnTo>
                    <a:pt x="370" y="419"/>
                  </a:lnTo>
                  <a:lnTo>
                    <a:pt x="364" y="406"/>
                  </a:lnTo>
                  <a:lnTo>
                    <a:pt x="362" y="400"/>
                  </a:lnTo>
                  <a:lnTo>
                    <a:pt x="366" y="396"/>
                  </a:lnTo>
                  <a:lnTo>
                    <a:pt x="366" y="381"/>
                  </a:lnTo>
                  <a:lnTo>
                    <a:pt x="368" y="375"/>
                  </a:lnTo>
                  <a:lnTo>
                    <a:pt x="370" y="373"/>
                  </a:lnTo>
                  <a:lnTo>
                    <a:pt x="368" y="367"/>
                  </a:lnTo>
                  <a:lnTo>
                    <a:pt x="374" y="361"/>
                  </a:lnTo>
                  <a:lnTo>
                    <a:pt x="374" y="358"/>
                  </a:lnTo>
                  <a:lnTo>
                    <a:pt x="376" y="352"/>
                  </a:lnTo>
                  <a:lnTo>
                    <a:pt x="374" y="346"/>
                  </a:lnTo>
                  <a:lnTo>
                    <a:pt x="376" y="340"/>
                  </a:lnTo>
                  <a:lnTo>
                    <a:pt x="378" y="333"/>
                  </a:lnTo>
                  <a:lnTo>
                    <a:pt x="380" y="323"/>
                  </a:lnTo>
                  <a:lnTo>
                    <a:pt x="381" y="315"/>
                  </a:lnTo>
                  <a:lnTo>
                    <a:pt x="385" y="311"/>
                  </a:lnTo>
                  <a:lnTo>
                    <a:pt x="385" y="292"/>
                  </a:lnTo>
                  <a:lnTo>
                    <a:pt x="389" y="286"/>
                  </a:lnTo>
                  <a:lnTo>
                    <a:pt x="391" y="284"/>
                  </a:lnTo>
                  <a:lnTo>
                    <a:pt x="393" y="281"/>
                  </a:lnTo>
                  <a:lnTo>
                    <a:pt x="395" y="271"/>
                  </a:lnTo>
                  <a:lnTo>
                    <a:pt x="395" y="265"/>
                  </a:lnTo>
                  <a:lnTo>
                    <a:pt x="399" y="260"/>
                  </a:lnTo>
                  <a:lnTo>
                    <a:pt x="403" y="258"/>
                  </a:lnTo>
                  <a:lnTo>
                    <a:pt x="412" y="248"/>
                  </a:lnTo>
                  <a:lnTo>
                    <a:pt x="416" y="240"/>
                  </a:lnTo>
                  <a:lnTo>
                    <a:pt x="416" y="233"/>
                  </a:lnTo>
                  <a:lnTo>
                    <a:pt x="420" y="227"/>
                  </a:lnTo>
                  <a:lnTo>
                    <a:pt x="428" y="225"/>
                  </a:lnTo>
                  <a:lnTo>
                    <a:pt x="433" y="219"/>
                  </a:lnTo>
                  <a:lnTo>
                    <a:pt x="435" y="215"/>
                  </a:lnTo>
                  <a:lnTo>
                    <a:pt x="439" y="213"/>
                  </a:lnTo>
                  <a:lnTo>
                    <a:pt x="445" y="210"/>
                  </a:lnTo>
                  <a:lnTo>
                    <a:pt x="451" y="204"/>
                  </a:lnTo>
                  <a:lnTo>
                    <a:pt x="454" y="198"/>
                  </a:lnTo>
                  <a:lnTo>
                    <a:pt x="456" y="192"/>
                  </a:lnTo>
                  <a:lnTo>
                    <a:pt x="462" y="188"/>
                  </a:lnTo>
                  <a:lnTo>
                    <a:pt x="472" y="185"/>
                  </a:lnTo>
                  <a:lnTo>
                    <a:pt x="477" y="183"/>
                  </a:lnTo>
                  <a:lnTo>
                    <a:pt x="481" y="179"/>
                  </a:lnTo>
                  <a:lnTo>
                    <a:pt x="487" y="175"/>
                  </a:lnTo>
                  <a:lnTo>
                    <a:pt x="487" y="156"/>
                  </a:lnTo>
                  <a:lnTo>
                    <a:pt x="485" y="146"/>
                  </a:lnTo>
                  <a:lnTo>
                    <a:pt x="485" y="125"/>
                  </a:lnTo>
                  <a:lnTo>
                    <a:pt x="481" y="123"/>
                  </a:lnTo>
                  <a:lnTo>
                    <a:pt x="477" y="123"/>
                  </a:lnTo>
                  <a:lnTo>
                    <a:pt x="476" y="125"/>
                  </a:lnTo>
                  <a:lnTo>
                    <a:pt x="474" y="129"/>
                  </a:lnTo>
                  <a:lnTo>
                    <a:pt x="462" y="123"/>
                  </a:lnTo>
                  <a:lnTo>
                    <a:pt x="460" y="125"/>
                  </a:lnTo>
                  <a:lnTo>
                    <a:pt x="458" y="131"/>
                  </a:lnTo>
                  <a:lnTo>
                    <a:pt x="458" y="137"/>
                  </a:lnTo>
                  <a:lnTo>
                    <a:pt x="460" y="144"/>
                  </a:lnTo>
                  <a:lnTo>
                    <a:pt x="460" y="154"/>
                  </a:lnTo>
                  <a:lnTo>
                    <a:pt x="456" y="162"/>
                  </a:lnTo>
                  <a:lnTo>
                    <a:pt x="451" y="165"/>
                  </a:lnTo>
                  <a:lnTo>
                    <a:pt x="447" y="171"/>
                  </a:lnTo>
                  <a:lnTo>
                    <a:pt x="443" y="175"/>
                  </a:lnTo>
                  <a:lnTo>
                    <a:pt x="443" y="181"/>
                  </a:lnTo>
                  <a:lnTo>
                    <a:pt x="441" y="181"/>
                  </a:lnTo>
                  <a:lnTo>
                    <a:pt x="441" y="183"/>
                  </a:lnTo>
                  <a:lnTo>
                    <a:pt x="426" y="183"/>
                  </a:lnTo>
                  <a:lnTo>
                    <a:pt x="420" y="181"/>
                  </a:lnTo>
                  <a:lnTo>
                    <a:pt x="405" y="181"/>
                  </a:lnTo>
                  <a:lnTo>
                    <a:pt x="399" y="183"/>
                  </a:lnTo>
                  <a:lnTo>
                    <a:pt x="395" y="181"/>
                  </a:lnTo>
                  <a:lnTo>
                    <a:pt x="389" y="179"/>
                  </a:lnTo>
                  <a:lnTo>
                    <a:pt x="381" y="175"/>
                  </a:lnTo>
                  <a:lnTo>
                    <a:pt x="370" y="175"/>
                  </a:lnTo>
                  <a:lnTo>
                    <a:pt x="366" y="177"/>
                  </a:lnTo>
                  <a:lnTo>
                    <a:pt x="362" y="175"/>
                  </a:lnTo>
                  <a:lnTo>
                    <a:pt x="362" y="171"/>
                  </a:lnTo>
                  <a:lnTo>
                    <a:pt x="366" y="163"/>
                  </a:lnTo>
                  <a:lnTo>
                    <a:pt x="378" y="148"/>
                  </a:lnTo>
                  <a:lnTo>
                    <a:pt x="381" y="140"/>
                  </a:lnTo>
                  <a:lnTo>
                    <a:pt x="383" y="133"/>
                  </a:lnTo>
                  <a:lnTo>
                    <a:pt x="383" y="125"/>
                  </a:lnTo>
                  <a:lnTo>
                    <a:pt x="385" y="119"/>
                  </a:lnTo>
                  <a:lnTo>
                    <a:pt x="381" y="113"/>
                  </a:lnTo>
                  <a:lnTo>
                    <a:pt x="374" y="108"/>
                  </a:lnTo>
                  <a:lnTo>
                    <a:pt x="370" y="100"/>
                  </a:lnTo>
                  <a:lnTo>
                    <a:pt x="366" y="94"/>
                  </a:lnTo>
                  <a:lnTo>
                    <a:pt x="358" y="90"/>
                  </a:lnTo>
                  <a:lnTo>
                    <a:pt x="357" y="87"/>
                  </a:lnTo>
                  <a:lnTo>
                    <a:pt x="351" y="85"/>
                  </a:lnTo>
                  <a:lnTo>
                    <a:pt x="345" y="85"/>
                  </a:lnTo>
                  <a:lnTo>
                    <a:pt x="339" y="79"/>
                  </a:lnTo>
                  <a:lnTo>
                    <a:pt x="333" y="71"/>
                  </a:lnTo>
                  <a:lnTo>
                    <a:pt x="330" y="67"/>
                  </a:lnTo>
                  <a:lnTo>
                    <a:pt x="324" y="67"/>
                  </a:lnTo>
                  <a:lnTo>
                    <a:pt x="318" y="64"/>
                  </a:lnTo>
                  <a:lnTo>
                    <a:pt x="316" y="56"/>
                  </a:lnTo>
                  <a:lnTo>
                    <a:pt x="310" y="44"/>
                  </a:lnTo>
                  <a:lnTo>
                    <a:pt x="307" y="40"/>
                  </a:lnTo>
                  <a:lnTo>
                    <a:pt x="303" y="39"/>
                  </a:lnTo>
                  <a:lnTo>
                    <a:pt x="297" y="35"/>
                  </a:lnTo>
                  <a:lnTo>
                    <a:pt x="295" y="31"/>
                  </a:lnTo>
                  <a:lnTo>
                    <a:pt x="293" y="25"/>
                  </a:lnTo>
                  <a:lnTo>
                    <a:pt x="286" y="14"/>
                  </a:lnTo>
                  <a:lnTo>
                    <a:pt x="272" y="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3" name="Freeform 298"/>
            <p:cNvSpPr>
              <a:spLocks/>
            </p:cNvSpPr>
            <p:nvPr/>
          </p:nvSpPr>
          <p:spPr bwMode="gray">
            <a:xfrm>
              <a:off x="2171" y="3661"/>
              <a:ext cx="42" cy="40"/>
            </a:xfrm>
            <a:custGeom>
              <a:avLst/>
              <a:gdLst>
                <a:gd name="T0" fmla="*/ 0 w 84"/>
                <a:gd name="T1" fmla="*/ 0 h 81"/>
                <a:gd name="T2" fmla="*/ 4 w 84"/>
                <a:gd name="T3" fmla="*/ 75 h 81"/>
                <a:gd name="T4" fmla="*/ 6 w 84"/>
                <a:gd name="T5" fmla="*/ 75 h 81"/>
                <a:gd name="T6" fmla="*/ 13 w 84"/>
                <a:gd name="T7" fmla="*/ 73 h 81"/>
                <a:gd name="T8" fmla="*/ 23 w 84"/>
                <a:gd name="T9" fmla="*/ 75 h 81"/>
                <a:gd name="T10" fmla="*/ 44 w 84"/>
                <a:gd name="T11" fmla="*/ 77 h 81"/>
                <a:gd name="T12" fmla="*/ 71 w 84"/>
                <a:gd name="T13" fmla="*/ 79 h 81"/>
                <a:gd name="T14" fmla="*/ 84 w 84"/>
                <a:gd name="T15" fmla="*/ 81 h 81"/>
                <a:gd name="T16" fmla="*/ 82 w 84"/>
                <a:gd name="T17" fmla="*/ 77 h 81"/>
                <a:gd name="T18" fmla="*/ 82 w 84"/>
                <a:gd name="T19" fmla="*/ 73 h 81"/>
                <a:gd name="T20" fmla="*/ 80 w 84"/>
                <a:gd name="T21" fmla="*/ 69 h 81"/>
                <a:gd name="T22" fmla="*/ 71 w 84"/>
                <a:gd name="T23" fmla="*/ 67 h 81"/>
                <a:gd name="T24" fmla="*/ 59 w 84"/>
                <a:gd name="T25" fmla="*/ 67 h 81"/>
                <a:gd name="T26" fmla="*/ 50 w 84"/>
                <a:gd name="T27" fmla="*/ 66 h 81"/>
                <a:gd name="T28" fmla="*/ 11 w 84"/>
                <a:gd name="T29" fmla="*/ 31 h 81"/>
                <a:gd name="T30" fmla="*/ 9 w 84"/>
                <a:gd name="T31" fmla="*/ 21 h 81"/>
                <a:gd name="T32" fmla="*/ 11 w 84"/>
                <a:gd name="T33" fmla="*/ 10 h 81"/>
                <a:gd name="T34" fmla="*/ 11 w 84"/>
                <a:gd name="T35" fmla="*/ 4 h 81"/>
                <a:gd name="T36" fmla="*/ 4 w 84"/>
                <a:gd name="T37" fmla="*/ 0 h 81"/>
                <a:gd name="T38" fmla="*/ 0 w 84"/>
                <a:gd name="T39" fmla="*/ 0 h 8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4"/>
                <a:gd name="T61" fmla="*/ 0 h 81"/>
                <a:gd name="T62" fmla="*/ 84 w 84"/>
                <a:gd name="T63" fmla="*/ 81 h 8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4" h="81">
                  <a:moveTo>
                    <a:pt x="0" y="0"/>
                  </a:moveTo>
                  <a:lnTo>
                    <a:pt x="4" y="75"/>
                  </a:lnTo>
                  <a:lnTo>
                    <a:pt x="6" y="75"/>
                  </a:lnTo>
                  <a:lnTo>
                    <a:pt x="13" y="73"/>
                  </a:lnTo>
                  <a:lnTo>
                    <a:pt x="23" y="75"/>
                  </a:lnTo>
                  <a:lnTo>
                    <a:pt x="44" y="77"/>
                  </a:lnTo>
                  <a:lnTo>
                    <a:pt x="71" y="79"/>
                  </a:lnTo>
                  <a:lnTo>
                    <a:pt x="84" y="81"/>
                  </a:lnTo>
                  <a:lnTo>
                    <a:pt x="82" y="77"/>
                  </a:lnTo>
                  <a:lnTo>
                    <a:pt x="82" y="73"/>
                  </a:lnTo>
                  <a:lnTo>
                    <a:pt x="80" y="69"/>
                  </a:lnTo>
                  <a:lnTo>
                    <a:pt x="71" y="67"/>
                  </a:lnTo>
                  <a:lnTo>
                    <a:pt x="59" y="67"/>
                  </a:lnTo>
                  <a:lnTo>
                    <a:pt x="50" y="66"/>
                  </a:lnTo>
                  <a:lnTo>
                    <a:pt x="11" y="31"/>
                  </a:lnTo>
                  <a:lnTo>
                    <a:pt x="9" y="21"/>
                  </a:lnTo>
                  <a:lnTo>
                    <a:pt x="11" y="10"/>
                  </a:lnTo>
                  <a:lnTo>
                    <a:pt x="11" y="4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4" name="Freeform 299"/>
            <p:cNvSpPr>
              <a:spLocks noEditPoints="1"/>
            </p:cNvSpPr>
            <p:nvPr/>
          </p:nvSpPr>
          <p:spPr bwMode="gray">
            <a:xfrm>
              <a:off x="3172" y="2842"/>
              <a:ext cx="162" cy="221"/>
            </a:xfrm>
            <a:custGeom>
              <a:avLst/>
              <a:gdLst>
                <a:gd name="T0" fmla="*/ 30 w 324"/>
                <a:gd name="T1" fmla="*/ 25 h 442"/>
                <a:gd name="T2" fmla="*/ 36 w 324"/>
                <a:gd name="T3" fmla="*/ 11 h 442"/>
                <a:gd name="T4" fmla="*/ 34 w 324"/>
                <a:gd name="T5" fmla="*/ 0 h 442"/>
                <a:gd name="T6" fmla="*/ 27 w 324"/>
                <a:gd name="T7" fmla="*/ 8 h 442"/>
                <a:gd name="T8" fmla="*/ 7 w 324"/>
                <a:gd name="T9" fmla="*/ 13 h 442"/>
                <a:gd name="T10" fmla="*/ 13 w 324"/>
                <a:gd name="T11" fmla="*/ 34 h 442"/>
                <a:gd name="T12" fmla="*/ 25 w 324"/>
                <a:gd name="T13" fmla="*/ 65 h 442"/>
                <a:gd name="T14" fmla="*/ 48 w 324"/>
                <a:gd name="T15" fmla="*/ 50 h 442"/>
                <a:gd name="T16" fmla="*/ 82 w 324"/>
                <a:gd name="T17" fmla="*/ 48 h 442"/>
                <a:gd name="T18" fmla="*/ 153 w 324"/>
                <a:gd name="T19" fmla="*/ 58 h 442"/>
                <a:gd name="T20" fmla="*/ 155 w 324"/>
                <a:gd name="T21" fmla="*/ 73 h 442"/>
                <a:gd name="T22" fmla="*/ 161 w 324"/>
                <a:gd name="T23" fmla="*/ 100 h 442"/>
                <a:gd name="T24" fmla="*/ 184 w 324"/>
                <a:gd name="T25" fmla="*/ 117 h 442"/>
                <a:gd name="T26" fmla="*/ 197 w 324"/>
                <a:gd name="T27" fmla="*/ 109 h 442"/>
                <a:gd name="T28" fmla="*/ 207 w 324"/>
                <a:gd name="T29" fmla="*/ 106 h 442"/>
                <a:gd name="T30" fmla="*/ 207 w 324"/>
                <a:gd name="T31" fmla="*/ 88 h 442"/>
                <a:gd name="T32" fmla="*/ 222 w 324"/>
                <a:gd name="T33" fmla="*/ 86 h 442"/>
                <a:gd name="T34" fmla="*/ 238 w 324"/>
                <a:gd name="T35" fmla="*/ 88 h 442"/>
                <a:gd name="T36" fmla="*/ 253 w 324"/>
                <a:gd name="T37" fmla="*/ 96 h 442"/>
                <a:gd name="T38" fmla="*/ 259 w 324"/>
                <a:gd name="T39" fmla="*/ 115 h 442"/>
                <a:gd name="T40" fmla="*/ 266 w 324"/>
                <a:gd name="T41" fmla="*/ 144 h 442"/>
                <a:gd name="T42" fmla="*/ 270 w 324"/>
                <a:gd name="T43" fmla="*/ 161 h 442"/>
                <a:gd name="T44" fmla="*/ 278 w 324"/>
                <a:gd name="T45" fmla="*/ 175 h 442"/>
                <a:gd name="T46" fmla="*/ 274 w 324"/>
                <a:gd name="T47" fmla="*/ 188 h 442"/>
                <a:gd name="T48" fmla="*/ 280 w 324"/>
                <a:gd name="T49" fmla="*/ 211 h 442"/>
                <a:gd name="T50" fmla="*/ 291 w 324"/>
                <a:gd name="T51" fmla="*/ 211 h 442"/>
                <a:gd name="T52" fmla="*/ 303 w 324"/>
                <a:gd name="T53" fmla="*/ 211 h 442"/>
                <a:gd name="T54" fmla="*/ 324 w 324"/>
                <a:gd name="T55" fmla="*/ 229 h 442"/>
                <a:gd name="T56" fmla="*/ 320 w 324"/>
                <a:gd name="T57" fmla="*/ 248 h 442"/>
                <a:gd name="T58" fmla="*/ 265 w 324"/>
                <a:gd name="T59" fmla="*/ 378 h 442"/>
                <a:gd name="T60" fmla="*/ 272 w 324"/>
                <a:gd name="T61" fmla="*/ 400 h 442"/>
                <a:gd name="T62" fmla="*/ 291 w 324"/>
                <a:gd name="T63" fmla="*/ 430 h 442"/>
                <a:gd name="T64" fmla="*/ 238 w 324"/>
                <a:gd name="T65" fmla="*/ 442 h 442"/>
                <a:gd name="T66" fmla="*/ 217 w 324"/>
                <a:gd name="T67" fmla="*/ 438 h 442"/>
                <a:gd name="T68" fmla="*/ 203 w 324"/>
                <a:gd name="T69" fmla="*/ 438 h 442"/>
                <a:gd name="T70" fmla="*/ 182 w 324"/>
                <a:gd name="T71" fmla="*/ 430 h 442"/>
                <a:gd name="T72" fmla="*/ 169 w 324"/>
                <a:gd name="T73" fmla="*/ 419 h 442"/>
                <a:gd name="T74" fmla="*/ 50 w 324"/>
                <a:gd name="T75" fmla="*/ 405 h 442"/>
                <a:gd name="T76" fmla="*/ 36 w 324"/>
                <a:gd name="T77" fmla="*/ 413 h 442"/>
                <a:gd name="T78" fmla="*/ 2 w 324"/>
                <a:gd name="T79" fmla="*/ 417 h 442"/>
                <a:gd name="T80" fmla="*/ 2 w 324"/>
                <a:gd name="T81" fmla="*/ 363 h 442"/>
                <a:gd name="T82" fmla="*/ 21 w 324"/>
                <a:gd name="T83" fmla="*/ 332 h 442"/>
                <a:gd name="T84" fmla="*/ 27 w 324"/>
                <a:gd name="T85" fmla="*/ 288 h 442"/>
                <a:gd name="T86" fmla="*/ 36 w 324"/>
                <a:gd name="T87" fmla="*/ 275 h 442"/>
                <a:gd name="T88" fmla="*/ 51 w 324"/>
                <a:gd name="T89" fmla="*/ 255 h 442"/>
                <a:gd name="T90" fmla="*/ 48 w 324"/>
                <a:gd name="T91" fmla="*/ 194 h 442"/>
                <a:gd name="T92" fmla="*/ 40 w 324"/>
                <a:gd name="T93" fmla="*/ 190 h 442"/>
                <a:gd name="T94" fmla="*/ 48 w 324"/>
                <a:gd name="T95" fmla="*/ 136 h 442"/>
                <a:gd name="T96" fmla="*/ 36 w 324"/>
                <a:gd name="T97" fmla="*/ 94 h 442"/>
                <a:gd name="T98" fmla="*/ 23 w 324"/>
                <a:gd name="T99" fmla="*/ 79 h 44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24"/>
                <a:gd name="T151" fmla="*/ 0 h 442"/>
                <a:gd name="T152" fmla="*/ 324 w 324"/>
                <a:gd name="T153" fmla="*/ 442 h 44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24" h="442">
                  <a:moveTo>
                    <a:pt x="11" y="36"/>
                  </a:moveTo>
                  <a:lnTo>
                    <a:pt x="32" y="25"/>
                  </a:lnTo>
                  <a:lnTo>
                    <a:pt x="30" y="25"/>
                  </a:lnTo>
                  <a:lnTo>
                    <a:pt x="30" y="23"/>
                  </a:lnTo>
                  <a:lnTo>
                    <a:pt x="32" y="17"/>
                  </a:lnTo>
                  <a:lnTo>
                    <a:pt x="36" y="11"/>
                  </a:lnTo>
                  <a:lnTo>
                    <a:pt x="40" y="4"/>
                  </a:lnTo>
                  <a:lnTo>
                    <a:pt x="38" y="2"/>
                  </a:lnTo>
                  <a:lnTo>
                    <a:pt x="34" y="0"/>
                  </a:lnTo>
                  <a:lnTo>
                    <a:pt x="28" y="2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3" y="8"/>
                  </a:lnTo>
                  <a:lnTo>
                    <a:pt x="13" y="9"/>
                  </a:lnTo>
                  <a:lnTo>
                    <a:pt x="7" y="13"/>
                  </a:lnTo>
                  <a:lnTo>
                    <a:pt x="5" y="15"/>
                  </a:lnTo>
                  <a:lnTo>
                    <a:pt x="13" y="29"/>
                  </a:lnTo>
                  <a:lnTo>
                    <a:pt x="13" y="34"/>
                  </a:lnTo>
                  <a:lnTo>
                    <a:pt x="11" y="36"/>
                  </a:lnTo>
                  <a:close/>
                  <a:moveTo>
                    <a:pt x="21" y="67"/>
                  </a:moveTo>
                  <a:lnTo>
                    <a:pt x="25" y="65"/>
                  </a:lnTo>
                  <a:lnTo>
                    <a:pt x="34" y="61"/>
                  </a:lnTo>
                  <a:lnTo>
                    <a:pt x="42" y="56"/>
                  </a:lnTo>
                  <a:lnTo>
                    <a:pt x="48" y="50"/>
                  </a:lnTo>
                  <a:lnTo>
                    <a:pt x="57" y="46"/>
                  </a:lnTo>
                  <a:lnTo>
                    <a:pt x="69" y="46"/>
                  </a:lnTo>
                  <a:lnTo>
                    <a:pt x="82" y="48"/>
                  </a:lnTo>
                  <a:lnTo>
                    <a:pt x="149" y="48"/>
                  </a:lnTo>
                  <a:lnTo>
                    <a:pt x="151" y="52"/>
                  </a:lnTo>
                  <a:lnTo>
                    <a:pt x="153" y="58"/>
                  </a:lnTo>
                  <a:lnTo>
                    <a:pt x="155" y="65"/>
                  </a:lnTo>
                  <a:lnTo>
                    <a:pt x="157" y="69"/>
                  </a:lnTo>
                  <a:lnTo>
                    <a:pt x="155" y="73"/>
                  </a:lnTo>
                  <a:lnTo>
                    <a:pt x="159" y="84"/>
                  </a:lnTo>
                  <a:lnTo>
                    <a:pt x="159" y="90"/>
                  </a:lnTo>
                  <a:lnTo>
                    <a:pt x="161" y="100"/>
                  </a:lnTo>
                  <a:lnTo>
                    <a:pt x="161" y="106"/>
                  </a:lnTo>
                  <a:lnTo>
                    <a:pt x="172" y="117"/>
                  </a:lnTo>
                  <a:lnTo>
                    <a:pt x="184" y="117"/>
                  </a:lnTo>
                  <a:lnTo>
                    <a:pt x="190" y="113"/>
                  </a:lnTo>
                  <a:lnTo>
                    <a:pt x="193" y="109"/>
                  </a:lnTo>
                  <a:lnTo>
                    <a:pt x="197" y="109"/>
                  </a:lnTo>
                  <a:lnTo>
                    <a:pt x="203" y="111"/>
                  </a:lnTo>
                  <a:lnTo>
                    <a:pt x="207" y="109"/>
                  </a:lnTo>
                  <a:lnTo>
                    <a:pt x="207" y="106"/>
                  </a:lnTo>
                  <a:lnTo>
                    <a:pt x="205" y="102"/>
                  </a:lnTo>
                  <a:lnTo>
                    <a:pt x="203" y="94"/>
                  </a:lnTo>
                  <a:lnTo>
                    <a:pt x="207" y="88"/>
                  </a:lnTo>
                  <a:lnTo>
                    <a:pt x="209" y="84"/>
                  </a:lnTo>
                  <a:lnTo>
                    <a:pt x="215" y="84"/>
                  </a:lnTo>
                  <a:lnTo>
                    <a:pt x="222" y="86"/>
                  </a:lnTo>
                  <a:lnTo>
                    <a:pt x="230" y="86"/>
                  </a:lnTo>
                  <a:lnTo>
                    <a:pt x="236" y="84"/>
                  </a:lnTo>
                  <a:lnTo>
                    <a:pt x="238" y="88"/>
                  </a:lnTo>
                  <a:lnTo>
                    <a:pt x="238" y="96"/>
                  </a:lnTo>
                  <a:lnTo>
                    <a:pt x="243" y="94"/>
                  </a:lnTo>
                  <a:lnTo>
                    <a:pt x="253" y="96"/>
                  </a:lnTo>
                  <a:lnTo>
                    <a:pt x="261" y="102"/>
                  </a:lnTo>
                  <a:lnTo>
                    <a:pt x="261" y="107"/>
                  </a:lnTo>
                  <a:lnTo>
                    <a:pt x="259" y="115"/>
                  </a:lnTo>
                  <a:lnTo>
                    <a:pt x="265" y="121"/>
                  </a:lnTo>
                  <a:lnTo>
                    <a:pt x="265" y="140"/>
                  </a:lnTo>
                  <a:lnTo>
                    <a:pt x="266" y="144"/>
                  </a:lnTo>
                  <a:lnTo>
                    <a:pt x="268" y="150"/>
                  </a:lnTo>
                  <a:lnTo>
                    <a:pt x="270" y="157"/>
                  </a:lnTo>
                  <a:lnTo>
                    <a:pt x="270" y="161"/>
                  </a:lnTo>
                  <a:lnTo>
                    <a:pt x="272" y="165"/>
                  </a:lnTo>
                  <a:lnTo>
                    <a:pt x="278" y="171"/>
                  </a:lnTo>
                  <a:lnTo>
                    <a:pt x="278" y="175"/>
                  </a:lnTo>
                  <a:lnTo>
                    <a:pt x="276" y="181"/>
                  </a:lnTo>
                  <a:lnTo>
                    <a:pt x="274" y="184"/>
                  </a:lnTo>
                  <a:lnTo>
                    <a:pt x="274" y="188"/>
                  </a:lnTo>
                  <a:lnTo>
                    <a:pt x="276" y="194"/>
                  </a:lnTo>
                  <a:lnTo>
                    <a:pt x="276" y="205"/>
                  </a:lnTo>
                  <a:lnTo>
                    <a:pt x="280" y="211"/>
                  </a:lnTo>
                  <a:lnTo>
                    <a:pt x="284" y="215"/>
                  </a:lnTo>
                  <a:lnTo>
                    <a:pt x="288" y="215"/>
                  </a:lnTo>
                  <a:lnTo>
                    <a:pt x="291" y="211"/>
                  </a:lnTo>
                  <a:lnTo>
                    <a:pt x="295" y="209"/>
                  </a:lnTo>
                  <a:lnTo>
                    <a:pt x="297" y="209"/>
                  </a:lnTo>
                  <a:lnTo>
                    <a:pt x="303" y="211"/>
                  </a:lnTo>
                  <a:lnTo>
                    <a:pt x="318" y="211"/>
                  </a:lnTo>
                  <a:lnTo>
                    <a:pt x="320" y="213"/>
                  </a:lnTo>
                  <a:lnTo>
                    <a:pt x="324" y="229"/>
                  </a:lnTo>
                  <a:lnTo>
                    <a:pt x="320" y="240"/>
                  </a:lnTo>
                  <a:lnTo>
                    <a:pt x="318" y="244"/>
                  </a:lnTo>
                  <a:lnTo>
                    <a:pt x="320" y="248"/>
                  </a:lnTo>
                  <a:lnTo>
                    <a:pt x="320" y="265"/>
                  </a:lnTo>
                  <a:lnTo>
                    <a:pt x="265" y="265"/>
                  </a:lnTo>
                  <a:lnTo>
                    <a:pt x="265" y="378"/>
                  </a:lnTo>
                  <a:lnTo>
                    <a:pt x="266" y="382"/>
                  </a:lnTo>
                  <a:lnTo>
                    <a:pt x="270" y="392"/>
                  </a:lnTo>
                  <a:lnTo>
                    <a:pt x="272" y="400"/>
                  </a:lnTo>
                  <a:lnTo>
                    <a:pt x="284" y="411"/>
                  </a:lnTo>
                  <a:lnTo>
                    <a:pt x="289" y="421"/>
                  </a:lnTo>
                  <a:lnTo>
                    <a:pt x="291" y="430"/>
                  </a:lnTo>
                  <a:lnTo>
                    <a:pt x="299" y="434"/>
                  </a:lnTo>
                  <a:lnTo>
                    <a:pt x="293" y="434"/>
                  </a:lnTo>
                  <a:lnTo>
                    <a:pt x="238" y="442"/>
                  </a:lnTo>
                  <a:lnTo>
                    <a:pt x="234" y="442"/>
                  </a:lnTo>
                  <a:lnTo>
                    <a:pt x="226" y="438"/>
                  </a:lnTo>
                  <a:lnTo>
                    <a:pt x="217" y="438"/>
                  </a:lnTo>
                  <a:lnTo>
                    <a:pt x="215" y="436"/>
                  </a:lnTo>
                  <a:lnTo>
                    <a:pt x="209" y="438"/>
                  </a:lnTo>
                  <a:lnTo>
                    <a:pt x="203" y="438"/>
                  </a:lnTo>
                  <a:lnTo>
                    <a:pt x="197" y="434"/>
                  </a:lnTo>
                  <a:lnTo>
                    <a:pt x="184" y="434"/>
                  </a:lnTo>
                  <a:lnTo>
                    <a:pt x="182" y="430"/>
                  </a:lnTo>
                  <a:lnTo>
                    <a:pt x="178" y="428"/>
                  </a:lnTo>
                  <a:lnTo>
                    <a:pt x="172" y="426"/>
                  </a:lnTo>
                  <a:lnTo>
                    <a:pt x="169" y="419"/>
                  </a:lnTo>
                  <a:lnTo>
                    <a:pt x="169" y="417"/>
                  </a:lnTo>
                  <a:lnTo>
                    <a:pt x="57" y="413"/>
                  </a:lnTo>
                  <a:lnTo>
                    <a:pt x="50" y="405"/>
                  </a:lnTo>
                  <a:lnTo>
                    <a:pt x="44" y="403"/>
                  </a:lnTo>
                  <a:lnTo>
                    <a:pt x="38" y="409"/>
                  </a:lnTo>
                  <a:lnTo>
                    <a:pt x="36" y="413"/>
                  </a:lnTo>
                  <a:lnTo>
                    <a:pt x="17" y="413"/>
                  </a:lnTo>
                  <a:lnTo>
                    <a:pt x="7" y="415"/>
                  </a:lnTo>
                  <a:lnTo>
                    <a:pt x="2" y="417"/>
                  </a:lnTo>
                  <a:lnTo>
                    <a:pt x="0" y="392"/>
                  </a:lnTo>
                  <a:lnTo>
                    <a:pt x="0" y="375"/>
                  </a:lnTo>
                  <a:lnTo>
                    <a:pt x="2" y="363"/>
                  </a:lnTo>
                  <a:lnTo>
                    <a:pt x="5" y="353"/>
                  </a:lnTo>
                  <a:lnTo>
                    <a:pt x="15" y="342"/>
                  </a:lnTo>
                  <a:lnTo>
                    <a:pt x="21" y="332"/>
                  </a:lnTo>
                  <a:lnTo>
                    <a:pt x="21" y="305"/>
                  </a:lnTo>
                  <a:lnTo>
                    <a:pt x="25" y="290"/>
                  </a:lnTo>
                  <a:lnTo>
                    <a:pt x="27" y="288"/>
                  </a:lnTo>
                  <a:lnTo>
                    <a:pt x="32" y="288"/>
                  </a:lnTo>
                  <a:lnTo>
                    <a:pt x="36" y="286"/>
                  </a:lnTo>
                  <a:lnTo>
                    <a:pt x="36" y="275"/>
                  </a:lnTo>
                  <a:lnTo>
                    <a:pt x="40" y="269"/>
                  </a:lnTo>
                  <a:lnTo>
                    <a:pt x="46" y="263"/>
                  </a:lnTo>
                  <a:lnTo>
                    <a:pt x="51" y="255"/>
                  </a:lnTo>
                  <a:lnTo>
                    <a:pt x="53" y="234"/>
                  </a:lnTo>
                  <a:lnTo>
                    <a:pt x="53" y="213"/>
                  </a:lnTo>
                  <a:lnTo>
                    <a:pt x="48" y="194"/>
                  </a:lnTo>
                  <a:lnTo>
                    <a:pt x="46" y="192"/>
                  </a:lnTo>
                  <a:lnTo>
                    <a:pt x="42" y="192"/>
                  </a:lnTo>
                  <a:lnTo>
                    <a:pt x="40" y="190"/>
                  </a:lnTo>
                  <a:lnTo>
                    <a:pt x="40" y="175"/>
                  </a:lnTo>
                  <a:lnTo>
                    <a:pt x="46" y="156"/>
                  </a:lnTo>
                  <a:lnTo>
                    <a:pt x="48" y="136"/>
                  </a:lnTo>
                  <a:lnTo>
                    <a:pt x="40" y="129"/>
                  </a:lnTo>
                  <a:lnTo>
                    <a:pt x="40" y="107"/>
                  </a:lnTo>
                  <a:lnTo>
                    <a:pt x="36" y="94"/>
                  </a:lnTo>
                  <a:lnTo>
                    <a:pt x="32" y="92"/>
                  </a:lnTo>
                  <a:lnTo>
                    <a:pt x="27" y="86"/>
                  </a:lnTo>
                  <a:lnTo>
                    <a:pt x="23" y="79"/>
                  </a:lnTo>
                  <a:lnTo>
                    <a:pt x="21" y="73"/>
                  </a:lnTo>
                  <a:lnTo>
                    <a:pt x="21" y="67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5" name="Freeform 300"/>
            <p:cNvSpPr>
              <a:spLocks/>
            </p:cNvSpPr>
            <p:nvPr/>
          </p:nvSpPr>
          <p:spPr bwMode="gray">
            <a:xfrm>
              <a:off x="3051" y="2094"/>
              <a:ext cx="5" cy="4"/>
            </a:xfrm>
            <a:custGeom>
              <a:avLst/>
              <a:gdLst>
                <a:gd name="T0" fmla="*/ 9 w 9"/>
                <a:gd name="T1" fmla="*/ 6 h 7"/>
                <a:gd name="T2" fmla="*/ 2 w 9"/>
                <a:gd name="T3" fmla="*/ 7 h 7"/>
                <a:gd name="T4" fmla="*/ 0 w 9"/>
                <a:gd name="T5" fmla="*/ 4 h 7"/>
                <a:gd name="T6" fmla="*/ 0 w 9"/>
                <a:gd name="T7" fmla="*/ 2 h 7"/>
                <a:gd name="T8" fmla="*/ 4 w 9"/>
                <a:gd name="T9" fmla="*/ 0 h 7"/>
                <a:gd name="T10" fmla="*/ 9 w 9"/>
                <a:gd name="T11" fmla="*/ 6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9" y="6"/>
                  </a:moveTo>
                  <a:lnTo>
                    <a:pt x="2" y="7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9" y="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6" name="Freeform 301"/>
            <p:cNvSpPr>
              <a:spLocks/>
            </p:cNvSpPr>
            <p:nvPr/>
          </p:nvSpPr>
          <p:spPr bwMode="gray">
            <a:xfrm>
              <a:off x="2930" y="2190"/>
              <a:ext cx="243" cy="290"/>
            </a:xfrm>
            <a:custGeom>
              <a:avLst/>
              <a:gdLst>
                <a:gd name="T0" fmla="*/ 84 w 486"/>
                <a:gd name="T1" fmla="*/ 396 h 580"/>
                <a:gd name="T2" fmla="*/ 244 w 486"/>
                <a:gd name="T3" fmla="*/ 523 h 580"/>
                <a:gd name="T4" fmla="*/ 261 w 486"/>
                <a:gd name="T5" fmla="*/ 534 h 580"/>
                <a:gd name="T6" fmla="*/ 274 w 486"/>
                <a:gd name="T7" fmla="*/ 544 h 580"/>
                <a:gd name="T8" fmla="*/ 278 w 486"/>
                <a:gd name="T9" fmla="*/ 571 h 580"/>
                <a:gd name="T10" fmla="*/ 282 w 486"/>
                <a:gd name="T11" fmla="*/ 580 h 580"/>
                <a:gd name="T12" fmla="*/ 338 w 486"/>
                <a:gd name="T13" fmla="*/ 569 h 580"/>
                <a:gd name="T14" fmla="*/ 478 w 486"/>
                <a:gd name="T15" fmla="*/ 432 h 580"/>
                <a:gd name="T16" fmla="*/ 455 w 486"/>
                <a:gd name="T17" fmla="*/ 417 h 580"/>
                <a:gd name="T18" fmla="*/ 434 w 486"/>
                <a:gd name="T19" fmla="*/ 407 h 580"/>
                <a:gd name="T20" fmla="*/ 430 w 486"/>
                <a:gd name="T21" fmla="*/ 390 h 580"/>
                <a:gd name="T22" fmla="*/ 416 w 486"/>
                <a:gd name="T23" fmla="*/ 365 h 580"/>
                <a:gd name="T24" fmla="*/ 418 w 486"/>
                <a:gd name="T25" fmla="*/ 350 h 580"/>
                <a:gd name="T26" fmla="*/ 426 w 486"/>
                <a:gd name="T27" fmla="*/ 315 h 580"/>
                <a:gd name="T28" fmla="*/ 426 w 486"/>
                <a:gd name="T29" fmla="*/ 302 h 580"/>
                <a:gd name="T30" fmla="*/ 432 w 486"/>
                <a:gd name="T31" fmla="*/ 292 h 580"/>
                <a:gd name="T32" fmla="*/ 424 w 486"/>
                <a:gd name="T33" fmla="*/ 229 h 580"/>
                <a:gd name="T34" fmla="*/ 424 w 486"/>
                <a:gd name="T35" fmla="*/ 217 h 580"/>
                <a:gd name="T36" fmla="*/ 401 w 486"/>
                <a:gd name="T37" fmla="*/ 154 h 580"/>
                <a:gd name="T38" fmla="*/ 395 w 486"/>
                <a:gd name="T39" fmla="*/ 133 h 580"/>
                <a:gd name="T40" fmla="*/ 384 w 486"/>
                <a:gd name="T41" fmla="*/ 123 h 580"/>
                <a:gd name="T42" fmla="*/ 382 w 486"/>
                <a:gd name="T43" fmla="*/ 96 h 580"/>
                <a:gd name="T44" fmla="*/ 395 w 486"/>
                <a:gd name="T45" fmla="*/ 90 h 580"/>
                <a:gd name="T46" fmla="*/ 407 w 486"/>
                <a:gd name="T47" fmla="*/ 71 h 580"/>
                <a:gd name="T48" fmla="*/ 403 w 486"/>
                <a:gd name="T49" fmla="*/ 40 h 580"/>
                <a:gd name="T50" fmla="*/ 397 w 486"/>
                <a:gd name="T51" fmla="*/ 17 h 580"/>
                <a:gd name="T52" fmla="*/ 386 w 486"/>
                <a:gd name="T53" fmla="*/ 0 h 580"/>
                <a:gd name="T54" fmla="*/ 378 w 486"/>
                <a:gd name="T55" fmla="*/ 15 h 580"/>
                <a:gd name="T56" fmla="*/ 367 w 486"/>
                <a:gd name="T57" fmla="*/ 0 h 580"/>
                <a:gd name="T58" fmla="*/ 317 w 486"/>
                <a:gd name="T59" fmla="*/ 2 h 580"/>
                <a:gd name="T60" fmla="*/ 278 w 486"/>
                <a:gd name="T61" fmla="*/ 15 h 580"/>
                <a:gd name="T62" fmla="*/ 244 w 486"/>
                <a:gd name="T63" fmla="*/ 12 h 580"/>
                <a:gd name="T64" fmla="*/ 219 w 486"/>
                <a:gd name="T65" fmla="*/ 27 h 580"/>
                <a:gd name="T66" fmla="*/ 203 w 486"/>
                <a:gd name="T67" fmla="*/ 35 h 580"/>
                <a:gd name="T68" fmla="*/ 182 w 486"/>
                <a:gd name="T69" fmla="*/ 38 h 580"/>
                <a:gd name="T70" fmla="*/ 148 w 486"/>
                <a:gd name="T71" fmla="*/ 63 h 580"/>
                <a:gd name="T72" fmla="*/ 152 w 486"/>
                <a:gd name="T73" fmla="*/ 85 h 580"/>
                <a:gd name="T74" fmla="*/ 152 w 486"/>
                <a:gd name="T75" fmla="*/ 106 h 580"/>
                <a:gd name="T76" fmla="*/ 157 w 486"/>
                <a:gd name="T77" fmla="*/ 127 h 580"/>
                <a:gd name="T78" fmla="*/ 161 w 486"/>
                <a:gd name="T79" fmla="*/ 152 h 580"/>
                <a:gd name="T80" fmla="*/ 144 w 486"/>
                <a:gd name="T81" fmla="*/ 167 h 580"/>
                <a:gd name="T82" fmla="*/ 136 w 486"/>
                <a:gd name="T83" fmla="*/ 185 h 580"/>
                <a:gd name="T84" fmla="*/ 123 w 486"/>
                <a:gd name="T85" fmla="*/ 198 h 580"/>
                <a:gd name="T86" fmla="*/ 113 w 486"/>
                <a:gd name="T87" fmla="*/ 206 h 580"/>
                <a:gd name="T88" fmla="*/ 88 w 486"/>
                <a:gd name="T89" fmla="*/ 233 h 580"/>
                <a:gd name="T90" fmla="*/ 69 w 486"/>
                <a:gd name="T91" fmla="*/ 238 h 580"/>
                <a:gd name="T92" fmla="*/ 46 w 486"/>
                <a:gd name="T93" fmla="*/ 254 h 580"/>
                <a:gd name="T94" fmla="*/ 23 w 486"/>
                <a:gd name="T95" fmla="*/ 261 h 580"/>
                <a:gd name="T96" fmla="*/ 2 w 486"/>
                <a:gd name="T97" fmla="*/ 281 h 58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86"/>
                <a:gd name="T148" fmla="*/ 0 h 580"/>
                <a:gd name="T149" fmla="*/ 486 w 486"/>
                <a:gd name="T150" fmla="*/ 580 h 58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86" h="580">
                  <a:moveTo>
                    <a:pt x="0" y="313"/>
                  </a:moveTo>
                  <a:lnTo>
                    <a:pt x="0" y="332"/>
                  </a:lnTo>
                  <a:lnTo>
                    <a:pt x="84" y="396"/>
                  </a:lnTo>
                  <a:lnTo>
                    <a:pt x="242" y="515"/>
                  </a:lnTo>
                  <a:lnTo>
                    <a:pt x="242" y="517"/>
                  </a:lnTo>
                  <a:lnTo>
                    <a:pt x="244" y="523"/>
                  </a:lnTo>
                  <a:lnTo>
                    <a:pt x="248" y="528"/>
                  </a:lnTo>
                  <a:lnTo>
                    <a:pt x="255" y="532"/>
                  </a:lnTo>
                  <a:lnTo>
                    <a:pt x="261" y="534"/>
                  </a:lnTo>
                  <a:lnTo>
                    <a:pt x="267" y="538"/>
                  </a:lnTo>
                  <a:lnTo>
                    <a:pt x="273" y="540"/>
                  </a:lnTo>
                  <a:lnTo>
                    <a:pt x="274" y="544"/>
                  </a:lnTo>
                  <a:lnTo>
                    <a:pt x="274" y="561"/>
                  </a:lnTo>
                  <a:lnTo>
                    <a:pt x="276" y="565"/>
                  </a:lnTo>
                  <a:lnTo>
                    <a:pt x="278" y="571"/>
                  </a:lnTo>
                  <a:lnTo>
                    <a:pt x="276" y="577"/>
                  </a:lnTo>
                  <a:lnTo>
                    <a:pt x="276" y="580"/>
                  </a:lnTo>
                  <a:lnTo>
                    <a:pt x="282" y="580"/>
                  </a:lnTo>
                  <a:lnTo>
                    <a:pt x="296" y="577"/>
                  </a:lnTo>
                  <a:lnTo>
                    <a:pt x="303" y="575"/>
                  </a:lnTo>
                  <a:lnTo>
                    <a:pt x="338" y="569"/>
                  </a:lnTo>
                  <a:lnTo>
                    <a:pt x="351" y="544"/>
                  </a:lnTo>
                  <a:lnTo>
                    <a:pt x="486" y="440"/>
                  </a:lnTo>
                  <a:lnTo>
                    <a:pt x="478" y="432"/>
                  </a:lnTo>
                  <a:lnTo>
                    <a:pt x="472" y="430"/>
                  </a:lnTo>
                  <a:lnTo>
                    <a:pt x="461" y="419"/>
                  </a:lnTo>
                  <a:lnTo>
                    <a:pt x="455" y="417"/>
                  </a:lnTo>
                  <a:lnTo>
                    <a:pt x="443" y="417"/>
                  </a:lnTo>
                  <a:lnTo>
                    <a:pt x="438" y="413"/>
                  </a:lnTo>
                  <a:lnTo>
                    <a:pt x="434" y="407"/>
                  </a:lnTo>
                  <a:lnTo>
                    <a:pt x="432" y="400"/>
                  </a:lnTo>
                  <a:lnTo>
                    <a:pt x="432" y="394"/>
                  </a:lnTo>
                  <a:lnTo>
                    <a:pt x="430" y="390"/>
                  </a:lnTo>
                  <a:lnTo>
                    <a:pt x="422" y="379"/>
                  </a:lnTo>
                  <a:lnTo>
                    <a:pt x="420" y="373"/>
                  </a:lnTo>
                  <a:lnTo>
                    <a:pt x="416" y="365"/>
                  </a:lnTo>
                  <a:lnTo>
                    <a:pt x="407" y="356"/>
                  </a:lnTo>
                  <a:lnTo>
                    <a:pt x="413" y="356"/>
                  </a:lnTo>
                  <a:lnTo>
                    <a:pt x="418" y="350"/>
                  </a:lnTo>
                  <a:lnTo>
                    <a:pt x="424" y="342"/>
                  </a:lnTo>
                  <a:lnTo>
                    <a:pt x="426" y="329"/>
                  </a:lnTo>
                  <a:lnTo>
                    <a:pt x="426" y="315"/>
                  </a:lnTo>
                  <a:lnTo>
                    <a:pt x="424" y="309"/>
                  </a:lnTo>
                  <a:lnTo>
                    <a:pt x="426" y="307"/>
                  </a:lnTo>
                  <a:lnTo>
                    <a:pt x="426" y="302"/>
                  </a:lnTo>
                  <a:lnTo>
                    <a:pt x="422" y="300"/>
                  </a:lnTo>
                  <a:lnTo>
                    <a:pt x="428" y="294"/>
                  </a:lnTo>
                  <a:lnTo>
                    <a:pt x="432" y="292"/>
                  </a:lnTo>
                  <a:lnTo>
                    <a:pt x="422" y="281"/>
                  </a:lnTo>
                  <a:lnTo>
                    <a:pt x="424" y="231"/>
                  </a:lnTo>
                  <a:lnTo>
                    <a:pt x="424" y="229"/>
                  </a:lnTo>
                  <a:lnTo>
                    <a:pt x="420" y="223"/>
                  </a:lnTo>
                  <a:lnTo>
                    <a:pt x="420" y="219"/>
                  </a:lnTo>
                  <a:lnTo>
                    <a:pt x="424" y="217"/>
                  </a:lnTo>
                  <a:lnTo>
                    <a:pt x="424" y="215"/>
                  </a:lnTo>
                  <a:lnTo>
                    <a:pt x="416" y="158"/>
                  </a:lnTo>
                  <a:lnTo>
                    <a:pt x="401" y="154"/>
                  </a:lnTo>
                  <a:lnTo>
                    <a:pt x="401" y="150"/>
                  </a:lnTo>
                  <a:lnTo>
                    <a:pt x="399" y="142"/>
                  </a:lnTo>
                  <a:lnTo>
                    <a:pt x="395" y="133"/>
                  </a:lnTo>
                  <a:lnTo>
                    <a:pt x="392" y="129"/>
                  </a:lnTo>
                  <a:lnTo>
                    <a:pt x="386" y="129"/>
                  </a:lnTo>
                  <a:lnTo>
                    <a:pt x="384" y="123"/>
                  </a:lnTo>
                  <a:lnTo>
                    <a:pt x="382" y="111"/>
                  </a:lnTo>
                  <a:lnTo>
                    <a:pt x="380" y="102"/>
                  </a:lnTo>
                  <a:lnTo>
                    <a:pt x="382" y="96"/>
                  </a:lnTo>
                  <a:lnTo>
                    <a:pt x="386" y="94"/>
                  </a:lnTo>
                  <a:lnTo>
                    <a:pt x="390" y="94"/>
                  </a:lnTo>
                  <a:lnTo>
                    <a:pt x="395" y="90"/>
                  </a:lnTo>
                  <a:lnTo>
                    <a:pt x="399" y="85"/>
                  </a:lnTo>
                  <a:lnTo>
                    <a:pt x="401" y="77"/>
                  </a:lnTo>
                  <a:lnTo>
                    <a:pt x="407" y="71"/>
                  </a:lnTo>
                  <a:lnTo>
                    <a:pt x="409" y="65"/>
                  </a:lnTo>
                  <a:lnTo>
                    <a:pt x="407" y="56"/>
                  </a:lnTo>
                  <a:lnTo>
                    <a:pt x="403" y="40"/>
                  </a:lnTo>
                  <a:lnTo>
                    <a:pt x="403" y="29"/>
                  </a:lnTo>
                  <a:lnTo>
                    <a:pt x="399" y="25"/>
                  </a:lnTo>
                  <a:lnTo>
                    <a:pt x="397" y="17"/>
                  </a:lnTo>
                  <a:lnTo>
                    <a:pt x="397" y="2"/>
                  </a:lnTo>
                  <a:lnTo>
                    <a:pt x="393" y="2"/>
                  </a:lnTo>
                  <a:lnTo>
                    <a:pt x="386" y="0"/>
                  </a:lnTo>
                  <a:lnTo>
                    <a:pt x="384" y="4"/>
                  </a:lnTo>
                  <a:lnTo>
                    <a:pt x="380" y="10"/>
                  </a:lnTo>
                  <a:lnTo>
                    <a:pt x="378" y="15"/>
                  </a:lnTo>
                  <a:lnTo>
                    <a:pt x="372" y="10"/>
                  </a:lnTo>
                  <a:lnTo>
                    <a:pt x="370" y="6"/>
                  </a:lnTo>
                  <a:lnTo>
                    <a:pt x="367" y="0"/>
                  </a:lnTo>
                  <a:lnTo>
                    <a:pt x="349" y="2"/>
                  </a:lnTo>
                  <a:lnTo>
                    <a:pt x="334" y="4"/>
                  </a:lnTo>
                  <a:lnTo>
                    <a:pt x="317" y="2"/>
                  </a:lnTo>
                  <a:lnTo>
                    <a:pt x="303" y="6"/>
                  </a:lnTo>
                  <a:lnTo>
                    <a:pt x="288" y="12"/>
                  </a:lnTo>
                  <a:lnTo>
                    <a:pt x="278" y="15"/>
                  </a:lnTo>
                  <a:lnTo>
                    <a:pt x="269" y="13"/>
                  </a:lnTo>
                  <a:lnTo>
                    <a:pt x="255" y="10"/>
                  </a:lnTo>
                  <a:lnTo>
                    <a:pt x="244" y="12"/>
                  </a:lnTo>
                  <a:lnTo>
                    <a:pt x="236" y="15"/>
                  </a:lnTo>
                  <a:lnTo>
                    <a:pt x="225" y="27"/>
                  </a:lnTo>
                  <a:lnTo>
                    <a:pt x="219" y="27"/>
                  </a:lnTo>
                  <a:lnTo>
                    <a:pt x="213" y="25"/>
                  </a:lnTo>
                  <a:lnTo>
                    <a:pt x="205" y="29"/>
                  </a:lnTo>
                  <a:lnTo>
                    <a:pt x="203" y="35"/>
                  </a:lnTo>
                  <a:lnTo>
                    <a:pt x="201" y="37"/>
                  </a:lnTo>
                  <a:lnTo>
                    <a:pt x="192" y="38"/>
                  </a:lnTo>
                  <a:lnTo>
                    <a:pt x="182" y="38"/>
                  </a:lnTo>
                  <a:lnTo>
                    <a:pt x="175" y="40"/>
                  </a:lnTo>
                  <a:lnTo>
                    <a:pt x="157" y="58"/>
                  </a:lnTo>
                  <a:lnTo>
                    <a:pt x="148" y="63"/>
                  </a:lnTo>
                  <a:lnTo>
                    <a:pt x="152" y="71"/>
                  </a:lnTo>
                  <a:lnTo>
                    <a:pt x="154" y="79"/>
                  </a:lnTo>
                  <a:lnTo>
                    <a:pt x="152" y="85"/>
                  </a:lnTo>
                  <a:lnTo>
                    <a:pt x="150" y="92"/>
                  </a:lnTo>
                  <a:lnTo>
                    <a:pt x="150" y="100"/>
                  </a:lnTo>
                  <a:lnTo>
                    <a:pt x="152" y="106"/>
                  </a:lnTo>
                  <a:lnTo>
                    <a:pt x="155" y="110"/>
                  </a:lnTo>
                  <a:lnTo>
                    <a:pt x="157" y="115"/>
                  </a:lnTo>
                  <a:lnTo>
                    <a:pt x="157" y="127"/>
                  </a:lnTo>
                  <a:lnTo>
                    <a:pt x="169" y="144"/>
                  </a:lnTo>
                  <a:lnTo>
                    <a:pt x="167" y="148"/>
                  </a:lnTo>
                  <a:lnTo>
                    <a:pt x="161" y="152"/>
                  </a:lnTo>
                  <a:lnTo>
                    <a:pt x="154" y="156"/>
                  </a:lnTo>
                  <a:lnTo>
                    <a:pt x="148" y="163"/>
                  </a:lnTo>
                  <a:lnTo>
                    <a:pt x="144" y="167"/>
                  </a:lnTo>
                  <a:lnTo>
                    <a:pt x="138" y="171"/>
                  </a:lnTo>
                  <a:lnTo>
                    <a:pt x="134" y="179"/>
                  </a:lnTo>
                  <a:lnTo>
                    <a:pt x="136" y="185"/>
                  </a:lnTo>
                  <a:lnTo>
                    <a:pt x="134" y="188"/>
                  </a:lnTo>
                  <a:lnTo>
                    <a:pt x="130" y="192"/>
                  </a:lnTo>
                  <a:lnTo>
                    <a:pt x="123" y="198"/>
                  </a:lnTo>
                  <a:lnTo>
                    <a:pt x="117" y="200"/>
                  </a:lnTo>
                  <a:lnTo>
                    <a:pt x="115" y="200"/>
                  </a:lnTo>
                  <a:lnTo>
                    <a:pt x="113" y="206"/>
                  </a:lnTo>
                  <a:lnTo>
                    <a:pt x="106" y="217"/>
                  </a:lnTo>
                  <a:lnTo>
                    <a:pt x="96" y="229"/>
                  </a:lnTo>
                  <a:lnTo>
                    <a:pt x="88" y="233"/>
                  </a:lnTo>
                  <a:lnTo>
                    <a:pt x="84" y="236"/>
                  </a:lnTo>
                  <a:lnTo>
                    <a:pt x="79" y="238"/>
                  </a:lnTo>
                  <a:lnTo>
                    <a:pt x="69" y="238"/>
                  </a:lnTo>
                  <a:lnTo>
                    <a:pt x="63" y="244"/>
                  </a:lnTo>
                  <a:lnTo>
                    <a:pt x="56" y="250"/>
                  </a:lnTo>
                  <a:lnTo>
                    <a:pt x="46" y="254"/>
                  </a:lnTo>
                  <a:lnTo>
                    <a:pt x="36" y="256"/>
                  </a:lnTo>
                  <a:lnTo>
                    <a:pt x="29" y="258"/>
                  </a:lnTo>
                  <a:lnTo>
                    <a:pt x="23" y="261"/>
                  </a:lnTo>
                  <a:lnTo>
                    <a:pt x="17" y="263"/>
                  </a:lnTo>
                  <a:lnTo>
                    <a:pt x="13" y="269"/>
                  </a:lnTo>
                  <a:lnTo>
                    <a:pt x="2" y="281"/>
                  </a:lnTo>
                  <a:lnTo>
                    <a:pt x="0" y="284"/>
                  </a:lnTo>
                  <a:lnTo>
                    <a:pt x="0" y="313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7" name="Freeform 302"/>
            <p:cNvSpPr>
              <a:spLocks/>
            </p:cNvSpPr>
            <p:nvPr/>
          </p:nvSpPr>
          <p:spPr bwMode="gray">
            <a:xfrm>
              <a:off x="3270" y="2098"/>
              <a:ext cx="24" cy="49"/>
            </a:xfrm>
            <a:custGeom>
              <a:avLst/>
              <a:gdLst>
                <a:gd name="T0" fmla="*/ 23 w 48"/>
                <a:gd name="T1" fmla="*/ 98 h 98"/>
                <a:gd name="T2" fmla="*/ 35 w 48"/>
                <a:gd name="T3" fmla="*/ 98 h 98"/>
                <a:gd name="T4" fmla="*/ 37 w 48"/>
                <a:gd name="T5" fmla="*/ 97 h 98"/>
                <a:gd name="T6" fmla="*/ 37 w 48"/>
                <a:gd name="T7" fmla="*/ 95 h 98"/>
                <a:gd name="T8" fmla="*/ 35 w 48"/>
                <a:gd name="T9" fmla="*/ 93 h 98"/>
                <a:gd name="T10" fmla="*/ 41 w 48"/>
                <a:gd name="T11" fmla="*/ 93 h 98"/>
                <a:gd name="T12" fmla="*/ 43 w 48"/>
                <a:gd name="T13" fmla="*/ 89 h 98"/>
                <a:gd name="T14" fmla="*/ 46 w 48"/>
                <a:gd name="T15" fmla="*/ 85 h 98"/>
                <a:gd name="T16" fmla="*/ 48 w 48"/>
                <a:gd name="T17" fmla="*/ 81 h 98"/>
                <a:gd name="T18" fmla="*/ 48 w 48"/>
                <a:gd name="T19" fmla="*/ 79 h 98"/>
                <a:gd name="T20" fmla="*/ 46 w 48"/>
                <a:gd name="T21" fmla="*/ 68 h 98"/>
                <a:gd name="T22" fmla="*/ 46 w 48"/>
                <a:gd name="T23" fmla="*/ 66 h 98"/>
                <a:gd name="T24" fmla="*/ 45 w 48"/>
                <a:gd name="T25" fmla="*/ 62 h 98"/>
                <a:gd name="T26" fmla="*/ 41 w 48"/>
                <a:gd name="T27" fmla="*/ 56 h 98"/>
                <a:gd name="T28" fmla="*/ 37 w 48"/>
                <a:gd name="T29" fmla="*/ 48 h 98"/>
                <a:gd name="T30" fmla="*/ 39 w 48"/>
                <a:gd name="T31" fmla="*/ 45 h 98"/>
                <a:gd name="T32" fmla="*/ 41 w 48"/>
                <a:gd name="T33" fmla="*/ 39 h 98"/>
                <a:gd name="T34" fmla="*/ 43 w 48"/>
                <a:gd name="T35" fmla="*/ 31 h 98"/>
                <a:gd name="T36" fmla="*/ 43 w 48"/>
                <a:gd name="T37" fmla="*/ 29 h 98"/>
                <a:gd name="T38" fmla="*/ 39 w 48"/>
                <a:gd name="T39" fmla="*/ 16 h 98"/>
                <a:gd name="T40" fmla="*/ 27 w 48"/>
                <a:gd name="T41" fmla="*/ 4 h 98"/>
                <a:gd name="T42" fmla="*/ 22 w 48"/>
                <a:gd name="T43" fmla="*/ 12 h 98"/>
                <a:gd name="T44" fmla="*/ 18 w 48"/>
                <a:gd name="T45" fmla="*/ 0 h 98"/>
                <a:gd name="T46" fmla="*/ 2 w 48"/>
                <a:gd name="T47" fmla="*/ 10 h 98"/>
                <a:gd name="T48" fmla="*/ 0 w 48"/>
                <a:gd name="T49" fmla="*/ 14 h 98"/>
                <a:gd name="T50" fmla="*/ 2 w 48"/>
                <a:gd name="T51" fmla="*/ 16 h 98"/>
                <a:gd name="T52" fmla="*/ 8 w 48"/>
                <a:gd name="T53" fmla="*/ 33 h 98"/>
                <a:gd name="T54" fmla="*/ 4 w 48"/>
                <a:gd name="T55" fmla="*/ 52 h 98"/>
                <a:gd name="T56" fmla="*/ 2 w 48"/>
                <a:gd name="T57" fmla="*/ 72 h 98"/>
                <a:gd name="T58" fmla="*/ 4 w 48"/>
                <a:gd name="T59" fmla="*/ 75 h 98"/>
                <a:gd name="T60" fmla="*/ 12 w 48"/>
                <a:gd name="T61" fmla="*/ 85 h 98"/>
                <a:gd name="T62" fmla="*/ 23 w 48"/>
                <a:gd name="T63" fmla="*/ 98 h 9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8"/>
                <a:gd name="T97" fmla="*/ 0 h 98"/>
                <a:gd name="T98" fmla="*/ 48 w 48"/>
                <a:gd name="T99" fmla="*/ 98 h 9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8" h="98">
                  <a:moveTo>
                    <a:pt x="23" y="98"/>
                  </a:moveTo>
                  <a:lnTo>
                    <a:pt x="35" y="98"/>
                  </a:lnTo>
                  <a:lnTo>
                    <a:pt x="37" y="97"/>
                  </a:lnTo>
                  <a:lnTo>
                    <a:pt x="37" y="95"/>
                  </a:lnTo>
                  <a:lnTo>
                    <a:pt x="35" y="93"/>
                  </a:lnTo>
                  <a:lnTo>
                    <a:pt x="41" y="93"/>
                  </a:lnTo>
                  <a:lnTo>
                    <a:pt x="43" y="89"/>
                  </a:lnTo>
                  <a:lnTo>
                    <a:pt x="46" y="85"/>
                  </a:lnTo>
                  <a:lnTo>
                    <a:pt x="48" y="81"/>
                  </a:lnTo>
                  <a:lnTo>
                    <a:pt x="48" y="79"/>
                  </a:lnTo>
                  <a:lnTo>
                    <a:pt x="46" y="68"/>
                  </a:lnTo>
                  <a:lnTo>
                    <a:pt x="46" y="66"/>
                  </a:lnTo>
                  <a:lnTo>
                    <a:pt x="45" y="62"/>
                  </a:lnTo>
                  <a:lnTo>
                    <a:pt x="41" y="56"/>
                  </a:lnTo>
                  <a:lnTo>
                    <a:pt x="37" y="48"/>
                  </a:lnTo>
                  <a:lnTo>
                    <a:pt x="39" y="45"/>
                  </a:lnTo>
                  <a:lnTo>
                    <a:pt x="41" y="39"/>
                  </a:lnTo>
                  <a:lnTo>
                    <a:pt x="43" y="31"/>
                  </a:lnTo>
                  <a:lnTo>
                    <a:pt x="43" y="29"/>
                  </a:lnTo>
                  <a:lnTo>
                    <a:pt x="39" y="16"/>
                  </a:lnTo>
                  <a:lnTo>
                    <a:pt x="27" y="4"/>
                  </a:lnTo>
                  <a:lnTo>
                    <a:pt x="22" y="12"/>
                  </a:lnTo>
                  <a:lnTo>
                    <a:pt x="18" y="0"/>
                  </a:lnTo>
                  <a:lnTo>
                    <a:pt x="2" y="10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8" y="33"/>
                  </a:lnTo>
                  <a:lnTo>
                    <a:pt x="4" y="52"/>
                  </a:lnTo>
                  <a:lnTo>
                    <a:pt x="2" y="72"/>
                  </a:lnTo>
                  <a:lnTo>
                    <a:pt x="4" y="75"/>
                  </a:lnTo>
                  <a:lnTo>
                    <a:pt x="12" y="85"/>
                  </a:lnTo>
                  <a:lnTo>
                    <a:pt x="23" y="98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8" name="Freeform 303"/>
            <p:cNvSpPr>
              <a:spLocks/>
            </p:cNvSpPr>
            <p:nvPr/>
          </p:nvSpPr>
          <p:spPr bwMode="gray">
            <a:xfrm>
              <a:off x="942" y="1502"/>
              <a:ext cx="489" cy="365"/>
            </a:xfrm>
            <a:custGeom>
              <a:avLst/>
              <a:gdLst>
                <a:gd name="T0" fmla="*/ 513 w 979"/>
                <a:gd name="T1" fmla="*/ 46 h 728"/>
                <a:gd name="T2" fmla="*/ 434 w 979"/>
                <a:gd name="T3" fmla="*/ 37 h 728"/>
                <a:gd name="T4" fmla="*/ 326 w 979"/>
                <a:gd name="T5" fmla="*/ 13 h 728"/>
                <a:gd name="T6" fmla="*/ 223 w 979"/>
                <a:gd name="T7" fmla="*/ 19 h 728"/>
                <a:gd name="T8" fmla="*/ 192 w 979"/>
                <a:gd name="T9" fmla="*/ 35 h 728"/>
                <a:gd name="T10" fmla="*/ 119 w 979"/>
                <a:gd name="T11" fmla="*/ 111 h 728"/>
                <a:gd name="T12" fmla="*/ 40 w 979"/>
                <a:gd name="T13" fmla="*/ 148 h 728"/>
                <a:gd name="T14" fmla="*/ 104 w 979"/>
                <a:gd name="T15" fmla="*/ 181 h 728"/>
                <a:gd name="T16" fmla="*/ 169 w 979"/>
                <a:gd name="T17" fmla="*/ 219 h 728"/>
                <a:gd name="T18" fmla="*/ 165 w 979"/>
                <a:gd name="T19" fmla="*/ 246 h 728"/>
                <a:gd name="T20" fmla="*/ 65 w 979"/>
                <a:gd name="T21" fmla="*/ 221 h 728"/>
                <a:gd name="T22" fmla="*/ 37 w 979"/>
                <a:gd name="T23" fmla="*/ 269 h 728"/>
                <a:gd name="T24" fmla="*/ 121 w 979"/>
                <a:gd name="T25" fmla="*/ 300 h 728"/>
                <a:gd name="T26" fmla="*/ 175 w 979"/>
                <a:gd name="T27" fmla="*/ 327 h 728"/>
                <a:gd name="T28" fmla="*/ 110 w 979"/>
                <a:gd name="T29" fmla="*/ 365 h 728"/>
                <a:gd name="T30" fmla="*/ 81 w 979"/>
                <a:gd name="T31" fmla="*/ 384 h 728"/>
                <a:gd name="T32" fmla="*/ 79 w 979"/>
                <a:gd name="T33" fmla="*/ 448 h 728"/>
                <a:gd name="T34" fmla="*/ 90 w 979"/>
                <a:gd name="T35" fmla="*/ 469 h 728"/>
                <a:gd name="T36" fmla="*/ 129 w 979"/>
                <a:gd name="T37" fmla="*/ 480 h 728"/>
                <a:gd name="T38" fmla="*/ 146 w 979"/>
                <a:gd name="T39" fmla="*/ 527 h 728"/>
                <a:gd name="T40" fmla="*/ 192 w 979"/>
                <a:gd name="T41" fmla="*/ 528 h 728"/>
                <a:gd name="T42" fmla="*/ 257 w 979"/>
                <a:gd name="T43" fmla="*/ 544 h 728"/>
                <a:gd name="T44" fmla="*/ 204 w 979"/>
                <a:gd name="T45" fmla="*/ 642 h 728"/>
                <a:gd name="T46" fmla="*/ 127 w 979"/>
                <a:gd name="T47" fmla="*/ 699 h 728"/>
                <a:gd name="T48" fmla="*/ 163 w 979"/>
                <a:gd name="T49" fmla="*/ 675 h 728"/>
                <a:gd name="T50" fmla="*/ 223 w 979"/>
                <a:gd name="T51" fmla="*/ 657 h 728"/>
                <a:gd name="T52" fmla="*/ 242 w 979"/>
                <a:gd name="T53" fmla="*/ 632 h 728"/>
                <a:gd name="T54" fmla="*/ 307 w 979"/>
                <a:gd name="T55" fmla="*/ 577 h 728"/>
                <a:gd name="T56" fmla="*/ 348 w 979"/>
                <a:gd name="T57" fmla="*/ 532 h 728"/>
                <a:gd name="T58" fmla="*/ 384 w 979"/>
                <a:gd name="T59" fmla="*/ 465 h 728"/>
                <a:gd name="T60" fmla="*/ 434 w 979"/>
                <a:gd name="T61" fmla="*/ 438 h 728"/>
                <a:gd name="T62" fmla="*/ 426 w 979"/>
                <a:gd name="T63" fmla="*/ 450 h 728"/>
                <a:gd name="T64" fmla="*/ 399 w 979"/>
                <a:gd name="T65" fmla="*/ 519 h 728"/>
                <a:gd name="T66" fmla="*/ 443 w 979"/>
                <a:gd name="T67" fmla="*/ 509 h 728"/>
                <a:gd name="T68" fmla="*/ 499 w 979"/>
                <a:gd name="T69" fmla="*/ 484 h 728"/>
                <a:gd name="T70" fmla="*/ 526 w 979"/>
                <a:gd name="T71" fmla="*/ 446 h 728"/>
                <a:gd name="T72" fmla="*/ 547 w 979"/>
                <a:gd name="T73" fmla="*/ 477 h 728"/>
                <a:gd name="T74" fmla="*/ 591 w 979"/>
                <a:gd name="T75" fmla="*/ 492 h 728"/>
                <a:gd name="T76" fmla="*/ 718 w 979"/>
                <a:gd name="T77" fmla="*/ 507 h 728"/>
                <a:gd name="T78" fmla="*/ 772 w 979"/>
                <a:gd name="T79" fmla="*/ 573 h 728"/>
                <a:gd name="T80" fmla="*/ 799 w 979"/>
                <a:gd name="T81" fmla="*/ 588 h 728"/>
                <a:gd name="T82" fmla="*/ 841 w 979"/>
                <a:gd name="T83" fmla="*/ 655 h 728"/>
                <a:gd name="T84" fmla="*/ 868 w 979"/>
                <a:gd name="T85" fmla="*/ 669 h 728"/>
                <a:gd name="T86" fmla="*/ 871 w 979"/>
                <a:gd name="T87" fmla="*/ 630 h 728"/>
                <a:gd name="T88" fmla="*/ 829 w 979"/>
                <a:gd name="T89" fmla="*/ 619 h 728"/>
                <a:gd name="T90" fmla="*/ 808 w 979"/>
                <a:gd name="T91" fmla="*/ 580 h 728"/>
                <a:gd name="T92" fmla="*/ 829 w 979"/>
                <a:gd name="T93" fmla="*/ 552 h 728"/>
                <a:gd name="T94" fmla="*/ 868 w 979"/>
                <a:gd name="T95" fmla="*/ 584 h 728"/>
                <a:gd name="T96" fmla="*/ 887 w 979"/>
                <a:gd name="T97" fmla="*/ 632 h 728"/>
                <a:gd name="T98" fmla="*/ 895 w 979"/>
                <a:gd name="T99" fmla="*/ 648 h 728"/>
                <a:gd name="T100" fmla="*/ 918 w 979"/>
                <a:gd name="T101" fmla="*/ 675 h 728"/>
                <a:gd name="T102" fmla="*/ 939 w 979"/>
                <a:gd name="T103" fmla="*/ 707 h 728"/>
                <a:gd name="T104" fmla="*/ 973 w 979"/>
                <a:gd name="T105" fmla="*/ 707 h 728"/>
                <a:gd name="T106" fmla="*/ 969 w 979"/>
                <a:gd name="T107" fmla="*/ 661 h 728"/>
                <a:gd name="T108" fmla="*/ 916 w 979"/>
                <a:gd name="T109" fmla="*/ 609 h 728"/>
                <a:gd name="T110" fmla="*/ 835 w 979"/>
                <a:gd name="T111" fmla="*/ 525 h 728"/>
                <a:gd name="T112" fmla="*/ 791 w 979"/>
                <a:gd name="T113" fmla="*/ 507 h 728"/>
                <a:gd name="T114" fmla="*/ 726 w 979"/>
                <a:gd name="T115" fmla="*/ 494 h 728"/>
                <a:gd name="T116" fmla="*/ 664 w 979"/>
                <a:gd name="T117" fmla="*/ 467 h 72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9"/>
                <a:gd name="T178" fmla="*/ 0 h 728"/>
                <a:gd name="T179" fmla="*/ 979 w 979"/>
                <a:gd name="T180" fmla="*/ 728 h 72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9" h="728">
                  <a:moveTo>
                    <a:pt x="655" y="60"/>
                  </a:moveTo>
                  <a:lnTo>
                    <a:pt x="624" y="48"/>
                  </a:lnTo>
                  <a:lnTo>
                    <a:pt x="607" y="46"/>
                  </a:lnTo>
                  <a:lnTo>
                    <a:pt x="607" y="58"/>
                  </a:lnTo>
                  <a:lnTo>
                    <a:pt x="584" y="58"/>
                  </a:lnTo>
                  <a:lnTo>
                    <a:pt x="580" y="50"/>
                  </a:lnTo>
                  <a:lnTo>
                    <a:pt x="549" y="50"/>
                  </a:lnTo>
                  <a:lnTo>
                    <a:pt x="549" y="42"/>
                  </a:lnTo>
                  <a:lnTo>
                    <a:pt x="532" y="42"/>
                  </a:lnTo>
                  <a:lnTo>
                    <a:pt x="513" y="46"/>
                  </a:lnTo>
                  <a:lnTo>
                    <a:pt x="495" y="46"/>
                  </a:lnTo>
                  <a:lnTo>
                    <a:pt x="491" y="38"/>
                  </a:lnTo>
                  <a:lnTo>
                    <a:pt x="488" y="40"/>
                  </a:lnTo>
                  <a:lnTo>
                    <a:pt x="486" y="42"/>
                  </a:lnTo>
                  <a:lnTo>
                    <a:pt x="480" y="42"/>
                  </a:lnTo>
                  <a:lnTo>
                    <a:pt x="474" y="40"/>
                  </a:lnTo>
                  <a:lnTo>
                    <a:pt x="467" y="35"/>
                  </a:lnTo>
                  <a:lnTo>
                    <a:pt x="461" y="31"/>
                  </a:lnTo>
                  <a:lnTo>
                    <a:pt x="445" y="33"/>
                  </a:lnTo>
                  <a:lnTo>
                    <a:pt x="434" y="37"/>
                  </a:lnTo>
                  <a:lnTo>
                    <a:pt x="419" y="38"/>
                  </a:lnTo>
                  <a:lnTo>
                    <a:pt x="407" y="37"/>
                  </a:lnTo>
                  <a:lnTo>
                    <a:pt x="390" y="33"/>
                  </a:lnTo>
                  <a:lnTo>
                    <a:pt x="376" y="27"/>
                  </a:lnTo>
                  <a:lnTo>
                    <a:pt x="372" y="19"/>
                  </a:lnTo>
                  <a:lnTo>
                    <a:pt x="359" y="19"/>
                  </a:lnTo>
                  <a:lnTo>
                    <a:pt x="344" y="23"/>
                  </a:lnTo>
                  <a:lnTo>
                    <a:pt x="334" y="23"/>
                  </a:lnTo>
                  <a:lnTo>
                    <a:pt x="328" y="19"/>
                  </a:lnTo>
                  <a:lnTo>
                    <a:pt x="326" y="13"/>
                  </a:lnTo>
                  <a:lnTo>
                    <a:pt x="323" y="8"/>
                  </a:lnTo>
                  <a:lnTo>
                    <a:pt x="307" y="19"/>
                  </a:lnTo>
                  <a:lnTo>
                    <a:pt x="300" y="23"/>
                  </a:lnTo>
                  <a:lnTo>
                    <a:pt x="298" y="13"/>
                  </a:lnTo>
                  <a:lnTo>
                    <a:pt x="292" y="2"/>
                  </a:lnTo>
                  <a:lnTo>
                    <a:pt x="269" y="0"/>
                  </a:lnTo>
                  <a:lnTo>
                    <a:pt x="261" y="6"/>
                  </a:lnTo>
                  <a:lnTo>
                    <a:pt x="253" y="13"/>
                  </a:lnTo>
                  <a:lnTo>
                    <a:pt x="246" y="19"/>
                  </a:lnTo>
                  <a:lnTo>
                    <a:pt x="223" y="19"/>
                  </a:lnTo>
                  <a:lnTo>
                    <a:pt x="221" y="21"/>
                  </a:lnTo>
                  <a:lnTo>
                    <a:pt x="219" y="27"/>
                  </a:lnTo>
                  <a:lnTo>
                    <a:pt x="215" y="27"/>
                  </a:lnTo>
                  <a:lnTo>
                    <a:pt x="215" y="25"/>
                  </a:lnTo>
                  <a:lnTo>
                    <a:pt x="213" y="19"/>
                  </a:lnTo>
                  <a:lnTo>
                    <a:pt x="207" y="19"/>
                  </a:lnTo>
                  <a:lnTo>
                    <a:pt x="207" y="27"/>
                  </a:lnTo>
                  <a:lnTo>
                    <a:pt x="196" y="27"/>
                  </a:lnTo>
                  <a:lnTo>
                    <a:pt x="194" y="29"/>
                  </a:lnTo>
                  <a:lnTo>
                    <a:pt x="192" y="35"/>
                  </a:lnTo>
                  <a:lnTo>
                    <a:pt x="165" y="35"/>
                  </a:lnTo>
                  <a:lnTo>
                    <a:pt x="156" y="42"/>
                  </a:lnTo>
                  <a:lnTo>
                    <a:pt x="148" y="54"/>
                  </a:lnTo>
                  <a:lnTo>
                    <a:pt x="142" y="61"/>
                  </a:lnTo>
                  <a:lnTo>
                    <a:pt x="138" y="63"/>
                  </a:lnTo>
                  <a:lnTo>
                    <a:pt x="133" y="63"/>
                  </a:lnTo>
                  <a:lnTo>
                    <a:pt x="131" y="65"/>
                  </a:lnTo>
                  <a:lnTo>
                    <a:pt x="127" y="79"/>
                  </a:lnTo>
                  <a:lnTo>
                    <a:pt x="123" y="100"/>
                  </a:lnTo>
                  <a:lnTo>
                    <a:pt x="119" y="111"/>
                  </a:lnTo>
                  <a:lnTo>
                    <a:pt x="106" y="115"/>
                  </a:lnTo>
                  <a:lnTo>
                    <a:pt x="77" y="115"/>
                  </a:lnTo>
                  <a:lnTo>
                    <a:pt x="73" y="117"/>
                  </a:lnTo>
                  <a:lnTo>
                    <a:pt x="69" y="121"/>
                  </a:lnTo>
                  <a:lnTo>
                    <a:pt x="65" y="123"/>
                  </a:lnTo>
                  <a:lnTo>
                    <a:pt x="62" y="121"/>
                  </a:lnTo>
                  <a:lnTo>
                    <a:pt x="52" y="119"/>
                  </a:lnTo>
                  <a:lnTo>
                    <a:pt x="42" y="119"/>
                  </a:lnTo>
                  <a:lnTo>
                    <a:pt x="42" y="144"/>
                  </a:lnTo>
                  <a:lnTo>
                    <a:pt x="40" y="148"/>
                  </a:lnTo>
                  <a:lnTo>
                    <a:pt x="38" y="150"/>
                  </a:lnTo>
                  <a:lnTo>
                    <a:pt x="48" y="154"/>
                  </a:lnTo>
                  <a:lnTo>
                    <a:pt x="60" y="158"/>
                  </a:lnTo>
                  <a:lnTo>
                    <a:pt x="69" y="161"/>
                  </a:lnTo>
                  <a:lnTo>
                    <a:pt x="75" y="167"/>
                  </a:lnTo>
                  <a:lnTo>
                    <a:pt x="83" y="177"/>
                  </a:lnTo>
                  <a:lnTo>
                    <a:pt x="88" y="181"/>
                  </a:lnTo>
                  <a:lnTo>
                    <a:pt x="92" y="181"/>
                  </a:lnTo>
                  <a:lnTo>
                    <a:pt x="98" y="179"/>
                  </a:lnTo>
                  <a:lnTo>
                    <a:pt x="104" y="181"/>
                  </a:lnTo>
                  <a:lnTo>
                    <a:pt x="106" y="186"/>
                  </a:lnTo>
                  <a:lnTo>
                    <a:pt x="104" y="194"/>
                  </a:lnTo>
                  <a:lnTo>
                    <a:pt x="108" y="200"/>
                  </a:lnTo>
                  <a:lnTo>
                    <a:pt x="117" y="200"/>
                  </a:lnTo>
                  <a:lnTo>
                    <a:pt x="123" y="196"/>
                  </a:lnTo>
                  <a:lnTo>
                    <a:pt x="146" y="196"/>
                  </a:lnTo>
                  <a:lnTo>
                    <a:pt x="154" y="198"/>
                  </a:lnTo>
                  <a:lnTo>
                    <a:pt x="152" y="204"/>
                  </a:lnTo>
                  <a:lnTo>
                    <a:pt x="146" y="208"/>
                  </a:lnTo>
                  <a:lnTo>
                    <a:pt x="169" y="219"/>
                  </a:lnTo>
                  <a:lnTo>
                    <a:pt x="169" y="217"/>
                  </a:lnTo>
                  <a:lnTo>
                    <a:pt x="175" y="215"/>
                  </a:lnTo>
                  <a:lnTo>
                    <a:pt x="181" y="215"/>
                  </a:lnTo>
                  <a:lnTo>
                    <a:pt x="181" y="227"/>
                  </a:lnTo>
                  <a:lnTo>
                    <a:pt x="169" y="225"/>
                  </a:lnTo>
                  <a:lnTo>
                    <a:pt x="161" y="225"/>
                  </a:lnTo>
                  <a:lnTo>
                    <a:pt x="154" y="223"/>
                  </a:lnTo>
                  <a:lnTo>
                    <a:pt x="146" y="231"/>
                  </a:lnTo>
                  <a:lnTo>
                    <a:pt x="161" y="231"/>
                  </a:lnTo>
                  <a:lnTo>
                    <a:pt x="165" y="246"/>
                  </a:lnTo>
                  <a:lnTo>
                    <a:pt x="161" y="238"/>
                  </a:lnTo>
                  <a:lnTo>
                    <a:pt x="146" y="250"/>
                  </a:lnTo>
                  <a:lnTo>
                    <a:pt x="127" y="248"/>
                  </a:lnTo>
                  <a:lnTo>
                    <a:pt x="110" y="242"/>
                  </a:lnTo>
                  <a:lnTo>
                    <a:pt x="96" y="238"/>
                  </a:lnTo>
                  <a:lnTo>
                    <a:pt x="100" y="231"/>
                  </a:lnTo>
                  <a:lnTo>
                    <a:pt x="98" y="217"/>
                  </a:lnTo>
                  <a:lnTo>
                    <a:pt x="96" y="211"/>
                  </a:lnTo>
                  <a:lnTo>
                    <a:pt x="79" y="217"/>
                  </a:lnTo>
                  <a:lnTo>
                    <a:pt x="65" y="221"/>
                  </a:lnTo>
                  <a:lnTo>
                    <a:pt x="50" y="227"/>
                  </a:lnTo>
                  <a:lnTo>
                    <a:pt x="50" y="242"/>
                  </a:lnTo>
                  <a:lnTo>
                    <a:pt x="42" y="242"/>
                  </a:lnTo>
                  <a:lnTo>
                    <a:pt x="27" y="238"/>
                  </a:lnTo>
                  <a:lnTo>
                    <a:pt x="17" y="242"/>
                  </a:lnTo>
                  <a:lnTo>
                    <a:pt x="8" y="252"/>
                  </a:lnTo>
                  <a:lnTo>
                    <a:pt x="0" y="258"/>
                  </a:lnTo>
                  <a:lnTo>
                    <a:pt x="4" y="265"/>
                  </a:lnTo>
                  <a:lnTo>
                    <a:pt x="21" y="265"/>
                  </a:lnTo>
                  <a:lnTo>
                    <a:pt x="37" y="269"/>
                  </a:lnTo>
                  <a:lnTo>
                    <a:pt x="23" y="277"/>
                  </a:lnTo>
                  <a:lnTo>
                    <a:pt x="27" y="281"/>
                  </a:lnTo>
                  <a:lnTo>
                    <a:pt x="29" y="286"/>
                  </a:lnTo>
                  <a:lnTo>
                    <a:pt x="35" y="288"/>
                  </a:lnTo>
                  <a:lnTo>
                    <a:pt x="35" y="292"/>
                  </a:lnTo>
                  <a:lnTo>
                    <a:pt x="38" y="300"/>
                  </a:lnTo>
                  <a:lnTo>
                    <a:pt x="63" y="306"/>
                  </a:lnTo>
                  <a:lnTo>
                    <a:pt x="92" y="302"/>
                  </a:lnTo>
                  <a:lnTo>
                    <a:pt x="119" y="296"/>
                  </a:lnTo>
                  <a:lnTo>
                    <a:pt x="121" y="300"/>
                  </a:lnTo>
                  <a:lnTo>
                    <a:pt x="127" y="307"/>
                  </a:lnTo>
                  <a:lnTo>
                    <a:pt x="131" y="311"/>
                  </a:lnTo>
                  <a:lnTo>
                    <a:pt x="133" y="307"/>
                  </a:lnTo>
                  <a:lnTo>
                    <a:pt x="134" y="302"/>
                  </a:lnTo>
                  <a:lnTo>
                    <a:pt x="138" y="300"/>
                  </a:lnTo>
                  <a:lnTo>
                    <a:pt x="154" y="298"/>
                  </a:lnTo>
                  <a:lnTo>
                    <a:pt x="167" y="300"/>
                  </a:lnTo>
                  <a:lnTo>
                    <a:pt x="181" y="300"/>
                  </a:lnTo>
                  <a:lnTo>
                    <a:pt x="177" y="313"/>
                  </a:lnTo>
                  <a:lnTo>
                    <a:pt x="175" y="327"/>
                  </a:lnTo>
                  <a:lnTo>
                    <a:pt x="177" y="346"/>
                  </a:lnTo>
                  <a:lnTo>
                    <a:pt x="154" y="357"/>
                  </a:lnTo>
                  <a:lnTo>
                    <a:pt x="150" y="356"/>
                  </a:lnTo>
                  <a:lnTo>
                    <a:pt x="148" y="354"/>
                  </a:lnTo>
                  <a:lnTo>
                    <a:pt x="146" y="354"/>
                  </a:lnTo>
                  <a:lnTo>
                    <a:pt x="140" y="357"/>
                  </a:lnTo>
                  <a:lnTo>
                    <a:pt x="134" y="365"/>
                  </a:lnTo>
                  <a:lnTo>
                    <a:pt x="131" y="369"/>
                  </a:lnTo>
                  <a:lnTo>
                    <a:pt x="111" y="369"/>
                  </a:lnTo>
                  <a:lnTo>
                    <a:pt x="110" y="365"/>
                  </a:lnTo>
                  <a:lnTo>
                    <a:pt x="106" y="359"/>
                  </a:lnTo>
                  <a:lnTo>
                    <a:pt x="104" y="357"/>
                  </a:lnTo>
                  <a:lnTo>
                    <a:pt x="92" y="357"/>
                  </a:lnTo>
                  <a:lnTo>
                    <a:pt x="81" y="369"/>
                  </a:lnTo>
                  <a:lnTo>
                    <a:pt x="79" y="375"/>
                  </a:lnTo>
                  <a:lnTo>
                    <a:pt x="92" y="377"/>
                  </a:lnTo>
                  <a:lnTo>
                    <a:pt x="92" y="388"/>
                  </a:lnTo>
                  <a:lnTo>
                    <a:pt x="90" y="388"/>
                  </a:lnTo>
                  <a:lnTo>
                    <a:pt x="85" y="386"/>
                  </a:lnTo>
                  <a:lnTo>
                    <a:pt x="81" y="384"/>
                  </a:lnTo>
                  <a:lnTo>
                    <a:pt x="79" y="388"/>
                  </a:lnTo>
                  <a:lnTo>
                    <a:pt x="79" y="392"/>
                  </a:lnTo>
                  <a:lnTo>
                    <a:pt x="77" y="396"/>
                  </a:lnTo>
                  <a:lnTo>
                    <a:pt x="63" y="402"/>
                  </a:lnTo>
                  <a:lnTo>
                    <a:pt x="58" y="407"/>
                  </a:lnTo>
                  <a:lnTo>
                    <a:pt x="58" y="419"/>
                  </a:lnTo>
                  <a:lnTo>
                    <a:pt x="50" y="423"/>
                  </a:lnTo>
                  <a:lnTo>
                    <a:pt x="46" y="427"/>
                  </a:lnTo>
                  <a:lnTo>
                    <a:pt x="63" y="440"/>
                  </a:lnTo>
                  <a:lnTo>
                    <a:pt x="79" y="448"/>
                  </a:lnTo>
                  <a:lnTo>
                    <a:pt x="104" y="450"/>
                  </a:lnTo>
                  <a:lnTo>
                    <a:pt x="96" y="465"/>
                  </a:lnTo>
                  <a:lnTo>
                    <a:pt x="92" y="461"/>
                  </a:lnTo>
                  <a:lnTo>
                    <a:pt x="88" y="455"/>
                  </a:lnTo>
                  <a:lnTo>
                    <a:pt x="85" y="454"/>
                  </a:lnTo>
                  <a:lnTo>
                    <a:pt x="77" y="454"/>
                  </a:lnTo>
                  <a:lnTo>
                    <a:pt x="73" y="457"/>
                  </a:lnTo>
                  <a:lnTo>
                    <a:pt x="77" y="461"/>
                  </a:lnTo>
                  <a:lnTo>
                    <a:pt x="77" y="469"/>
                  </a:lnTo>
                  <a:lnTo>
                    <a:pt x="90" y="469"/>
                  </a:lnTo>
                  <a:lnTo>
                    <a:pt x="86" y="475"/>
                  </a:lnTo>
                  <a:lnTo>
                    <a:pt x="85" y="484"/>
                  </a:lnTo>
                  <a:lnTo>
                    <a:pt x="86" y="488"/>
                  </a:lnTo>
                  <a:lnTo>
                    <a:pt x="92" y="494"/>
                  </a:lnTo>
                  <a:lnTo>
                    <a:pt x="96" y="500"/>
                  </a:lnTo>
                  <a:lnTo>
                    <a:pt x="110" y="500"/>
                  </a:lnTo>
                  <a:lnTo>
                    <a:pt x="123" y="498"/>
                  </a:lnTo>
                  <a:lnTo>
                    <a:pt x="131" y="488"/>
                  </a:lnTo>
                  <a:lnTo>
                    <a:pt x="131" y="484"/>
                  </a:lnTo>
                  <a:lnTo>
                    <a:pt x="129" y="480"/>
                  </a:lnTo>
                  <a:lnTo>
                    <a:pt x="131" y="477"/>
                  </a:lnTo>
                  <a:lnTo>
                    <a:pt x="134" y="477"/>
                  </a:lnTo>
                  <a:lnTo>
                    <a:pt x="140" y="478"/>
                  </a:lnTo>
                  <a:lnTo>
                    <a:pt x="138" y="484"/>
                  </a:lnTo>
                  <a:lnTo>
                    <a:pt x="136" y="486"/>
                  </a:lnTo>
                  <a:lnTo>
                    <a:pt x="138" y="498"/>
                  </a:lnTo>
                  <a:lnTo>
                    <a:pt x="150" y="515"/>
                  </a:lnTo>
                  <a:lnTo>
                    <a:pt x="148" y="517"/>
                  </a:lnTo>
                  <a:lnTo>
                    <a:pt x="146" y="521"/>
                  </a:lnTo>
                  <a:lnTo>
                    <a:pt x="146" y="527"/>
                  </a:lnTo>
                  <a:lnTo>
                    <a:pt x="144" y="527"/>
                  </a:lnTo>
                  <a:lnTo>
                    <a:pt x="146" y="528"/>
                  </a:lnTo>
                  <a:lnTo>
                    <a:pt x="154" y="530"/>
                  </a:lnTo>
                  <a:lnTo>
                    <a:pt x="152" y="536"/>
                  </a:lnTo>
                  <a:lnTo>
                    <a:pt x="150" y="544"/>
                  </a:lnTo>
                  <a:lnTo>
                    <a:pt x="150" y="550"/>
                  </a:lnTo>
                  <a:lnTo>
                    <a:pt x="163" y="544"/>
                  </a:lnTo>
                  <a:lnTo>
                    <a:pt x="175" y="532"/>
                  </a:lnTo>
                  <a:lnTo>
                    <a:pt x="188" y="527"/>
                  </a:lnTo>
                  <a:lnTo>
                    <a:pt x="192" y="528"/>
                  </a:lnTo>
                  <a:lnTo>
                    <a:pt x="194" y="534"/>
                  </a:lnTo>
                  <a:lnTo>
                    <a:pt x="196" y="538"/>
                  </a:lnTo>
                  <a:lnTo>
                    <a:pt x="202" y="538"/>
                  </a:lnTo>
                  <a:lnTo>
                    <a:pt x="205" y="534"/>
                  </a:lnTo>
                  <a:lnTo>
                    <a:pt x="211" y="534"/>
                  </a:lnTo>
                  <a:lnTo>
                    <a:pt x="223" y="552"/>
                  </a:lnTo>
                  <a:lnTo>
                    <a:pt x="227" y="550"/>
                  </a:lnTo>
                  <a:lnTo>
                    <a:pt x="227" y="542"/>
                  </a:lnTo>
                  <a:lnTo>
                    <a:pt x="242" y="546"/>
                  </a:lnTo>
                  <a:lnTo>
                    <a:pt x="257" y="544"/>
                  </a:lnTo>
                  <a:lnTo>
                    <a:pt x="276" y="534"/>
                  </a:lnTo>
                  <a:lnTo>
                    <a:pt x="273" y="542"/>
                  </a:lnTo>
                  <a:lnTo>
                    <a:pt x="273" y="550"/>
                  </a:lnTo>
                  <a:lnTo>
                    <a:pt x="269" y="557"/>
                  </a:lnTo>
                  <a:lnTo>
                    <a:pt x="255" y="569"/>
                  </a:lnTo>
                  <a:lnTo>
                    <a:pt x="250" y="577"/>
                  </a:lnTo>
                  <a:lnTo>
                    <a:pt x="250" y="600"/>
                  </a:lnTo>
                  <a:lnTo>
                    <a:pt x="234" y="623"/>
                  </a:lnTo>
                  <a:lnTo>
                    <a:pt x="221" y="632"/>
                  </a:lnTo>
                  <a:lnTo>
                    <a:pt x="204" y="642"/>
                  </a:lnTo>
                  <a:lnTo>
                    <a:pt x="188" y="650"/>
                  </a:lnTo>
                  <a:lnTo>
                    <a:pt x="188" y="665"/>
                  </a:lnTo>
                  <a:lnTo>
                    <a:pt x="181" y="665"/>
                  </a:lnTo>
                  <a:lnTo>
                    <a:pt x="173" y="669"/>
                  </a:lnTo>
                  <a:lnTo>
                    <a:pt x="175" y="665"/>
                  </a:lnTo>
                  <a:lnTo>
                    <a:pt x="163" y="663"/>
                  </a:lnTo>
                  <a:lnTo>
                    <a:pt x="150" y="665"/>
                  </a:lnTo>
                  <a:lnTo>
                    <a:pt x="142" y="673"/>
                  </a:lnTo>
                  <a:lnTo>
                    <a:pt x="131" y="699"/>
                  </a:lnTo>
                  <a:lnTo>
                    <a:pt x="127" y="699"/>
                  </a:lnTo>
                  <a:lnTo>
                    <a:pt x="123" y="698"/>
                  </a:lnTo>
                  <a:lnTo>
                    <a:pt x="115" y="701"/>
                  </a:lnTo>
                  <a:lnTo>
                    <a:pt x="115" y="711"/>
                  </a:lnTo>
                  <a:lnTo>
                    <a:pt x="133" y="705"/>
                  </a:lnTo>
                  <a:lnTo>
                    <a:pt x="142" y="694"/>
                  </a:lnTo>
                  <a:lnTo>
                    <a:pt x="154" y="671"/>
                  </a:lnTo>
                  <a:lnTo>
                    <a:pt x="157" y="673"/>
                  </a:lnTo>
                  <a:lnTo>
                    <a:pt x="161" y="673"/>
                  </a:lnTo>
                  <a:lnTo>
                    <a:pt x="165" y="671"/>
                  </a:lnTo>
                  <a:lnTo>
                    <a:pt x="163" y="675"/>
                  </a:lnTo>
                  <a:lnTo>
                    <a:pt x="161" y="682"/>
                  </a:lnTo>
                  <a:lnTo>
                    <a:pt x="161" y="684"/>
                  </a:lnTo>
                  <a:lnTo>
                    <a:pt x="179" y="682"/>
                  </a:lnTo>
                  <a:lnTo>
                    <a:pt x="194" y="671"/>
                  </a:lnTo>
                  <a:lnTo>
                    <a:pt x="207" y="665"/>
                  </a:lnTo>
                  <a:lnTo>
                    <a:pt x="211" y="665"/>
                  </a:lnTo>
                  <a:lnTo>
                    <a:pt x="211" y="669"/>
                  </a:lnTo>
                  <a:lnTo>
                    <a:pt x="215" y="669"/>
                  </a:lnTo>
                  <a:lnTo>
                    <a:pt x="219" y="657"/>
                  </a:lnTo>
                  <a:lnTo>
                    <a:pt x="223" y="657"/>
                  </a:lnTo>
                  <a:lnTo>
                    <a:pt x="223" y="661"/>
                  </a:lnTo>
                  <a:lnTo>
                    <a:pt x="227" y="661"/>
                  </a:lnTo>
                  <a:lnTo>
                    <a:pt x="227" y="646"/>
                  </a:lnTo>
                  <a:lnTo>
                    <a:pt x="230" y="644"/>
                  </a:lnTo>
                  <a:lnTo>
                    <a:pt x="236" y="642"/>
                  </a:lnTo>
                  <a:lnTo>
                    <a:pt x="242" y="642"/>
                  </a:lnTo>
                  <a:lnTo>
                    <a:pt x="240" y="640"/>
                  </a:lnTo>
                  <a:lnTo>
                    <a:pt x="238" y="636"/>
                  </a:lnTo>
                  <a:lnTo>
                    <a:pt x="238" y="634"/>
                  </a:lnTo>
                  <a:lnTo>
                    <a:pt x="242" y="632"/>
                  </a:lnTo>
                  <a:lnTo>
                    <a:pt x="246" y="634"/>
                  </a:lnTo>
                  <a:lnTo>
                    <a:pt x="250" y="634"/>
                  </a:lnTo>
                  <a:lnTo>
                    <a:pt x="257" y="628"/>
                  </a:lnTo>
                  <a:lnTo>
                    <a:pt x="267" y="621"/>
                  </a:lnTo>
                  <a:lnTo>
                    <a:pt x="276" y="615"/>
                  </a:lnTo>
                  <a:lnTo>
                    <a:pt x="273" y="603"/>
                  </a:lnTo>
                  <a:lnTo>
                    <a:pt x="278" y="600"/>
                  </a:lnTo>
                  <a:lnTo>
                    <a:pt x="286" y="598"/>
                  </a:lnTo>
                  <a:lnTo>
                    <a:pt x="292" y="596"/>
                  </a:lnTo>
                  <a:lnTo>
                    <a:pt x="307" y="577"/>
                  </a:lnTo>
                  <a:lnTo>
                    <a:pt x="315" y="569"/>
                  </a:lnTo>
                  <a:lnTo>
                    <a:pt x="321" y="567"/>
                  </a:lnTo>
                  <a:lnTo>
                    <a:pt x="328" y="567"/>
                  </a:lnTo>
                  <a:lnTo>
                    <a:pt x="334" y="565"/>
                  </a:lnTo>
                  <a:lnTo>
                    <a:pt x="334" y="552"/>
                  </a:lnTo>
                  <a:lnTo>
                    <a:pt x="338" y="548"/>
                  </a:lnTo>
                  <a:lnTo>
                    <a:pt x="346" y="544"/>
                  </a:lnTo>
                  <a:lnTo>
                    <a:pt x="353" y="542"/>
                  </a:lnTo>
                  <a:lnTo>
                    <a:pt x="353" y="534"/>
                  </a:lnTo>
                  <a:lnTo>
                    <a:pt x="348" y="532"/>
                  </a:lnTo>
                  <a:lnTo>
                    <a:pt x="340" y="532"/>
                  </a:lnTo>
                  <a:lnTo>
                    <a:pt x="334" y="534"/>
                  </a:lnTo>
                  <a:lnTo>
                    <a:pt x="340" y="513"/>
                  </a:lnTo>
                  <a:lnTo>
                    <a:pt x="349" y="502"/>
                  </a:lnTo>
                  <a:lnTo>
                    <a:pt x="369" y="492"/>
                  </a:lnTo>
                  <a:lnTo>
                    <a:pt x="365" y="484"/>
                  </a:lnTo>
                  <a:lnTo>
                    <a:pt x="365" y="480"/>
                  </a:lnTo>
                  <a:lnTo>
                    <a:pt x="380" y="480"/>
                  </a:lnTo>
                  <a:lnTo>
                    <a:pt x="380" y="469"/>
                  </a:lnTo>
                  <a:lnTo>
                    <a:pt x="384" y="465"/>
                  </a:lnTo>
                  <a:lnTo>
                    <a:pt x="388" y="463"/>
                  </a:lnTo>
                  <a:lnTo>
                    <a:pt x="394" y="463"/>
                  </a:lnTo>
                  <a:lnTo>
                    <a:pt x="399" y="461"/>
                  </a:lnTo>
                  <a:lnTo>
                    <a:pt x="401" y="455"/>
                  </a:lnTo>
                  <a:lnTo>
                    <a:pt x="401" y="450"/>
                  </a:lnTo>
                  <a:lnTo>
                    <a:pt x="403" y="446"/>
                  </a:lnTo>
                  <a:lnTo>
                    <a:pt x="422" y="430"/>
                  </a:lnTo>
                  <a:lnTo>
                    <a:pt x="428" y="430"/>
                  </a:lnTo>
                  <a:lnTo>
                    <a:pt x="430" y="434"/>
                  </a:lnTo>
                  <a:lnTo>
                    <a:pt x="434" y="438"/>
                  </a:lnTo>
                  <a:lnTo>
                    <a:pt x="445" y="430"/>
                  </a:lnTo>
                  <a:lnTo>
                    <a:pt x="453" y="430"/>
                  </a:lnTo>
                  <a:lnTo>
                    <a:pt x="451" y="434"/>
                  </a:lnTo>
                  <a:lnTo>
                    <a:pt x="445" y="438"/>
                  </a:lnTo>
                  <a:lnTo>
                    <a:pt x="445" y="446"/>
                  </a:lnTo>
                  <a:lnTo>
                    <a:pt x="451" y="446"/>
                  </a:lnTo>
                  <a:lnTo>
                    <a:pt x="451" y="450"/>
                  </a:lnTo>
                  <a:lnTo>
                    <a:pt x="453" y="454"/>
                  </a:lnTo>
                  <a:lnTo>
                    <a:pt x="434" y="450"/>
                  </a:lnTo>
                  <a:lnTo>
                    <a:pt x="426" y="450"/>
                  </a:lnTo>
                  <a:lnTo>
                    <a:pt x="415" y="461"/>
                  </a:lnTo>
                  <a:lnTo>
                    <a:pt x="407" y="461"/>
                  </a:lnTo>
                  <a:lnTo>
                    <a:pt x="405" y="473"/>
                  </a:lnTo>
                  <a:lnTo>
                    <a:pt x="401" y="492"/>
                  </a:lnTo>
                  <a:lnTo>
                    <a:pt x="399" y="507"/>
                  </a:lnTo>
                  <a:lnTo>
                    <a:pt x="403" y="505"/>
                  </a:lnTo>
                  <a:lnTo>
                    <a:pt x="407" y="507"/>
                  </a:lnTo>
                  <a:lnTo>
                    <a:pt x="411" y="507"/>
                  </a:lnTo>
                  <a:lnTo>
                    <a:pt x="411" y="515"/>
                  </a:lnTo>
                  <a:lnTo>
                    <a:pt x="399" y="519"/>
                  </a:lnTo>
                  <a:lnTo>
                    <a:pt x="395" y="523"/>
                  </a:lnTo>
                  <a:lnTo>
                    <a:pt x="397" y="525"/>
                  </a:lnTo>
                  <a:lnTo>
                    <a:pt x="401" y="527"/>
                  </a:lnTo>
                  <a:lnTo>
                    <a:pt x="403" y="530"/>
                  </a:lnTo>
                  <a:lnTo>
                    <a:pt x="415" y="525"/>
                  </a:lnTo>
                  <a:lnTo>
                    <a:pt x="422" y="523"/>
                  </a:lnTo>
                  <a:lnTo>
                    <a:pt x="434" y="519"/>
                  </a:lnTo>
                  <a:lnTo>
                    <a:pt x="434" y="511"/>
                  </a:lnTo>
                  <a:lnTo>
                    <a:pt x="438" y="509"/>
                  </a:lnTo>
                  <a:lnTo>
                    <a:pt x="443" y="509"/>
                  </a:lnTo>
                  <a:lnTo>
                    <a:pt x="449" y="507"/>
                  </a:lnTo>
                  <a:lnTo>
                    <a:pt x="453" y="500"/>
                  </a:lnTo>
                  <a:lnTo>
                    <a:pt x="455" y="492"/>
                  </a:lnTo>
                  <a:lnTo>
                    <a:pt x="461" y="488"/>
                  </a:lnTo>
                  <a:lnTo>
                    <a:pt x="468" y="488"/>
                  </a:lnTo>
                  <a:lnTo>
                    <a:pt x="478" y="494"/>
                  </a:lnTo>
                  <a:lnTo>
                    <a:pt x="488" y="496"/>
                  </a:lnTo>
                  <a:lnTo>
                    <a:pt x="490" y="492"/>
                  </a:lnTo>
                  <a:lnTo>
                    <a:pt x="493" y="488"/>
                  </a:lnTo>
                  <a:lnTo>
                    <a:pt x="499" y="484"/>
                  </a:lnTo>
                  <a:lnTo>
                    <a:pt x="497" y="477"/>
                  </a:lnTo>
                  <a:lnTo>
                    <a:pt x="495" y="467"/>
                  </a:lnTo>
                  <a:lnTo>
                    <a:pt x="495" y="469"/>
                  </a:lnTo>
                  <a:lnTo>
                    <a:pt x="491" y="467"/>
                  </a:lnTo>
                  <a:lnTo>
                    <a:pt x="488" y="467"/>
                  </a:lnTo>
                  <a:lnTo>
                    <a:pt x="484" y="465"/>
                  </a:lnTo>
                  <a:lnTo>
                    <a:pt x="484" y="446"/>
                  </a:lnTo>
                  <a:lnTo>
                    <a:pt x="501" y="450"/>
                  </a:lnTo>
                  <a:lnTo>
                    <a:pt x="514" y="450"/>
                  </a:lnTo>
                  <a:lnTo>
                    <a:pt x="526" y="446"/>
                  </a:lnTo>
                  <a:lnTo>
                    <a:pt x="526" y="440"/>
                  </a:lnTo>
                  <a:lnTo>
                    <a:pt x="530" y="442"/>
                  </a:lnTo>
                  <a:lnTo>
                    <a:pt x="530" y="454"/>
                  </a:lnTo>
                  <a:lnTo>
                    <a:pt x="536" y="455"/>
                  </a:lnTo>
                  <a:lnTo>
                    <a:pt x="536" y="457"/>
                  </a:lnTo>
                  <a:lnTo>
                    <a:pt x="530" y="457"/>
                  </a:lnTo>
                  <a:lnTo>
                    <a:pt x="541" y="461"/>
                  </a:lnTo>
                  <a:lnTo>
                    <a:pt x="549" y="465"/>
                  </a:lnTo>
                  <a:lnTo>
                    <a:pt x="547" y="469"/>
                  </a:lnTo>
                  <a:lnTo>
                    <a:pt x="547" y="477"/>
                  </a:lnTo>
                  <a:lnTo>
                    <a:pt x="549" y="480"/>
                  </a:lnTo>
                  <a:lnTo>
                    <a:pt x="557" y="480"/>
                  </a:lnTo>
                  <a:lnTo>
                    <a:pt x="561" y="477"/>
                  </a:lnTo>
                  <a:lnTo>
                    <a:pt x="568" y="477"/>
                  </a:lnTo>
                  <a:lnTo>
                    <a:pt x="568" y="478"/>
                  </a:lnTo>
                  <a:lnTo>
                    <a:pt x="570" y="484"/>
                  </a:lnTo>
                  <a:lnTo>
                    <a:pt x="572" y="488"/>
                  </a:lnTo>
                  <a:lnTo>
                    <a:pt x="578" y="490"/>
                  </a:lnTo>
                  <a:lnTo>
                    <a:pt x="584" y="490"/>
                  </a:lnTo>
                  <a:lnTo>
                    <a:pt x="591" y="492"/>
                  </a:lnTo>
                  <a:lnTo>
                    <a:pt x="591" y="496"/>
                  </a:lnTo>
                  <a:lnTo>
                    <a:pt x="607" y="496"/>
                  </a:lnTo>
                  <a:lnTo>
                    <a:pt x="620" y="492"/>
                  </a:lnTo>
                  <a:lnTo>
                    <a:pt x="637" y="492"/>
                  </a:lnTo>
                  <a:lnTo>
                    <a:pt x="658" y="500"/>
                  </a:lnTo>
                  <a:lnTo>
                    <a:pt x="685" y="511"/>
                  </a:lnTo>
                  <a:lnTo>
                    <a:pt x="710" y="515"/>
                  </a:lnTo>
                  <a:lnTo>
                    <a:pt x="712" y="513"/>
                  </a:lnTo>
                  <a:lnTo>
                    <a:pt x="714" y="509"/>
                  </a:lnTo>
                  <a:lnTo>
                    <a:pt x="718" y="507"/>
                  </a:lnTo>
                  <a:lnTo>
                    <a:pt x="714" y="527"/>
                  </a:lnTo>
                  <a:lnTo>
                    <a:pt x="733" y="536"/>
                  </a:lnTo>
                  <a:lnTo>
                    <a:pt x="741" y="538"/>
                  </a:lnTo>
                  <a:lnTo>
                    <a:pt x="741" y="527"/>
                  </a:lnTo>
                  <a:lnTo>
                    <a:pt x="752" y="527"/>
                  </a:lnTo>
                  <a:lnTo>
                    <a:pt x="752" y="532"/>
                  </a:lnTo>
                  <a:lnTo>
                    <a:pt x="749" y="540"/>
                  </a:lnTo>
                  <a:lnTo>
                    <a:pt x="749" y="550"/>
                  </a:lnTo>
                  <a:lnTo>
                    <a:pt x="756" y="550"/>
                  </a:lnTo>
                  <a:lnTo>
                    <a:pt x="772" y="573"/>
                  </a:lnTo>
                  <a:lnTo>
                    <a:pt x="776" y="569"/>
                  </a:lnTo>
                  <a:lnTo>
                    <a:pt x="779" y="567"/>
                  </a:lnTo>
                  <a:lnTo>
                    <a:pt x="783" y="569"/>
                  </a:lnTo>
                  <a:lnTo>
                    <a:pt x="783" y="580"/>
                  </a:lnTo>
                  <a:lnTo>
                    <a:pt x="791" y="580"/>
                  </a:lnTo>
                  <a:lnTo>
                    <a:pt x="795" y="584"/>
                  </a:lnTo>
                  <a:lnTo>
                    <a:pt x="791" y="588"/>
                  </a:lnTo>
                  <a:lnTo>
                    <a:pt x="791" y="592"/>
                  </a:lnTo>
                  <a:lnTo>
                    <a:pt x="795" y="588"/>
                  </a:lnTo>
                  <a:lnTo>
                    <a:pt x="799" y="588"/>
                  </a:lnTo>
                  <a:lnTo>
                    <a:pt x="799" y="592"/>
                  </a:lnTo>
                  <a:lnTo>
                    <a:pt x="797" y="598"/>
                  </a:lnTo>
                  <a:lnTo>
                    <a:pt x="799" y="603"/>
                  </a:lnTo>
                  <a:lnTo>
                    <a:pt x="802" y="605"/>
                  </a:lnTo>
                  <a:lnTo>
                    <a:pt x="812" y="611"/>
                  </a:lnTo>
                  <a:lnTo>
                    <a:pt x="818" y="615"/>
                  </a:lnTo>
                  <a:lnTo>
                    <a:pt x="818" y="626"/>
                  </a:lnTo>
                  <a:lnTo>
                    <a:pt x="822" y="634"/>
                  </a:lnTo>
                  <a:lnTo>
                    <a:pt x="837" y="653"/>
                  </a:lnTo>
                  <a:lnTo>
                    <a:pt x="841" y="655"/>
                  </a:lnTo>
                  <a:lnTo>
                    <a:pt x="843" y="657"/>
                  </a:lnTo>
                  <a:lnTo>
                    <a:pt x="845" y="661"/>
                  </a:lnTo>
                  <a:lnTo>
                    <a:pt x="848" y="659"/>
                  </a:lnTo>
                  <a:lnTo>
                    <a:pt x="848" y="650"/>
                  </a:lnTo>
                  <a:lnTo>
                    <a:pt x="856" y="653"/>
                  </a:lnTo>
                  <a:lnTo>
                    <a:pt x="860" y="657"/>
                  </a:lnTo>
                  <a:lnTo>
                    <a:pt x="856" y="661"/>
                  </a:lnTo>
                  <a:lnTo>
                    <a:pt x="856" y="665"/>
                  </a:lnTo>
                  <a:lnTo>
                    <a:pt x="860" y="665"/>
                  </a:lnTo>
                  <a:lnTo>
                    <a:pt x="868" y="669"/>
                  </a:lnTo>
                  <a:lnTo>
                    <a:pt x="866" y="665"/>
                  </a:lnTo>
                  <a:lnTo>
                    <a:pt x="864" y="659"/>
                  </a:lnTo>
                  <a:lnTo>
                    <a:pt x="864" y="653"/>
                  </a:lnTo>
                  <a:lnTo>
                    <a:pt x="868" y="651"/>
                  </a:lnTo>
                  <a:lnTo>
                    <a:pt x="868" y="657"/>
                  </a:lnTo>
                  <a:lnTo>
                    <a:pt x="875" y="657"/>
                  </a:lnTo>
                  <a:lnTo>
                    <a:pt x="875" y="650"/>
                  </a:lnTo>
                  <a:lnTo>
                    <a:pt x="879" y="634"/>
                  </a:lnTo>
                  <a:lnTo>
                    <a:pt x="871" y="634"/>
                  </a:lnTo>
                  <a:lnTo>
                    <a:pt x="871" y="630"/>
                  </a:lnTo>
                  <a:lnTo>
                    <a:pt x="860" y="630"/>
                  </a:lnTo>
                  <a:lnTo>
                    <a:pt x="860" y="646"/>
                  </a:lnTo>
                  <a:lnTo>
                    <a:pt x="856" y="644"/>
                  </a:lnTo>
                  <a:lnTo>
                    <a:pt x="848" y="642"/>
                  </a:lnTo>
                  <a:lnTo>
                    <a:pt x="845" y="642"/>
                  </a:lnTo>
                  <a:lnTo>
                    <a:pt x="843" y="636"/>
                  </a:lnTo>
                  <a:lnTo>
                    <a:pt x="843" y="628"/>
                  </a:lnTo>
                  <a:lnTo>
                    <a:pt x="841" y="623"/>
                  </a:lnTo>
                  <a:lnTo>
                    <a:pt x="837" y="621"/>
                  </a:lnTo>
                  <a:lnTo>
                    <a:pt x="829" y="619"/>
                  </a:lnTo>
                  <a:lnTo>
                    <a:pt x="831" y="615"/>
                  </a:lnTo>
                  <a:lnTo>
                    <a:pt x="837" y="613"/>
                  </a:lnTo>
                  <a:lnTo>
                    <a:pt x="841" y="611"/>
                  </a:lnTo>
                  <a:lnTo>
                    <a:pt x="839" y="607"/>
                  </a:lnTo>
                  <a:lnTo>
                    <a:pt x="837" y="601"/>
                  </a:lnTo>
                  <a:lnTo>
                    <a:pt x="837" y="600"/>
                  </a:lnTo>
                  <a:lnTo>
                    <a:pt x="829" y="600"/>
                  </a:lnTo>
                  <a:lnTo>
                    <a:pt x="829" y="590"/>
                  </a:lnTo>
                  <a:lnTo>
                    <a:pt x="822" y="584"/>
                  </a:lnTo>
                  <a:lnTo>
                    <a:pt x="808" y="580"/>
                  </a:lnTo>
                  <a:lnTo>
                    <a:pt x="799" y="580"/>
                  </a:lnTo>
                  <a:lnTo>
                    <a:pt x="802" y="580"/>
                  </a:lnTo>
                  <a:lnTo>
                    <a:pt x="810" y="578"/>
                  </a:lnTo>
                  <a:lnTo>
                    <a:pt x="818" y="575"/>
                  </a:lnTo>
                  <a:lnTo>
                    <a:pt x="825" y="573"/>
                  </a:lnTo>
                  <a:lnTo>
                    <a:pt x="825" y="578"/>
                  </a:lnTo>
                  <a:lnTo>
                    <a:pt x="829" y="580"/>
                  </a:lnTo>
                  <a:lnTo>
                    <a:pt x="825" y="573"/>
                  </a:lnTo>
                  <a:lnTo>
                    <a:pt x="825" y="559"/>
                  </a:lnTo>
                  <a:lnTo>
                    <a:pt x="829" y="552"/>
                  </a:lnTo>
                  <a:lnTo>
                    <a:pt x="833" y="559"/>
                  </a:lnTo>
                  <a:lnTo>
                    <a:pt x="839" y="569"/>
                  </a:lnTo>
                  <a:lnTo>
                    <a:pt x="845" y="577"/>
                  </a:lnTo>
                  <a:lnTo>
                    <a:pt x="848" y="575"/>
                  </a:lnTo>
                  <a:lnTo>
                    <a:pt x="852" y="575"/>
                  </a:lnTo>
                  <a:lnTo>
                    <a:pt x="856" y="577"/>
                  </a:lnTo>
                  <a:lnTo>
                    <a:pt x="856" y="584"/>
                  </a:lnTo>
                  <a:lnTo>
                    <a:pt x="860" y="584"/>
                  </a:lnTo>
                  <a:lnTo>
                    <a:pt x="864" y="582"/>
                  </a:lnTo>
                  <a:lnTo>
                    <a:pt x="868" y="584"/>
                  </a:lnTo>
                  <a:lnTo>
                    <a:pt x="870" y="586"/>
                  </a:lnTo>
                  <a:lnTo>
                    <a:pt x="864" y="592"/>
                  </a:lnTo>
                  <a:lnTo>
                    <a:pt x="864" y="594"/>
                  </a:lnTo>
                  <a:lnTo>
                    <a:pt x="866" y="598"/>
                  </a:lnTo>
                  <a:lnTo>
                    <a:pt x="868" y="600"/>
                  </a:lnTo>
                  <a:lnTo>
                    <a:pt x="871" y="607"/>
                  </a:lnTo>
                  <a:lnTo>
                    <a:pt x="871" y="613"/>
                  </a:lnTo>
                  <a:lnTo>
                    <a:pt x="875" y="626"/>
                  </a:lnTo>
                  <a:lnTo>
                    <a:pt x="887" y="626"/>
                  </a:lnTo>
                  <a:lnTo>
                    <a:pt x="887" y="632"/>
                  </a:lnTo>
                  <a:lnTo>
                    <a:pt x="889" y="636"/>
                  </a:lnTo>
                  <a:lnTo>
                    <a:pt x="891" y="642"/>
                  </a:lnTo>
                  <a:lnTo>
                    <a:pt x="887" y="644"/>
                  </a:lnTo>
                  <a:lnTo>
                    <a:pt x="885" y="648"/>
                  </a:lnTo>
                  <a:lnTo>
                    <a:pt x="883" y="653"/>
                  </a:lnTo>
                  <a:lnTo>
                    <a:pt x="885" y="653"/>
                  </a:lnTo>
                  <a:lnTo>
                    <a:pt x="889" y="655"/>
                  </a:lnTo>
                  <a:lnTo>
                    <a:pt x="891" y="657"/>
                  </a:lnTo>
                  <a:lnTo>
                    <a:pt x="891" y="646"/>
                  </a:lnTo>
                  <a:lnTo>
                    <a:pt x="895" y="648"/>
                  </a:lnTo>
                  <a:lnTo>
                    <a:pt x="900" y="651"/>
                  </a:lnTo>
                  <a:lnTo>
                    <a:pt x="906" y="653"/>
                  </a:lnTo>
                  <a:lnTo>
                    <a:pt x="902" y="657"/>
                  </a:lnTo>
                  <a:lnTo>
                    <a:pt x="902" y="661"/>
                  </a:lnTo>
                  <a:lnTo>
                    <a:pt x="904" y="661"/>
                  </a:lnTo>
                  <a:lnTo>
                    <a:pt x="908" y="657"/>
                  </a:lnTo>
                  <a:lnTo>
                    <a:pt x="910" y="657"/>
                  </a:lnTo>
                  <a:lnTo>
                    <a:pt x="910" y="690"/>
                  </a:lnTo>
                  <a:lnTo>
                    <a:pt x="916" y="684"/>
                  </a:lnTo>
                  <a:lnTo>
                    <a:pt x="918" y="675"/>
                  </a:lnTo>
                  <a:lnTo>
                    <a:pt x="919" y="686"/>
                  </a:lnTo>
                  <a:lnTo>
                    <a:pt x="921" y="694"/>
                  </a:lnTo>
                  <a:lnTo>
                    <a:pt x="925" y="707"/>
                  </a:lnTo>
                  <a:lnTo>
                    <a:pt x="929" y="705"/>
                  </a:lnTo>
                  <a:lnTo>
                    <a:pt x="931" y="703"/>
                  </a:lnTo>
                  <a:lnTo>
                    <a:pt x="937" y="707"/>
                  </a:lnTo>
                  <a:lnTo>
                    <a:pt x="937" y="692"/>
                  </a:lnTo>
                  <a:lnTo>
                    <a:pt x="941" y="690"/>
                  </a:lnTo>
                  <a:lnTo>
                    <a:pt x="941" y="703"/>
                  </a:lnTo>
                  <a:lnTo>
                    <a:pt x="939" y="707"/>
                  </a:lnTo>
                  <a:lnTo>
                    <a:pt x="933" y="713"/>
                  </a:lnTo>
                  <a:lnTo>
                    <a:pt x="935" y="719"/>
                  </a:lnTo>
                  <a:lnTo>
                    <a:pt x="937" y="723"/>
                  </a:lnTo>
                  <a:lnTo>
                    <a:pt x="937" y="726"/>
                  </a:lnTo>
                  <a:lnTo>
                    <a:pt x="941" y="728"/>
                  </a:lnTo>
                  <a:lnTo>
                    <a:pt x="952" y="728"/>
                  </a:lnTo>
                  <a:lnTo>
                    <a:pt x="952" y="724"/>
                  </a:lnTo>
                  <a:lnTo>
                    <a:pt x="964" y="713"/>
                  </a:lnTo>
                  <a:lnTo>
                    <a:pt x="967" y="713"/>
                  </a:lnTo>
                  <a:lnTo>
                    <a:pt x="973" y="707"/>
                  </a:lnTo>
                  <a:lnTo>
                    <a:pt x="973" y="705"/>
                  </a:lnTo>
                  <a:lnTo>
                    <a:pt x="975" y="701"/>
                  </a:lnTo>
                  <a:lnTo>
                    <a:pt x="975" y="698"/>
                  </a:lnTo>
                  <a:lnTo>
                    <a:pt x="973" y="692"/>
                  </a:lnTo>
                  <a:lnTo>
                    <a:pt x="975" y="686"/>
                  </a:lnTo>
                  <a:lnTo>
                    <a:pt x="979" y="682"/>
                  </a:lnTo>
                  <a:lnTo>
                    <a:pt x="977" y="676"/>
                  </a:lnTo>
                  <a:lnTo>
                    <a:pt x="975" y="675"/>
                  </a:lnTo>
                  <a:lnTo>
                    <a:pt x="973" y="667"/>
                  </a:lnTo>
                  <a:lnTo>
                    <a:pt x="969" y="661"/>
                  </a:lnTo>
                  <a:lnTo>
                    <a:pt x="966" y="661"/>
                  </a:lnTo>
                  <a:lnTo>
                    <a:pt x="964" y="663"/>
                  </a:lnTo>
                  <a:lnTo>
                    <a:pt x="962" y="659"/>
                  </a:lnTo>
                  <a:lnTo>
                    <a:pt x="958" y="653"/>
                  </a:lnTo>
                  <a:lnTo>
                    <a:pt x="952" y="651"/>
                  </a:lnTo>
                  <a:lnTo>
                    <a:pt x="941" y="644"/>
                  </a:lnTo>
                  <a:lnTo>
                    <a:pt x="929" y="638"/>
                  </a:lnTo>
                  <a:lnTo>
                    <a:pt x="923" y="630"/>
                  </a:lnTo>
                  <a:lnTo>
                    <a:pt x="921" y="619"/>
                  </a:lnTo>
                  <a:lnTo>
                    <a:pt x="916" y="609"/>
                  </a:lnTo>
                  <a:lnTo>
                    <a:pt x="908" y="603"/>
                  </a:lnTo>
                  <a:lnTo>
                    <a:pt x="904" y="594"/>
                  </a:lnTo>
                  <a:lnTo>
                    <a:pt x="898" y="584"/>
                  </a:lnTo>
                  <a:lnTo>
                    <a:pt x="889" y="573"/>
                  </a:lnTo>
                  <a:lnTo>
                    <a:pt x="875" y="559"/>
                  </a:lnTo>
                  <a:lnTo>
                    <a:pt x="866" y="548"/>
                  </a:lnTo>
                  <a:lnTo>
                    <a:pt x="860" y="540"/>
                  </a:lnTo>
                  <a:lnTo>
                    <a:pt x="852" y="532"/>
                  </a:lnTo>
                  <a:lnTo>
                    <a:pt x="843" y="528"/>
                  </a:lnTo>
                  <a:lnTo>
                    <a:pt x="835" y="525"/>
                  </a:lnTo>
                  <a:lnTo>
                    <a:pt x="833" y="521"/>
                  </a:lnTo>
                  <a:lnTo>
                    <a:pt x="831" y="513"/>
                  </a:lnTo>
                  <a:lnTo>
                    <a:pt x="829" y="509"/>
                  </a:lnTo>
                  <a:lnTo>
                    <a:pt x="822" y="505"/>
                  </a:lnTo>
                  <a:lnTo>
                    <a:pt x="814" y="500"/>
                  </a:lnTo>
                  <a:lnTo>
                    <a:pt x="808" y="496"/>
                  </a:lnTo>
                  <a:lnTo>
                    <a:pt x="799" y="498"/>
                  </a:lnTo>
                  <a:lnTo>
                    <a:pt x="791" y="500"/>
                  </a:lnTo>
                  <a:lnTo>
                    <a:pt x="789" y="502"/>
                  </a:lnTo>
                  <a:lnTo>
                    <a:pt x="791" y="507"/>
                  </a:lnTo>
                  <a:lnTo>
                    <a:pt x="791" y="515"/>
                  </a:lnTo>
                  <a:lnTo>
                    <a:pt x="785" y="521"/>
                  </a:lnTo>
                  <a:lnTo>
                    <a:pt x="777" y="523"/>
                  </a:lnTo>
                  <a:lnTo>
                    <a:pt x="768" y="527"/>
                  </a:lnTo>
                  <a:lnTo>
                    <a:pt x="760" y="534"/>
                  </a:lnTo>
                  <a:lnTo>
                    <a:pt x="758" y="530"/>
                  </a:lnTo>
                  <a:lnTo>
                    <a:pt x="756" y="521"/>
                  </a:lnTo>
                  <a:lnTo>
                    <a:pt x="747" y="511"/>
                  </a:lnTo>
                  <a:lnTo>
                    <a:pt x="735" y="503"/>
                  </a:lnTo>
                  <a:lnTo>
                    <a:pt x="726" y="494"/>
                  </a:lnTo>
                  <a:lnTo>
                    <a:pt x="722" y="488"/>
                  </a:lnTo>
                  <a:lnTo>
                    <a:pt x="718" y="477"/>
                  </a:lnTo>
                  <a:lnTo>
                    <a:pt x="716" y="467"/>
                  </a:lnTo>
                  <a:lnTo>
                    <a:pt x="716" y="459"/>
                  </a:lnTo>
                  <a:lnTo>
                    <a:pt x="705" y="467"/>
                  </a:lnTo>
                  <a:lnTo>
                    <a:pt x="699" y="469"/>
                  </a:lnTo>
                  <a:lnTo>
                    <a:pt x="687" y="461"/>
                  </a:lnTo>
                  <a:lnTo>
                    <a:pt x="680" y="461"/>
                  </a:lnTo>
                  <a:lnTo>
                    <a:pt x="670" y="465"/>
                  </a:lnTo>
                  <a:lnTo>
                    <a:pt x="664" y="467"/>
                  </a:lnTo>
                  <a:lnTo>
                    <a:pt x="655" y="6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299" name="Freeform 304"/>
            <p:cNvSpPr>
              <a:spLocks/>
            </p:cNvSpPr>
            <p:nvPr/>
          </p:nvSpPr>
          <p:spPr bwMode="gray">
            <a:xfrm>
              <a:off x="3788" y="2180"/>
              <a:ext cx="166" cy="132"/>
            </a:xfrm>
            <a:custGeom>
              <a:avLst/>
              <a:gdLst>
                <a:gd name="T0" fmla="*/ 161 w 332"/>
                <a:gd name="T1" fmla="*/ 19 h 265"/>
                <a:gd name="T2" fmla="*/ 140 w 332"/>
                <a:gd name="T3" fmla="*/ 11 h 265"/>
                <a:gd name="T4" fmla="*/ 119 w 332"/>
                <a:gd name="T5" fmla="*/ 7 h 265"/>
                <a:gd name="T6" fmla="*/ 102 w 332"/>
                <a:gd name="T7" fmla="*/ 0 h 265"/>
                <a:gd name="T8" fmla="*/ 92 w 332"/>
                <a:gd name="T9" fmla="*/ 11 h 265"/>
                <a:gd name="T10" fmla="*/ 88 w 332"/>
                <a:gd name="T11" fmla="*/ 36 h 265"/>
                <a:gd name="T12" fmla="*/ 79 w 332"/>
                <a:gd name="T13" fmla="*/ 61 h 265"/>
                <a:gd name="T14" fmla="*/ 48 w 332"/>
                <a:gd name="T15" fmla="*/ 69 h 265"/>
                <a:gd name="T16" fmla="*/ 31 w 332"/>
                <a:gd name="T17" fmla="*/ 71 h 265"/>
                <a:gd name="T18" fmla="*/ 23 w 332"/>
                <a:gd name="T19" fmla="*/ 90 h 265"/>
                <a:gd name="T20" fmla="*/ 8 w 332"/>
                <a:gd name="T21" fmla="*/ 96 h 265"/>
                <a:gd name="T22" fmla="*/ 0 w 332"/>
                <a:gd name="T23" fmla="*/ 125 h 265"/>
                <a:gd name="T24" fmla="*/ 8 w 332"/>
                <a:gd name="T25" fmla="*/ 136 h 265"/>
                <a:gd name="T26" fmla="*/ 2 w 332"/>
                <a:gd name="T27" fmla="*/ 155 h 265"/>
                <a:gd name="T28" fmla="*/ 15 w 332"/>
                <a:gd name="T29" fmla="*/ 180 h 265"/>
                <a:gd name="T30" fmla="*/ 17 w 332"/>
                <a:gd name="T31" fmla="*/ 202 h 265"/>
                <a:gd name="T32" fmla="*/ 46 w 332"/>
                <a:gd name="T33" fmla="*/ 209 h 265"/>
                <a:gd name="T34" fmla="*/ 19 w 332"/>
                <a:gd name="T35" fmla="*/ 250 h 265"/>
                <a:gd name="T36" fmla="*/ 54 w 332"/>
                <a:gd name="T37" fmla="*/ 261 h 265"/>
                <a:gd name="T38" fmla="*/ 86 w 332"/>
                <a:gd name="T39" fmla="*/ 259 h 265"/>
                <a:gd name="T40" fmla="*/ 102 w 332"/>
                <a:gd name="T41" fmla="*/ 253 h 265"/>
                <a:gd name="T42" fmla="*/ 117 w 332"/>
                <a:gd name="T43" fmla="*/ 240 h 265"/>
                <a:gd name="T44" fmla="*/ 132 w 332"/>
                <a:gd name="T45" fmla="*/ 223 h 265"/>
                <a:gd name="T46" fmla="*/ 157 w 332"/>
                <a:gd name="T47" fmla="*/ 204 h 265"/>
                <a:gd name="T48" fmla="*/ 169 w 332"/>
                <a:gd name="T49" fmla="*/ 192 h 265"/>
                <a:gd name="T50" fmla="*/ 173 w 332"/>
                <a:gd name="T51" fmla="*/ 175 h 265"/>
                <a:gd name="T52" fmla="*/ 182 w 332"/>
                <a:gd name="T53" fmla="*/ 173 h 265"/>
                <a:gd name="T54" fmla="*/ 203 w 332"/>
                <a:gd name="T55" fmla="*/ 173 h 265"/>
                <a:gd name="T56" fmla="*/ 205 w 332"/>
                <a:gd name="T57" fmla="*/ 154 h 265"/>
                <a:gd name="T58" fmla="*/ 217 w 332"/>
                <a:gd name="T59" fmla="*/ 130 h 265"/>
                <a:gd name="T60" fmla="*/ 213 w 332"/>
                <a:gd name="T61" fmla="*/ 111 h 265"/>
                <a:gd name="T62" fmla="*/ 236 w 332"/>
                <a:gd name="T63" fmla="*/ 111 h 265"/>
                <a:gd name="T64" fmla="*/ 234 w 332"/>
                <a:gd name="T65" fmla="*/ 86 h 265"/>
                <a:gd name="T66" fmla="*/ 242 w 332"/>
                <a:gd name="T67" fmla="*/ 65 h 265"/>
                <a:gd name="T68" fmla="*/ 286 w 332"/>
                <a:gd name="T69" fmla="*/ 44 h 265"/>
                <a:gd name="T70" fmla="*/ 318 w 332"/>
                <a:gd name="T71" fmla="*/ 40 h 265"/>
                <a:gd name="T72" fmla="*/ 332 w 332"/>
                <a:gd name="T73" fmla="*/ 32 h 265"/>
                <a:gd name="T74" fmla="*/ 315 w 332"/>
                <a:gd name="T75" fmla="*/ 27 h 265"/>
                <a:gd name="T76" fmla="*/ 288 w 332"/>
                <a:gd name="T77" fmla="*/ 23 h 265"/>
                <a:gd name="T78" fmla="*/ 261 w 332"/>
                <a:gd name="T79" fmla="*/ 34 h 265"/>
                <a:gd name="T80" fmla="*/ 242 w 332"/>
                <a:gd name="T81" fmla="*/ 54 h 265"/>
                <a:gd name="T82" fmla="*/ 219 w 332"/>
                <a:gd name="T83" fmla="*/ 46 h 265"/>
                <a:gd name="T84" fmla="*/ 228 w 332"/>
                <a:gd name="T85" fmla="*/ 19 h 265"/>
                <a:gd name="T86" fmla="*/ 217 w 332"/>
                <a:gd name="T87" fmla="*/ 2 h 265"/>
                <a:gd name="T88" fmla="*/ 198 w 332"/>
                <a:gd name="T89" fmla="*/ 11 h 265"/>
                <a:gd name="T90" fmla="*/ 178 w 332"/>
                <a:gd name="T91" fmla="*/ 15 h 26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32"/>
                <a:gd name="T139" fmla="*/ 0 h 265"/>
                <a:gd name="T140" fmla="*/ 332 w 332"/>
                <a:gd name="T141" fmla="*/ 265 h 26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32" h="265">
                  <a:moveTo>
                    <a:pt x="173" y="17"/>
                  </a:moveTo>
                  <a:lnTo>
                    <a:pt x="161" y="19"/>
                  </a:lnTo>
                  <a:lnTo>
                    <a:pt x="150" y="19"/>
                  </a:lnTo>
                  <a:lnTo>
                    <a:pt x="140" y="11"/>
                  </a:lnTo>
                  <a:lnTo>
                    <a:pt x="130" y="7"/>
                  </a:lnTo>
                  <a:lnTo>
                    <a:pt x="119" y="7"/>
                  </a:lnTo>
                  <a:lnTo>
                    <a:pt x="111" y="2"/>
                  </a:lnTo>
                  <a:lnTo>
                    <a:pt x="102" y="0"/>
                  </a:lnTo>
                  <a:lnTo>
                    <a:pt x="98" y="6"/>
                  </a:lnTo>
                  <a:lnTo>
                    <a:pt x="92" y="11"/>
                  </a:lnTo>
                  <a:lnTo>
                    <a:pt x="92" y="27"/>
                  </a:lnTo>
                  <a:lnTo>
                    <a:pt x="88" y="36"/>
                  </a:lnTo>
                  <a:lnTo>
                    <a:pt x="75" y="52"/>
                  </a:lnTo>
                  <a:lnTo>
                    <a:pt x="79" y="61"/>
                  </a:lnTo>
                  <a:lnTo>
                    <a:pt x="57" y="75"/>
                  </a:lnTo>
                  <a:lnTo>
                    <a:pt x="48" y="69"/>
                  </a:lnTo>
                  <a:lnTo>
                    <a:pt x="42" y="75"/>
                  </a:lnTo>
                  <a:lnTo>
                    <a:pt x="31" y="71"/>
                  </a:lnTo>
                  <a:lnTo>
                    <a:pt x="25" y="82"/>
                  </a:lnTo>
                  <a:lnTo>
                    <a:pt x="23" y="90"/>
                  </a:lnTo>
                  <a:lnTo>
                    <a:pt x="13" y="92"/>
                  </a:lnTo>
                  <a:lnTo>
                    <a:pt x="8" y="96"/>
                  </a:lnTo>
                  <a:lnTo>
                    <a:pt x="2" y="105"/>
                  </a:lnTo>
                  <a:lnTo>
                    <a:pt x="0" y="125"/>
                  </a:lnTo>
                  <a:lnTo>
                    <a:pt x="2" y="130"/>
                  </a:lnTo>
                  <a:lnTo>
                    <a:pt x="8" y="136"/>
                  </a:lnTo>
                  <a:lnTo>
                    <a:pt x="0" y="144"/>
                  </a:lnTo>
                  <a:lnTo>
                    <a:pt x="2" y="155"/>
                  </a:lnTo>
                  <a:lnTo>
                    <a:pt x="9" y="167"/>
                  </a:lnTo>
                  <a:lnTo>
                    <a:pt x="15" y="180"/>
                  </a:lnTo>
                  <a:lnTo>
                    <a:pt x="17" y="194"/>
                  </a:lnTo>
                  <a:lnTo>
                    <a:pt x="17" y="202"/>
                  </a:lnTo>
                  <a:lnTo>
                    <a:pt x="40" y="204"/>
                  </a:lnTo>
                  <a:lnTo>
                    <a:pt x="46" y="209"/>
                  </a:lnTo>
                  <a:lnTo>
                    <a:pt x="46" y="219"/>
                  </a:lnTo>
                  <a:lnTo>
                    <a:pt x="19" y="250"/>
                  </a:lnTo>
                  <a:lnTo>
                    <a:pt x="44" y="265"/>
                  </a:lnTo>
                  <a:lnTo>
                    <a:pt x="54" y="261"/>
                  </a:lnTo>
                  <a:lnTo>
                    <a:pt x="63" y="259"/>
                  </a:lnTo>
                  <a:lnTo>
                    <a:pt x="86" y="259"/>
                  </a:lnTo>
                  <a:lnTo>
                    <a:pt x="98" y="265"/>
                  </a:lnTo>
                  <a:lnTo>
                    <a:pt x="102" y="253"/>
                  </a:lnTo>
                  <a:lnTo>
                    <a:pt x="115" y="252"/>
                  </a:lnTo>
                  <a:lnTo>
                    <a:pt x="117" y="240"/>
                  </a:lnTo>
                  <a:lnTo>
                    <a:pt x="121" y="228"/>
                  </a:lnTo>
                  <a:lnTo>
                    <a:pt x="132" y="223"/>
                  </a:lnTo>
                  <a:lnTo>
                    <a:pt x="150" y="200"/>
                  </a:lnTo>
                  <a:lnTo>
                    <a:pt x="157" y="204"/>
                  </a:lnTo>
                  <a:lnTo>
                    <a:pt x="165" y="200"/>
                  </a:lnTo>
                  <a:lnTo>
                    <a:pt x="169" y="192"/>
                  </a:lnTo>
                  <a:lnTo>
                    <a:pt x="159" y="182"/>
                  </a:lnTo>
                  <a:lnTo>
                    <a:pt x="173" y="175"/>
                  </a:lnTo>
                  <a:lnTo>
                    <a:pt x="178" y="167"/>
                  </a:lnTo>
                  <a:lnTo>
                    <a:pt x="182" y="173"/>
                  </a:lnTo>
                  <a:lnTo>
                    <a:pt x="194" y="177"/>
                  </a:lnTo>
                  <a:lnTo>
                    <a:pt x="203" y="173"/>
                  </a:lnTo>
                  <a:lnTo>
                    <a:pt x="205" y="163"/>
                  </a:lnTo>
                  <a:lnTo>
                    <a:pt x="205" y="154"/>
                  </a:lnTo>
                  <a:lnTo>
                    <a:pt x="217" y="144"/>
                  </a:lnTo>
                  <a:lnTo>
                    <a:pt x="217" y="130"/>
                  </a:lnTo>
                  <a:lnTo>
                    <a:pt x="207" y="121"/>
                  </a:lnTo>
                  <a:lnTo>
                    <a:pt x="213" y="111"/>
                  </a:lnTo>
                  <a:lnTo>
                    <a:pt x="222" y="113"/>
                  </a:lnTo>
                  <a:lnTo>
                    <a:pt x="236" y="111"/>
                  </a:lnTo>
                  <a:lnTo>
                    <a:pt x="240" y="96"/>
                  </a:lnTo>
                  <a:lnTo>
                    <a:pt x="234" y="86"/>
                  </a:lnTo>
                  <a:lnTo>
                    <a:pt x="244" y="79"/>
                  </a:lnTo>
                  <a:lnTo>
                    <a:pt x="242" y="65"/>
                  </a:lnTo>
                  <a:lnTo>
                    <a:pt x="270" y="48"/>
                  </a:lnTo>
                  <a:lnTo>
                    <a:pt x="286" y="44"/>
                  </a:lnTo>
                  <a:lnTo>
                    <a:pt x="303" y="38"/>
                  </a:lnTo>
                  <a:lnTo>
                    <a:pt x="318" y="40"/>
                  </a:lnTo>
                  <a:lnTo>
                    <a:pt x="326" y="38"/>
                  </a:lnTo>
                  <a:lnTo>
                    <a:pt x="332" y="32"/>
                  </a:lnTo>
                  <a:lnTo>
                    <a:pt x="332" y="23"/>
                  </a:lnTo>
                  <a:lnTo>
                    <a:pt x="315" y="27"/>
                  </a:lnTo>
                  <a:lnTo>
                    <a:pt x="295" y="21"/>
                  </a:lnTo>
                  <a:lnTo>
                    <a:pt x="288" y="23"/>
                  </a:lnTo>
                  <a:lnTo>
                    <a:pt x="270" y="32"/>
                  </a:lnTo>
                  <a:lnTo>
                    <a:pt x="261" y="34"/>
                  </a:lnTo>
                  <a:lnTo>
                    <a:pt x="255" y="44"/>
                  </a:lnTo>
                  <a:lnTo>
                    <a:pt x="242" y="54"/>
                  </a:lnTo>
                  <a:lnTo>
                    <a:pt x="230" y="57"/>
                  </a:lnTo>
                  <a:lnTo>
                    <a:pt x="219" y="46"/>
                  </a:lnTo>
                  <a:lnTo>
                    <a:pt x="222" y="29"/>
                  </a:lnTo>
                  <a:lnTo>
                    <a:pt x="228" y="19"/>
                  </a:lnTo>
                  <a:lnTo>
                    <a:pt x="222" y="11"/>
                  </a:lnTo>
                  <a:lnTo>
                    <a:pt x="217" y="2"/>
                  </a:lnTo>
                  <a:lnTo>
                    <a:pt x="209" y="0"/>
                  </a:lnTo>
                  <a:lnTo>
                    <a:pt x="198" y="11"/>
                  </a:lnTo>
                  <a:lnTo>
                    <a:pt x="186" y="15"/>
                  </a:lnTo>
                  <a:lnTo>
                    <a:pt x="178" y="15"/>
                  </a:lnTo>
                  <a:lnTo>
                    <a:pt x="173" y="17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0" name="Freeform 305"/>
            <p:cNvSpPr>
              <a:spLocks/>
            </p:cNvSpPr>
            <p:nvPr/>
          </p:nvSpPr>
          <p:spPr bwMode="gray">
            <a:xfrm>
              <a:off x="2106" y="3503"/>
              <a:ext cx="2" cy="4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2 h 8"/>
                <a:gd name="T4" fmla="*/ 4 w 4"/>
                <a:gd name="T5" fmla="*/ 8 h 8"/>
                <a:gd name="T6" fmla="*/ 0 w 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8"/>
                <a:gd name="T14" fmla="*/ 4 w 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8">
                  <a:moveTo>
                    <a:pt x="0" y="0"/>
                  </a:moveTo>
                  <a:lnTo>
                    <a:pt x="4" y="2"/>
                  </a:lnTo>
                  <a:lnTo>
                    <a:pt x="4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1" name="Freeform 306"/>
            <p:cNvSpPr>
              <a:spLocks/>
            </p:cNvSpPr>
            <p:nvPr/>
          </p:nvSpPr>
          <p:spPr bwMode="gray">
            <a:xfrm>
              <a:off x="2108" y="3461"/>
              <a:ext cx="11" cy="29"/>
            </a:xfrm>
            <a:custGeom>
              <a:avLst/>
              <a:gdLst>
                <a:gd name="T0" fmla="*/ 4 w 23"/>
                <a:gd name="T1" fmla="*/ 0 h 58"/>
                <a:gd name="T2" fmla="*/ 10 w 23"/>
                <a:gd name="T3" fmla="*/ 2 h 58"/>
                <a:gd name="T4" fmla="*/ 14 w 23"/>
                <a:gd name="T5" fmla="*/ 2 h 58"/>
                <a:gd name="T6" fmla="*/ 23 w 23"/>
                <a:gd name="T7" fmla="*/ 0 h 58"/>
                <a:gd name="T8" fmla="*/ 19 w 23"/>
                <a:gd name="T9" fmla="*/ 12 h 58"/>
                <a:gd name="T10" fmla="*/ 15 w 23"/>
                <a:gd name="T11" fmla="*/ 27 h 58"/>
                <a:gd name="T12" fmla="*/ 19 w 23"/>
                <a:gd name="T13" fmla="*/ 31 h 58"/>
                <a:gd name="T14" fmla="*/ 23 w 23"/>
                <a:gd name="T15" fmla="*/ 37 h 58"/>
                <a:gd name="T16" fmla="*/ 23 w 23"/>
                <a:gd name="T17" fmla="*/ 43 h 58"/>
                <a:gd name="T18" fmla="*/ 19 w 23"/>
                <a:gd name="T19" fmla="*/ 48 h 58"/>
                <a:gd name="T20" fmla="*/ 15 w 23"/>
                <a:gd name="T21" fmla="*/ 52 h 58"/>
                <a:gd name="T22" fmla="*/ 12 w 23"/>
                <a:gd name="T23" fmla="*/ 58 h 58"/>
                <a:gd name="T24" fmla="*/ 8 w 23"/>
                <a:gd name="T25" fmla="*/ 56 h 58"/>
                <a:gd name="T26" fmla="*/ 2 w 23"/>
                <a:gd name="T27" fmla="*/ 54 h 58"/>
                <a:gd name="T28" fmla="*/ 0 w 23"/>
                <a:gd name="T29" fmla="*/ 54 h 58"/>
                <a:gd name="T30" fmla="*/ 2 w 23"/>
                <a:gd name="T31" fmla="*/ 39 h 58"/>
                <a:gd name="T32" fmla="*/ 4 w 23"/>
                <a:gd name="T33" fmla="*/ 20 h 58"/>
                <a:gd name="T34" fmla="*/ 4 w 23"/>
                <a:gd name="T35" fmla="*/ 0 h 5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3"/>
                <a:gd name="T55" fmla="*/ 0 h 58"/>
                <a:gd name="T56" fmla="*/ 23 w 23"/>
                <a:gd name="T57" fmla="*/ 58 h 5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3" h="58">
                  <a:moveTo>
                    <a:pt x="4" y="0"/>
                  </a:moveTo>
                  <a:lnTo>
                    <a:pt x="10" y="2"/>
                  </a:lnTo>
                  <a:lnTo>
                    <a:pt x="14" y="2"/>
                  </a:lnTo>
                  <a:lnTo>
                    <a:pt x="23" y="0"/>
                  </a:lnTo>
                  <a:lnTo>
                    <a:pt x="19" y="12"/>
                  </a:lnTo>
                  <a:lnTo>
                    <a:pt x="15" y="27"/>
                  </a:lnTo>
                  <a:lnTo>
                    <a:pt x="19" y="31"/>
                  </a:lnTo>
                  <a:lnTo>
                    <a:pt x="23" y="37"/>
                  </a:lnTo>
                  <a:lnTo>
                    <a:pt x="23" y="43"/>
                  </a:lnTo>
                  <a:lnTo>
                    <a:pt x="19" y="48"/>
                  </a:lnTo>
                  <a:lnTo>
                    <a:pt x="15" y="52"/>
                  </a:lnTo>
                  <a:lnTo>
                    <a:pt x="12" y="58"/>
                  </a:lnTo>
                  <a:lnTo>
                    <a:pt x="8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2" y="39"/>
                  </a:lnTo>
                  <a:lnTo>
                    <a:pt x="4" y="2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2" name="Freeform 307"/>
            <p:cNvSpPr>
              <a:spLocks/>
            </p:cNvSpPr>
            <p:nvPr/>
          </p:nvSpPr>
          <p:spPr bwMode="gray">
            <a:xfrm>
              <a:off x="2012" y="2663"/>
              <a:ext cx="2" cy="4"/>
            </a:xfrm>
            <a:custGeom>
              <a:avLst/>
              <a:gdLst>
                <a:gd name="T0" fmla="*/ 0 w 6"/>
                <a:gd name="T1" fmla="*/ 0 h 8"/>
                <a:gd name="T2" fmla="*/ 4 w 6"/>
                <a:gd name="T3" fmla="*/ 4 h 8"/>
                <a:gd name="T4" fmla="*/ 6 w 6"/>
                <a:gd name="T5" fmla="*/ 8 h 8"/>
                <a:gd name="T6" fmla="*/ 4 w 6"/>
                <a:gd name="T7" fmla="*/ 8 h 8"/>
                <a:gd name="T8" fmla="*/ 0 w 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0" y="0"/>
                  </a:moveTo>
                  <a:lnTo>
                    <a:pt x="4" y="4"/>
                  </a:lnTo>
                  <a:lnTo>
                    <a:pt x="6" y="8"/>
                  </a:lnTo>
                  <a:lnTo>
                    <a:pt x="4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3" name="Freeform 308"/>
            <p:cNvSpPr>
              <a:spLocks/>
            </p:cNvSpPr>
            <p:nvPr/>
          </p:nvSpPr>
          <p:spPr bwMode="gray">
            <a:xfrm>
              <a:off x="3370" y="1349"/>
              <a:ext cx="2021" cy="772"/>
            </a:xfrm>
            <a:custGeom>
              <a:avLst/>
              <a:gdLst>
                <a:gd name="T0" fmla="*/ 2142 w 4042"/>
                <a:gd name="T1" fmla="*/ 76 h 1545"/>
                <a:gd name="T2" fmla="*/ 1852 w 4042"/>
                <a:gd name="T3" fmla="*/ 30 h 1545"/>
                <a:gd name="T4" fmla="*/ 1733 w 4042"/>
                <a:gd name="T5" fmla="*/ 76 h 1545"/>
                <a:gd name="T6" fmla="*/ 1511 w 4042"/>
                <a:gd name="T7" fmla="*/ 144 h 1545"/>
                <a:gd name="T8" fmla="*/ 1370 w 4042"/>
                <a:gd name="T9" fmla="*/ 280 h 1545"/>
                <a:gd name="T10" fmla="*/ 1457 w 4042"/>
                <a:gd name="T11" fmla="*/ 399 h 1545"/>
                <a:gd name="T12" fmla="*/ 1282 w 4042"/>
                <a:gd name="T13" fmla="*/ 301 h 1545"/>
                <a:gd name="T14" fmla="*/ 1188 w 4042"/>
                <a:gd name="T15" fmla="*/ 295 h 1545"/>
                <a:gd name="T16" fmla="*/ 1299 w 4042"/>
                <a:gd name="T17" fmla="*/ 503 h 1545"/>
                <a:gd name="T18" fmla="*/ 1142 w 4042"/>
                <a:gd name="T19" fmla="*/ 578 h 1545"/>
                <a:gd name="T20" fmla="*/ 1123 w 4042"/>
                <a:gd name="T21" fmla="*/ 334 h 1545"/>
                <a:gd name="T22" fmla="*/ 1035 w 4042"/>
                <a:gd name="T23" fmla="*/ 436 h 1545"/>
                <a:gd name="T24" fmla="*/ 839 w 4042"/>
                <a:gd name="T25" fmla="*/ 409 h 1545"/>
                <a:gd name="T26" fmla="*/ 691 w 4042"/>
                <a:gd name="T27" fmla="*/ 463 h 1545"/>
                <a:gd name="T28" fmla="*/ 539 w 4042"/>
                <a:gd name="T29" fmla="*/ 491 h 1545"/>
                <a:gd name="T30" fmla="*/ 424 w 4042"/>
                <a:gd name="T31" fmla="*/ 453 h 1545"/>
                <a:gd name="T32" fmla="*/ 271 w 4042"/>
                <a:gd name="T33" fmla="*/ 628 h 1545"/>
                <a:gd name="T34" fmla="*/ 182 w 4042"/>
                <a:gd name="T35" fmla="*/ 532 h 1545"/>
                <a:gd name="T36" fmla="*/ 169 w 4042"/>
                <a:gd name="T37" fmla="*/ 401 h 1545"/>
                <a:gd name="T38" fmla="*/ 71 w 4042"/>
                <a:gd name="T39" fmla="*/ 536 h 1545"/>
                <a:gd name="T40" fmla="*/ 33 w 4042"/>
                <a:gd name="T41" fmla="*/ 778 h 1545"/>
                <a:gd name="T42" fmla="*/ 17 w 4042"/>
                <a:gd name="T43" fmla="*/ 897 h 1545"/>
                <a:gd name="T44" fmla="*/ 94 w 4042"/>
                <a:gd name="T45" fmla="*/ 1006 h 1545"/>
                <a:gd name="T46" fmla="*/ 182 w 4042"/>
                <a:gd name="T47" fmla="*/ 1170 h 1545"/>
                <a:gd name="T48" fmla="*/ 301 w 4042"/>
                <a:gd name="T49" fmla="*/ 1256 h 1545"/>
                <a:gd name="T50" fmla="*/ 244 w 4042"/>
                <a:gd name="T51" fmla="*/ 1397 h 1545"/>
                <a:gd name="T52" fmla="*/ 438 w 4042"/>
                <a:gd name="T53" fmla="*/ 1472 h 1545"/>
                <a:gd name="T54" fmla="*/ 511 w 4042"/>
                <a:gd name="T55" fmla="*/ 1477 h 1545"/>
                <a:gd name="T56" fmla="*/ 511 w 4042"/>
                <a:gd name="T57" fmla="*/ 1301 h 1545"/>
                <a:gd name="T58" fmla="*/ 587 w 4042"/>
                <a:gd name="T59" fmla="*/ 1164 h 1545"/>
                <a:gd name="T60" fmla="*/ 727 w 4042"/>
                <a:gd name="T61" fmla="*/ 1176 h 1545"/>
                <a:gd name="T62" fmla="*/ 871 w 4042"/>
                <a:gd name="T63" fmla="*/ 1055 h 1545"/>
                <a:gd name="T64" fmla="*/ 1278 w 4042"/>
                <a:gd name="T65" fmla="*/ 1162 h 1545"/>
                <a:gd name="T66" fmla="*/ 1656 w 4042"/>
                <a:gd name="T67" fmla="*/ 1195 h 1545"/>
                <a:gd name="T68" fmla="*/ 2073 w 4042"/>
                <a:gd name="T69" fmla="*/ 1247 h 1545"/>
                <a:gd name="T70" fmla="*/ 2407 w 4042"/>
                <a:gd name="T71" fmla="*/ 1097 h 1545"/>
                <a:gd name="T72" fmla="*/ 2668 w 4042"/>
                <a:gd name="T73" fmla="*/ 1316 h 1545"/>
                <a:gd name="T74" fmla="*/ 2620 w 4042"/>
                <a:gd name="T75" fmla="*/ 1458 h 1545"/>
                <a:gd name="T76" fmla="*/ 2806 w 4042"/>
                <a:gd name="T77" fmla="*/ 1266 h 1545"/>
                <a:gd name="T78" fmla="*/ 2762 w 4042"/>
                <a:gd name="T79" fmla="*/ 1089 h 1545"/>
                <a:gd name="T80" fmla="*/ 2773 w 4042"/>
                <a:gd name="T81" fmla="*/ 947 h 1545"/>
                <a:gd name="T82" fmla="*/ 2986 w 4042"/>
                <a:gd name="T83" fmla="*/ 855 h 1545"/>
                <a:gd name="T84" fmla="*/ 3178 w 4042"/>
                <a:gd name="T85" fmla="*/ 849 h 1545"/>
                <a:gd name="T86" fmla="*/ 3317 w 4042"/>
                <a:gd name="T87" fmla="*/ 739 h 1545"/>
                <a:gd name="T88" fmla="*/ 3416 w 4042"/>
                <a:gd name="T89" fmla="*/ 716 h 1545"/>
                <a:gd name="T90" fmla="*/ 3213 w 4042"/>
                <a:gd name="T91" fmla="*/ 949 h 1545"/>
                <a:gd name="T92" fmla="*/ 3378 w 4042"/>
                <a:gd name="T93" fmla="*/ 924 h 1545"/>
                <a:gd name="T94" fmla="*/ 3476 w 4042"/>
                <a:gd name="T95" fmla="*/ 812 h 1545"/>
                <a:gd name="T96" fmla="*/ 3754 w 4042"/>
                <a:gd name="T97" fmla="*/ 720 h 1545"/>
                <a:gd name="T98" fmla="*/ 3810 w 4042"/>
                <a:gd name="T99" fmla="*/ 607 h 1545"/>
                <a:gd name="T100" fmla="*/ 3933 w 4042"/>
                <a:gd name="T101" fmla="*/ 634 h 1545"/>
                <a:gd name="T102" fmla="*/ 4034 w 4042"/>
                <a:gd name="T103" fmla="*/ 574 h 1545"/>
                <a:gd name="T104" fmla="*/ 3833 w 4042"/>
                <a:gd name="T105" fmla="*/ 457 h 1545"/>
                <a:gd name="T106" fmla="*/ 3581 w 4042"/>
                <a:gd name="T107" fmla="*/ 399 h 1545"/>
                <a:gd name="T108" fmla="*/ 3422 w 4042"/>
                <a:gd name="T109" fmla="*/ 392 h 1545"/>
                <a:gd name="T110" fmla="*/ 3142 w 4042"/>
                <a:gd name="T111" fmla="*/ 342 h 1545"/>
                <a:gd name="T112" fmla="*/ 2983 w 4042"/>
                <a:gd name="T113" fmla="*/ 278 h 1545"/>
                <a:gd name="T114" fmla="*/ 2831 w 4042"/>
                <a:gd name="T115" fmla="*/ 242 h 1545"/>
                <a:gd name="T116" fmla="*/ 2687 w 4042"/>
                <a:gd name="T117" fmla="*/ 307 h 1545"/>
                <a:gd name="T118" fmla="*/ 2528 w 4042"/>
                <a:gd name="T119" fmla="*/ 319 h 1545"/>
                <a:gd name="T120" fmla="*/ 2432 w 4042"/>
                <a:gd name="T121" fmla="*/ 253 h 1545"/>
                <a:gd name="T122" fmla="*/ 2393 w 4042"/>
                <a:gd name="T123" fmla="*/ 245 h 1545"/>
                <a:gd name="T124" fmla="*/ 2129 w 4042"/>
                <a:gd name="T125" fmla="*/ 199 h 15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042"/>
                <a:gd name="T190" fmla="*/ 0 h 1545"/>
                <a:gd name="T191" fmla="*/ 4042 w 4042"/>
                <a:gd name="T192" fmla="*/ 1545 h 154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042" h="1545">
                  <a:moveTo>
                    <a:pt x="1979" y="261"/>
                  </a:moveTo>
                  <a:lnTo>
                    <a:pt x="1950" y="263"/>
                  </a:lnTo>
                  <a:lnTo>
                    <a:pt x="1933" y="265"/>
                  </a:lnTo>
                  <a:lnTo>
                    <a:pt x="1944" y="261"/>
                  </a:lnTo>
                  <a:lnTo>
                    <a:pt x="1962" y="257"/>
                  </a:lnTo>
                  <a:lnTo>
                    <a:pt x="1973" y="253"/>
                  </a:lnTo>
                  <a:lnTo>
                    <a:pt x="1977" y="242"/>
                  </a:lnTo>
                  <a:lnTo>
                    <a:pt x="1979" y="238"/>
                  </a:lnTo>
                  <a:lnTo>
                    <a:pt x="1985" y="236"/>
                  </a:lnTo>
                  <a:lnTo>
                    <a:pt x="1992" y="234"/>
                  </a:lnTo>
                  <a:lnTo>
                    <a:pt x="2000" y="234"/>
                  </a:lnTo>
                  <a:lnTo>
                    <a:pt x="2023" y="221"/>
                  </a:lnTo>
                  <a:lnTo>
                    <a:pt x="2036" y="201"/>
                  </a:lnTo>
                  <a:lnTo>
                    <a:pt x="2046" y="176"/>
                  </a:lnTo>
                  <a:lnTo>
                    <a:pt x="2086" y="167"/>
                  </a:lnTo>
                  <a:lnTo>
                    <a:pt x="2123" y="157"/>
                  </a:lnTo>
                  <a:lnTo>
                    <a:pt x="2157" y="146"/>
                  </a:lnTo>
                  <a:lnTo>
                    <a:pt x="2155" y="138"/>
                  </a:lnTo>
                  <a:lnTo>
                    <a:pt x="2155" y="132"/>
                  </a:lnTo>
                  <a:lnTo>
                    <a:pt x="2154" y="126"/>
                  </a:lnTo>
                  <a:lnTo>
                    <a:pt x="2150" y="126"/>
                  </a:lnTo>
                  <a:lnTo>
                    <a:pt x="2142" y="121"/>
                  </a:lnTo>
                  <a:lnTo>
                    <a:pt x="2136" y="113"/>
                  </a:lnTo>
                  <a:lnTo>
                    <a:pt x="2150" y="115"/>
                  </a:lnTo>
                  <a:lnTo>
                    <a:pt x="2148" y="115"/>
                  </a:lnTo>
                  <a:lnTo>
                    <a:pt x="2154" y="113"/>
                  </a:lnTo>
                  <a:lnTo>
                    <a:pt x="2157" y="111"/>
                  </a:lnTo>
                  <a:lnTo>
                    <a:pt x="2155" y="107"/>
                  </a:lnTo>
                  <a:lnTo>
                    <a:pt x="2155" y="101"/>
                  </a:lnTo>
                  <a:lnTo>
                    <a:pt x="2157" y="99"/>
                  </a:lnTo>
                  <a:lnTo>
                    <a:pt x="2146" y="92"/>
                  </a:lnTo>
                  <a:lnTo>
                    <a:pt x="2142" y="88"/>
                  </a:lnTo>
                  <a:lnTo>
                    <a:pt x="2140" y="82"/>
                  </a:lnTo>
                  <a:lnTo>
                    <a:pt x="2142" y="76"/>
                  </a:lnTo>
                  <a:lnTo>
                    <a:pt x="2142" y="73"/>
                  </a:lnTo>
                  <a:lnTo>
                    <a:pt x="2136" y="71"/>
                  </a:lnTo>
                  <a:lnTo>
                    <a:pt x="2127" y="71"/>
                  </a:lnTo>
                  <a:lnTo>
                    <a:pt x="2121" y="69"/>
                  </a:lnTo>
                  <a:lnTo>
                    <a:pt x="2115" y="61"/>
                  </a:lnTo>
                  <a:lnTo>
                    <a:pt x="2107" y="42"/>
                  </a:lnTo>
                  <a:lnTo>
                    <a:pt x="2104" y="40"/>
                  </a:lnTo>
                  <a:lnTo>
                    <a:pt x="2102" y="40"/>
                  </a:lnTo>
                  <a:lnTo>
                    <a:pt x="2098" y="38"/>
                  </a:lnTo>
                  <a:lnTo>
                    <a:pt x="2088" y="40"/>
                  </a:lnTo>
                  <a:lnTo>
                    <a:pt x="2079" y="46"/>
                  </a:lnTo>
                  <a:lnTo>
                    <a:pt x="2071" y="49"/>
                  </a:lnTo>
                  <a:lnTo>
                    <a:pt x="2067" y="42"/>
                  </a:lnTo>
                  <a:lnTo>
                    <a:pt x="2056" y="42"/>
                  </a:lnTo>
                  <a:lnTo>
                    <a:pt x="2046" y="44"/>
                  </a:lnTo>
                  <a:lnTo>
                    <a:pt x="2035" y="46"/>
                  </a:lnTo>
                  <a:lnTo>
                    <a:pt x="2023" y="53"/>
                  </a:lnTo>
                  <a:lnTo>
                    <a:pt x="2008" y="69"/>
                  </a:lnTo>
                  <a:lnTo>
                    <a:pt x="1988" y="69"/>
                  </a:lnTo>
                  <a:lnTo>
                    <a:pt x="1992" y="61"/>
                  </a:lnTo>
                  <a:lnTo>
                    <a:pt x="1998" y="51"/>
                  </a:lnTo>
                  <a:lnTo>
                    <a:pt x="2000" y="42"/>
                  </a:lnTo>
                  <a:lnTo>
                    <a:pt x="1983" y="38"/>
                  </a:lnTo>
                  <a:lnTo>
                    <a:pt x="1967" y="34"/>
                  </a:lnTo>
                  <a:lnTo>
                    <a:pt x="1952" y="34"/>
                  </a:lnTo>
                  <a:lnTo>
                    <a:pt x="1954" y="26"/>
                  </a:lnTo>
                  <a:lnTo>
                    <a:pt x="1962" y="15"/>
                  </a:lnTo>
                  <a:lnTo>
                    <a:pt x="1948" y="7"/>
                  </a:lnTo>
                  <a:lnTo>
                    <a:pt x="1931" y="1"/>
                  </a:lnTo>
                  <a:lnTo>
                    <a:pt x="1914" y="0"/>
                  </a:lnTo>
                  <a:lnTo>
                    <a:pt x="1910" y="11"/>
                  </a:lnTo>
                  <a:lnTo>
                    <a:pt x="1881" y="11"/>
                  </a:lnTo>
                  <a:lnTo>
                    <a:pt x="1869" y="17"/>
                  </a:lnTo>
                  <a:lnTo>
                    <a:pt x="1852" y="30"/>
                  </a:lnTo>
                  <a:lnTo>
                    <a:pt x="1852" y="38"/>
                  </a:lnTo>
                  <a:lnTo>
                    <a:pt x="1846" y="40"/>
                  </a:lnTo>
                  <a:lnTo>
                    <a:pt x="1843" y="40"/>
                  </a:lnTo>
                  <a:lnTo>
                    <a:pt x="1841" y="42"/>
                  </a:lnTo>
                  <a:lnTo>
                    <a:pt x="1839" y="46"/>
                  </a:lnTo>
                  <a:lnTo>
                    <a:pt x="1841" y="49"/>
                  </a:lnTo>
                  <a:lnTo>
                    <a:pt x="1841" y="53"/>
                  </a:lnTo>
                  <a:lnTo>
                    <a:pt x="1856" y="69"/>
                  </a:lnTo>
                  <a:lnTo>
                    <a:pt x="1835" y="63"/>
                  </a:lnTo>
                  <a:lnTo>
                    <a:pt x="1816" y="61"/>
                  </a:lnTo>
                  <a:lnTo>
                    <a:pt x="1795" y="61"/>
                  </a:lnTo>
                  <a:lnTo>
                    <a:pt x="1798" y="73"/>
                  </a:lnTo>
                  <a:lnTo>
                    <a:pt x="1800" y="76"/>
                  </a:lnTo>
                  <a:lnTo>
                    <a:pt x="1785" y="76"/>
                  </a:lnTo>
                  <a:lnTo>
                    <a:pt x="1779" y="80"/>
                  </a:lnTo>
                  <a:lnTo>
                    <a:pt x="1777" y="82"/>
                  </a:lnTo>
                  <a:lnTo>
                    <a:pt x="1777" y="88"/>
                  </a:lnTo>
                  <a:lnTo>
                    <a:pt x="1779" y="92"/>
                  </a:lnTo>
                  <a:lnTo>
                    <a:pt x="1772" y="96"/>
                  </a:lnTo>
                  <a:lnTo>
                    <a:pt x="1762" y="99"/>
                  </a:lnTo>
                  <a:lnTo>
                    <a:pt x="1754" y="103"/>
                  </a:lnTo>
                  <a:lnTo>
                    <a:pt x="1750" y="103"/>
                  </a:lnTo>
                  <a:lnTo>
                    <a:pt x="1750" y="99"/>
                  </a:lnTo>
                  <a:lnTo>
                    <a:pt x="1752" y="96"/>
                  </a:lnTo>
                  <a:lnTo>
                    <a:pt x="1745" y="98"/>
                  </a:lnTo>
                  <a:lnTo>
                    <a:pt x="1741" y="101"/>
                  </a:lnTo>
                  <a:lnTo>
                    <a:pt x="1733" y="103"/>
                  </a:lnTo>
                  <a:lnTo>
                    <a:pt x="1725" y="111"/>
                  </a:lnTo>
                  <a:lnTo>
                    <a:pt x="1720" y="109"/>
                  </a:lnTo>
                  <a:lnTo>
                    <a:pt x="1722" y="103"/>
                  </a:lnTo>
                  <a:lnTo>
                    <a:pt x="1725" y="99"/>
                  </a:lnTo>
                  <a:lnTo>
                    <a:pt x="1735" y="92"/>
                  </a:lnTo>
                  <a:lnTo>
                    <a:pt x="1741" y="86"/>
                  </a:lnTo>
                  <a:lnTo>
                    <a:pt x="1733" y="76"/>
                  </a:lnTo>
                  <a:lnTo>
                    <a:pt x="1743" y="76"/>
                  </a:lnTo>
                  <a:lnTo>
                    <a:pt x="1745" y="74"/>
                  </a:lnTo>
                  <a:lnTo>
                    <a:pt x="1747" y="69"/>
                  </a:lnTo>
                  <a:lnTo>
                    <a:pt x="1747" y="65"/>
                  </a:lnTo>
                  <a:lnTo>
                    <a:pt x="1718" y="65"/>
                  </a:lnTo>
                  <a:lnTo>
                    <a:pt x="1718" y="76"/>
                  </a:lnTo>
                  <a:lnTo>
                    <a:pt x="1729" y="76"/>
                  </a:lnTo>
                  <a:lnTo>
                    <a:pt x="1727" y="78"/>
                  </a:lnTo>
                  <a:lnTo>
                    <a:pt x="1725" y="82"/>
                  </a:lnTo>
                  <a:lnTo>
                    <a:pt x="1725" y="84"/>
                  </a:lnTo>
                  <a:lnTo>
                    <a:pt x="1672" y="84"/>
                  </a:lnTo>
                  <a:lnTo>
                    <a:pt x="1670" y="82"/>
                  </a:lnTo>
                  <a:lnTo>
                    <a:pt x="1666" y="80"/>
                  </a:lnTo>
                  <a:lnTo>
                    <a:pt x="1660" y="80"/>
                  </a:lnTo>
                  <a:lnTo>
                    <a:pt x="1658" y="82"/>
                  </a:lnTo>
                  <a:lnTo>
                    <a:pt x="1658" y="88"/>
                  </a:lnTo>
                  <a:lnTo>
                    <a:pt x="1660" y="92"/>
                  </a:lnTo>
                  <a:lnTo>
                    <a:pt x="1637" y="96"/>
                  </a:lnTo>
                  <a:lnTo>
                    <a:pt x="1620" y="99"/>
                  </a:lnTo>
                  <a:lnTo>
                    <a:pt x="1599" y="103"/>
                  </a:lnTo>
                  <a:lnTo>
                    <a:pt x="1583" y="103"/>
                  </a:lnTo>
                  <a:lnTo>
                    <a:pt x="1574" y="99"/>
                  </a:lnTo>
                  <a:lnTo>
                    <a:pt x="1568" y="99"/>
                  </a:lnTo>
                  <a:lnTo>
                    <a:pt x="1562" y="101"/>
                  </a:lnTo>
                  <a:lnTo>
                    <a:pt x="1555" y="107"/>
                  </a:lnTo>
                  <a:lnTo>
                    <a:pt x="1553" y="111"/>
                  </a:lnTo>
                  <a:lnTo>
                    <a:pt x="1539" y="113"/>
                  </a:lnTo>
                  <a:lnTo>
                    <a:pt x="1526" y="111"/>
                  </a:lnTo>
                  <a:lnTo>
                    <a:pt x="1514" y="111"/>
                  </a:lnTo>
                  <a:lnTo>
                    <a:pt x="1520" y="117"/>
                  </a:lnTo>
                  <a:lnTo>
                    <a:pt x="1524" y="124"/>
                  </a:lnTo>
                  <a:lnTo>
                    <a:pt x="1514" y="130"/>
                  </a:lnTo>
                  <a:lnTo>
                    <a:pt x="1512" y="138"/>
                  </a:lnTo>
                  <a:lnTo>
                    <a:pt x="1511" y="144"/>
                  </a:lnTo>
                  <a:lnTo>
                    <a:pt x="1511" y="149"/>
                  </a:lnTo>
                  <a:lnTo>
                    <a:pt x="1507" y="146"/>
                  </a:lnTo>
                  <a:lnTo>
                    <a:pt x="1505" y="140"/>
                  </a:lnTo>
                  <a:lnTo>
                    <a:pt x="1503" y="138"/>
                  </a:lnTo>
                  <a:lnTo>
                    <a:pt x="1493" y="138"/>
                  </a:lnTo>
                  <a:lnTo>
                    <a:pt x="1488" y="142"/>
                  </a:lnTo>
                  <a:lnTo>
                    <a:pt x="1488" y="146"/>
                  </a:lnTo>
                  <a:lnTo>
                    <a:pt x="1497" y="149"/>
                  </a:lnTo>
                  <a:lnTo>
                    <a:pt x="1499" y="151"/>
                  </a:lnTo>
                  <a:lnTo>
                    <a:pt x="1503" y="157"/>
                  </a:lnTo>
                  <a:lnTo>
                    <a:pt x="1497" y="159"/>
                  </a:lnTo>
                  <a:lnTo>
                    <a:pt x="1491" y="159"/>
                  </a:lnTo>
                  <a:lnTo>
                    <a:pt x="1488" y="161"/>
                  </a:lnTo>
                  <a:lnTo>
                    <a:pt x="1497" y="174"/>
                  </a:lnTo>
                  <a:lnTo>
                    <a:pt x="1505" y="190"/>
                  </a:lnTo>
                  <a:lnTo>
                    <a:pt x="1514" y="207"/>
                  </a:lnTo>
                  <a:lnTo>
                    <a:pt x="1495" y="207"/>
                  </a:lnTo>
                  <a:lnTo>
                    <a:pt x="1497" y="203"/>
                  </a:lnTo>
                  <a:lnTo>
                    <a:pt x="1499" y="196"/>
                  </a:lnTo>
                  <a:lnTo>
                    <a:pt x="1491" y="192"/>
                  </a:lnTo>
                  <a:lnTo>
                    <a:pt x="1491" y="188"/>
                  </a:lnTo>
                  <a:lnTo>
                    <a:pt x="1478" y="188"/>
                  </a:lnTo>
                  <a:lnTo>
                    <a:pt x="1466" y="192"/>
                  </a:lnTo>
                  <a:lnTo>
                    <a:pt x="1457" y="196"/>
                  </a:lnTo>
                  <a:lnTo>
                    <a:pt x="1447" y="194"/>
                  </a:lnTo>
                  <a:lnTo>
                    <a:pt x="1441" y="190"/>
                  </a:lnTo>
                  <a:lnTo>
                    <a:pt x="1438" y="188"/>
                  </a:lnTo>
                  <a:lnTo>
                    <a:pt x="1369" y="199"/>
                  </a:lnTo>
                  <a:lnTo>
                    <a:pt x="1365" y="201"/>
                  </a:lnTo>
                  <a:lnTo>
                    <a:pt x="1359" y="203"/>
                  </a:lnTo>
                  <a:lnTo>
                    <a:pt x="1357" y="207"/>
                  </a:lnTo>
                  <a:lnTo>
                    <a:pt x="1349" y="234"/>
                  </a:lnTo>
                  <a:lnTo>
                    <a:pt x="1353" y="263"/>
                  </a:lnTo>
                  <a:lnTo>
                    <a:pt x="1370" y="280"/>
                  </a:lnTo>
                  <a:lnTo>
                    <a:pt x="1378" y="278"/>
                  </a:lnTo>
                  <a:lnTo>
                    <a:pt x="1384" y="276"/>
                  </a:lnTo>
                  <a:lnTo>
                    <a:pt x="1388" y="276"/>
                  </a:lnTo>
                  <a:lnTo>
                    <a:pt x="1392" y="280"/>
                  </a:lnTo>
                  <a:lnTo>
                    <a:pt x="1395" y="286"/>
                  </a:lnTo>
                  <a:lnTo>
                    <a:pt x="1397" y="292"/>
                  </a:lnTo>
                  <a:lnTo>
                    <a:pt x="1405" y="294"/>
                  </a:lnTo>
                  <a:lnTo>
                    <a:pt x="1411" y="295"/>
                  </a:lnTo>
                  <a:lnTo>
                    <a:pt x="1418" y="299"/>
                  </a:lnTo>
                  <a:lnTo>
                    <a:pt x="1413" y="313"/>
                  </a:lnTo>
                  <a:lnTo>
                    <a:pt x="1411" y="326"/>
                  </a:lnTo>
                  <a:lnTo>
                    <a:pt x="1411" y="345"/>
                  </a:lnTo>
                  <a:lnTo>
                    <a:pt x="1413" y="347"/>
                  </a:lnTo>
                  <a:lnTo>
                    <a:pt x="1413" y="351"/>
                  </a:lnTo>
                  <a:lnTo>
                    <a:pt x="1415" y="357"/>
                  </a:lnTo>
                  <a:lnTo>
                    <a:pt x="1418" y="357"/>
                  </a:lnTo>
                  <a:lnTo>
                    <a:pt x="1415" y="368"/>
                  </a:lnTo>
                  <a:lnTo>
                    <a:pt x="1409" y="368"/>
                  </a:lnTo>
                  <a:lnTo>
                    <a:pt x="1403" y="367"/>
                  </a:lnTo>
                  <a:lnTo>
                    <a:pt x="1397" y="368"/>
                  </a:lnTo>
                  <a:lnTo>
                    <a:pt x="1399" y="370"/>
                  </a:lnTo>
                  <a:lnTo>
                    <a:pt x="1399" y="376"/>
                  </a:lnTo>
                  <a:lnTo>
                    <a:pt x="1397" y="380"/>
                  </a:lnTo>
                  <a:lnTo>
                    <a:pt x="1405" y="384"/>
                  </a:lnTo>
                  <a:lnTo>
                    <a:pt x="1422" y="395"/>
                  </a:lnTo>
                  <a:lnTo>
                    <a:pt x="1430" y="393"/>
                  </a:lnTo>
                  <a:lnTo>
                    <a:pt x="1434" y="390"/>
                  </a:lnTo>
                  <a:lnTo>
                    <a:pt x="1438" y="388"/>
                  </a:lnTo>
                  <a:lnTo>
                    <a:pt x="1447" y="388"/>
                  </a:lnTo>
                  <a:lnTo>
                    <a:pt x="1455" y="390"/>
                  </a:lnTo>
                  <a:lnTo>
                    <a:pt x="1464" y="395"/>
                  </a:lnTo>
                  <a:lnTo>
                    <a:pt x="1468" y="415"/>
                  </a:lnTo>
                  <a:lnTo>
                    <a:pt x="1461" y="415"/>
                  </a:lnTo>
                  <a:lnTo>
                    <a:pt x="1457" y="399"/>
                  </a:lnTo>
                  <a:lnTo>
                    <a:pt x="1440" y="399"/>
                  </a:lnTo>
                  <a:lnTo>
                    <a:pt x="1422" y="397"/>
                  </a:lnTo>
                  <a:lnTo>
                    <a:pt x="1403" y="399"/>
                  </a:lnTo>
                  <a:lnTo>
                    <a:pt x="1397" y="382"/>
                  </a:lnTo>
                  <a:lnTo>
                    <a:pt x="1392" y="380"/>
                  </a:lnTo>
                  <a:lnTo>
                    <a:pt x="1384" y="374"/>
                  </a:lnTo>
                  <a:lnTo>
                    <a:pt x="1380" y="374"/>
                  </a:lnTo>
                  <a:lnTo>
                    <a:pt x="1376" y="376"/>
                  </a:lnTo>
                  <a:lnTo>
                    <a:pt x="1380" y="380"/>
                  </a:lnTo>
                  <a:lnTo>
                    <a:pt x="1376" y="382"/>
                  </a:lnTo>
                  <a:lnTo>
                    <a:pt x="1369" y="382"/>
                  </a:lnTo>
                  <a:lnTo>
                    <a:pt x="1376" y="353"/>
                  </a:lnTo>
                  <a:lnTo>
                    <a:pt x="1384" y="326"/>
                  </a:lnTo>
                  <a:lnTo>
                    <a:pt x="1397" y="303"/>
                  </a:lnTo>
                  <a:lnTo>
                    <a:pt x="1386" y="299"/>
                  </a:lnTo>
                  <a:lnTo>
                    <a:pt x="1369" y="297"/>
                  </a:lnTo>
                  <a:lnTo>
                    <a:pt x="1357" y="295"/>
                  </a:lnTo>
                  <a:lnTo>
                    <a:pt x="1361" y="303"/>
                  </a:lnTo>
                  <a:lnTo>
                    <a:pt x="1353" y="303"/>
                  </a:lnTo>
                  <a:lnTo>
                    <a:pt x="1342" y="280"/>
                  </a:lnTo>
                  <a:lnTo>
                    <a:pt x="1338" y="278"/>
                  </a:lnTo>
                  <a:lnTo>
                    <a:pt x="1336" y="282"/>
                  </a:lnTo>
                  <a:lnTo>
                    <a:pt x="1334" y="284"/>
                  </a:lnTo>
                  <a:lnTo>
                    <a:pt x="1324" y="276"/>
                  </a:lnTo>
                  <a:lnTo>
                    <a:pt x="1309" y="270"/>
                  </a:lnTo>
                  <a:lnTo>
                    <a:pt x="1296" y="270"/>
                  </a:lnTo>
                  <a:lnTo>
                    <a:pt x="1280" y="276"/>
                  </a:lnTo>
                  <a:lnTo>
                    <a:pt x="1273" y="280"/>
                  </a:lnTo>
                  <a:lnTo>
                    <a:pt x="1271" y="286"/>
                  </a:lnTo>
                  <a:lnTo>
                    <a:pt x="1284" y="288"/>
                  </a:lnTo>
                  <a:lnTo>
                    <a:pt x="1284" y="290"/>
                  </a:lnTo>
                  <a:lnTo>
                    <a:pt x="1288" y="295"/>
                  </a:lnTo>
                  <a:lnTo>
                    <a:pt x="1282" y="297"/>
                  </a:lnTo>
                  <a:lnTo>
                    <a:pt x="1282" y="301"/>
                  </a:lnTo>
                  <a:lnTo>
                    <a:pt x="1280" y="307"/>
                  </a:lnTo>
                  <a:lnTo>
                    <a:pt x="1274" y="307"/>
                  </a:lnTo>
                  <a:lnTo>
                    <a:pt x="1269" y="305"/>
                  </a:lnTo>
                  <a:lnTo>
                    <a:pt x="1269" y="303"/>
                  </a:lnTo>
                  <a:lnTo>
                    <a:pt x="1265" y="299"/>
                  </a:lnTo>
                  <a:lnTo>
                    <a:pt x="1259" y="297"/>
                  </a:lnTo>
                  <a:lnTo>
                    <a:pt x="1257" y="295"/>
                  </a:lnTo>
                  <a:lnTo>
                    <a:pt x="1250" y="294"/>
                  </a:lnTo>
                  <a:lnTo>
                    <a:pt x="1244" y="294"/>
                  </a:lnTo>
                  <a:lnTo>
                    <a:pt x="1238" y="299"/>
                  </a:lnTo>
                  <a:lnTo>
                    <a:pt x="1230" y="315"/>
                  </a:lnTo>
                  <a:lnTo>
                    <a:pt x="1232" y="313"/>
                  </a:lnTo>
                  <a:lnTo>
                    <a:pt x="1238" y="313"/>
                  </a:lnTo>
                  <a:lnTo>
                    <a:pt x="1242" y="315"/>
                  </a:lnTo>
                  <a:lnTo>
                    <a:pt x="1248" y="319"/>
                  </a:lnTo>
                  <a:lnTo>
                    <a:pt x="1257" y="324"/>
                  </a:lnTo>
                  <a:lnTo>
                    <a:pt x="1265" y="330"/>
                  </a:lnTo>
                  <a:lnTo>
                    <a:pt x="1271" y="340"/>
                  </a:lnTo>
                  <a:lnTo>
                    <a:pt x="1259" y="344"/>
                  </a:lnTo>
                  <a:lnTo>
                    <a:pt x="1242" y="345"/>
                  </a:lnTo>
                  <a:lnTo>
                    <a:pt x="1234" y="338"/>
                  </a:lnTo>
                  <a:lnTo>
                    <a:pt x="1228" y="340"/>
                  </a:lnTo>
                  <a:lnTo>
                    <a:pt x="1221" y="344"/>
                  </a:lnTo>
                  <a:lnTo>
                    <a:pt x="1215" y="345"/>
                  </a:lnTo>
                  <a:lnTo>
                    <a:pt x="1203" y="334"/>
                  </a:lnTo>
                  <a:lnTo>
                    <a:pt x="1203" y="315"/>
                  </a:lnTo>
                  <a:lnTo>
                    <a:pt x="1196" y="307"/>
                  </a:lnTo>
                  <a:lnTo>
                    <a:pt x="1196" y="292"/>
                  </a:lnTo>
                  <a:lnTo>
                    <a:pt x="1200" y="272"/>
                  </a:lnTo>
                  <a:lnTo>
                    <a:pt x="1200" y="257"/>
                  </a:lnTo>
                  <a:lnTo>
                    <a:pt x="1184" y="245"/>
                  </a:lnTo>
                  <a:lnTo>
                    <a:pt x="1186" y="259"/>
                  </a:lnTo>
                  <a:lnTo>
                    <a:pt x="1188" y="276"/>
                  </a:lnTo>
                  <a:lnTo>
                    <a:pt x="1188" y="295"/>
                  </a:lnTo>
                  <a:lnTo>
                    <a:pt x="1182" y="303"/>
                  </a:lnTo>
                  <a:lnTo>
                    <a:pt x="1175" y="309"/>
                  </a:lnTo>
                  <a:lnTo>
                    <a:pt x="1169" y="315"/>
                  </a:lnTo>
                  <a:lnTo>
                    <a:pt x="1165" y="320"/>
                  </a:lnTo>
                  <a:lnTo>
                    <a:pt x="1165" y="334"/>
                  </a:lnTo>
                  <a:lnTo>
                    <a:pt x="1157" y="342"/>
                  </a:lnTo>
                  <a:lnTo>
                    <a:pt x="1161" y="347"/>
                  </a:lnTo>
                  <a:lnTo>
                    <a:pt x="1177" y="363"/>
                  </a:lnTo>
                  <a:lnTo>
                    <a:pt x="1175" y="374"/>
                  </a:lnTo>
                  <a:lnTo>
                    <a:pt x="1171" y="382"/>
                  </a:lnTo>
                  <a:lnTo>
                    <a:pt x="1169" y="388"/>
                  </a:lnTo>
                  <a:lnTo>
                    <a:pt x="1169" y="399"/>
                  </a:lnTo>
                  <a:lnTo>
                    <a:pt x="1177" y="426"/>
                  </a:lnTo>
                  <a:lnTo>
                    <a:pt x="1184" y="424"/>
                  </a:lnTo>
                  <a:lnTo>
                    <a:pt x="1194" y="424"/>
                  </a:lnTo>
                  <a:lnTo>
                    <a:pt x="1203" y="422"/>
                  </a:lnTo>
                  <a:lnTo>
                    <a:pt x="1213" y="413"/>
                  </a:lnTo>
                  <a:lnTo>
                    <a:pt x="1219" y="409"/>
                  </a:lnTo>
                  <a:lnTo>
                    <a:pt x="1230" y="415"/>
                  </a:lnTo>
                  <a:lnTo>
                    <a:pt x="1234" y="418"/>
                  </a:lnTo>
                  <a:lnTo>
                    <a:pt x="1238" y="417"/>
                  </a:lnTo>
                  <a:lnTo>
                    <a:pt x="1238" y="415"/>
                  </a:lnTo>
                  <a:lnTo>
                    <a:pt x="1242" y="415"/>
                  </a:lnTo>
                  <a:lnTo>
                    <a:pt x="1259" y="424"/>
                  </a:lnTo>
                  <a:lnTo>
                    <a:pt x="1274" y="443"/>
                  </a:lnTo>
                  <a:lnTo>
                    <a:pt x="1284" y="465"/>
                  </a:lnTo>
                  <a:lnTo>
                    <a:pt x="1278" y="466"/>
                  </a:lnTo>
                  <a:lnTo>
                    <a:pt x="1269" y="476"/>
                  </a:lnTo>
                  <a:lnTo>
                    <a:pt x="1269" y="491"/>
                  </a:lnTo>
                  <a:lnTo>
                    <a:pt x="1271" y="491"/>
                  </a:lnTo>
                  <a:lnTo>
                    <a:pt x="1274" y="493"/>
                  </a:lnTo>
                  <a:lnTo>
                    <a:pt x="1276" y="497"/>
                  </a:lnTo>
                  <a:lnTo>
                    <a:pt x="1288" y="501"/>
                  </a:lnTo>
                  <a:lnTo>
                    <a:pt x="1299" y="503"/>
                  </a:lnTo>
                  <a:lnTo>
                    <a:pt x="1315" y="505"/>
                  </a:lnTo>
                  <a:lnTo>
                    <a:pt x="1315" y="507"/>
                  </a:lnTo>
                  <a:lnTo>
                    <a:pt x="1317" y="511"/>
                  </a:lnTo>
                  <a:lnTo>
                    <a:pt x="1317" y="513"/>
                  </a:lnTo>
                  <a:lnTo>
                    <a:pt x="1301" y="511"/>
                  </a:lnTo>
                  <a:lnTo>
                    <a:pt x="1288" y="509"/>
                  </a:lnTo>
                  <a:lnTo>
                    <a:pt x="1273" y="505"/>
                  </a:lnTo>
                  <a:lnTo>
                    <a:pt x="1273" y="518"/>
                  </a:lnTo>
                  <a:lnTo>
                    <a:pt x="1269" y="516"/>
                  </a:lnTo>
                  <a:lnTo>
                    <a:pt x="1265" y="513"/>
                  </a:lnTo>
                  <a:lnTo>
                    <a:pt x="1265" y="509"/>
                  </a:lnTo>
                  <a:lnTo>
                    <a:pt x="1253" y="505"/>
                  </a:lnTo>
                  <a:lnTo>
                    <a:pt x="1255" y="472"/>
                  </a:lnTo>
                  <a:lnTo>
                    <a:pt x="1251" y="451"/>
                  </a:lnTo>
                  <a:lnTo>
                    <a:pt x="1242" y="426"/>
                  </a:lnTo>
                  <a:lnTo>
                    <a:pt x="1219" y="432"/>
                  </a:lnTo>
                  <a:lnTo>
                    <a:pt x="1196" y="442"/>
                  </a:lnTo>
                  <a:lnTo>
                    <a:pt x="1184" y="457"/>
                  </a:lnTo>
                  <a:lnTo>
                    <a:pt x="1184" y="461"/>
                  </a:lnTo>
                  <a:lnTo>
                    <a:pt x="1186" y="465"/>
                  </a:lnTo>
                  <a:lnTo>
                    <a:pt x="1188" y="465"/>
                  </a:lnTo>
                  <a:lnTo>
                    <a:pt x="1190" y="470"/>
                  </a:lnTo>
                  <a:lnTo>
                    <a:pt x="1188" y="476"/>
                  </a:lnTo>
                  <a:lnTo>
                    <a:pt x="1188" y="480"/>
                  </a:lnTo>
                  <a:lnTo>
                    <a:pt x="1178" y="516"/>
                  </a:lnTo>
                  <a:lnTo>
                    <a:pt x="1161" y="532"/>
                  </a:lnTo>
                  <a:lnTo>
                    <a:pt x="1131" y="545"/>
                  </a:lnTo>
                  <a:lnTo>
                    <a:pt x="1132" y="547"/>
                  </a:lnTo>
                  <a:lnTo>
                    <a:pt x="1138" y="549"/>
                  </a:lnTo>
                  <a:lnTo>
                    <a:pt x="1142" y="553"/>
                  </a:lnTo>
                  <a:lnTo>
                    <a:pt x="1144" y="561"/>
                  </a:lnTo>
                  <a:lnTo>
                    <a:pt x="1144" y="572"/>
                  </a:lnTo>
                  <a:lnTo>
                    <a:pt x="1146" y="580"/>
                  </a:lnTo>
                  <a:lnTo>
                    <a:pt x="1142" y="578"/>
                  </a:lnTo>
                  <a:lnTo>
                    <a:pt x="1138" y="580"/>
                  </a:lnTo>
                  <a:lnTo>
                    <a:pt x="1134" y="580"/>
                  </a:lnTo>
                  <a:lnTo>
                    <a:pt x="1131" y="572"/>
                  </a:lnTo>
                  <a:lnTo>
                    <a:pt x="1127" y="563"/>
                  </a:lnTo>
                  <a:lnTo>
                    <a:pt x="1123" y="555"/>
                  </a:lnTo>
                  <a:lnTo>
                    <a:pt x="1109" y="553"/>
                  </a:lnTo>
                  <a:lnTo>
                    <a:pt x="1098" y="555"/>
                  </a:lnTo>
                  <a:lnTo>
                    <a:pt x="1084" y="555"/>
                  </a:lnTo>
                  <a:lnTo>
                    <a:pt x="1073" y="551"/>
                  </a:lnTo>
                  <a:lnTo>
                    <a:pt x="1063" y="543"/>
                  </a:lnTo>
                  <a:lnTo>
                    <a:pt x="1058" y="538"/>
                  </a:lnTo>
                  <a:lnTo>
                    <a:pt x="1098" y="538"/>
                  </a:lnTo>
                  <a:lnTo>
                    <a:pt x="1106" y="532"/>
                  </a:lnTo>
                  <a:lnTo>
                    <a:pt x="1113" y="524"/>
                  </a:lnTo>
                  <a:lnTo>
                    <a:pt x="1119" y="520"/>
                  </a:lnTo>
                  <a:lnTo>
                    <a:pt x="1125" y="522"/>
                  </a:lnTo>
                  <a:lnTo>
                    <a:pt x="1131" y="528"/>
                  </a:lnTo>
                  <a:lnTo>
                    <a:pt x="1132" y="526"/>
                  </a:lnTo>
                  <a:lnTo>
                    <a:pt x="1136" y="524"/>
                  </a:lnTo>
                  <a:lnTo>
                    <a:pt x="1142" y="524"/>
                  </a:lnTo>
                  <a:lnTo>
                    <a:pt x="1142" y="520"/>
                  </a:lnTo>
                  <a:lnTo>
                    <a:pt x="1138" y="513"/>
                  </a:lnTo>
                  <a:lnTo>
                    <a:pt x="1157" y="497"/>
                  </a:lnTo>
                  <a:lnTo>
                    <a:pt x="1157" y="457"/>
                  </a:lnTo>
                  <a:lnTo>
                    <a:pt x="1150" y="447"/>
                  </a:lnTo>
                  <a:lnTo>
                    <a:pt x="1140" y="438"/>
                  </a:lnTo>
                  <a:lnTo>
                    <a:pt x="1134" y="430"/>
                  </a:lnTo>
                  <a:lnTo>
                    <a:pt x="1134" y="407"/>
                  </a:lnTo>
                  <a:lnTo>
                    <a:pt x="1142" y="388"/>
                  </a:lnTo>
                  <a:lnTo>
                    <a:pt x="1146" y="368"/>
                  </a:lnTo>
                  <a:lnTo>
                    <a:pt x="1140" y="361"/>
                  </a:lnTo>
                  <a:lnTo>
                    <a:pt x="1125" y="345"/>
                  </a:lnTo>
                  <a:lnTo>
                    <a:pt x="1125" y="336"/>
                  </a:lnTo>
                  <a:lnTo>
                    <a:pt x="1123" y="334"/>
                  </a:lnTo>
                  <a:lnTo>
                    <a:pt x="1123" y="328"/>
                  </a:lnTo>
                  <a:lnTo>
                    <a:pt x="1125" y="322"/>
                  </a:lnTo>
                  <a:lnTo>
                    <a:pt x="1125" y="319"/>
                  </a:lnTo>
                  <a:lnTo>
                    <a:pt x="1129" y="315"/>
                  </a:lnTo>
                  <a:lnTo>
                    <a:pt x="1134" y="311"/>
                  </a:lnTo>
                  <a:lnTo>
                    <a:pt x="1138" y="307"/>
                  </a:lnTo>
                  <a:lnTo>
                    <a:pt x="1142" y="284"/>
                  </a:lnTo>
                  <a:lnTo>
                    <a:pt x="1142" y="261"/>
                  </a:lnTo>
                  <a:lnTo>
                    <a:pt x="1138" y="242"/>
                  </a:lnTo>
                  <a:lnTo>
                    <a:pt x="1117" y="232"/>
                  </a:lnTo>
                  <a:lnTo>
                    <a:pt x="1084" y="232"/>
                  </a:lnTo>
                  <a:lnTo>
                    <a:pt x="1061" y="238"/>
                  </a:lnTo>
                  <a:lnTo>
                    <a:pt x="1054" y="247"/>
                  </a:lnTo>
                  <a:lnTo>
                    <a:pt x="1050" y="259"/>
                  </a:lnTo>
                  <a:lnTo>
                    <a:pt x="1046" y="272"/>
                  </a:lnTo>
                  <a:lnTo>
                    <a:pt x="1042" y="272"/>
                  </a:lnTo>
                  <a:lnTo>
                    <a:pt x="1031" y="284"/>
                  </a:lnTo>
                  <a:lnTo>
                    <a:pt x="1015" y="311"/>
                  </a:lnTo>
                  <a:lnTo>
                    <a:pt x="1010" y="313"/>
                  </a:lnTo>
                  <a:lnTo>
                    <a:pt x="1004" y="313"/>
                  </a:lnTo>
                  <a:lnTo>
                    <a:pt x="1000" y="315"/>
                  </a:lnTo>
                  <a:lnTo>
                    <a:pt x="1002" y="334"/>
                  </a:lnTo>
                  <a:lnTo>
                    <a:pt x="1008" y="363"/>
                  </a:lnTo>
                  <a:lnTo>
                    <a:pt x="1008" y="372"/>
                  </a:lnTo>
                  <a:lnTo>
                    <a:pt x="996" y="374"/>
                  </a:lnTo>
                  <a:lnTo>
                    <a:pt x="994" y="382"/>
                  </a:lnTo>
                  <a:lnTo>
                    <a:pt x="996" y="392"/>
                  </a:lnTo>
                  <a:lnTo>
                    <a:pt x="996" y="399"/>
                  </a:lnTo>
                  <a:lnTo>
                    <a:pt x="1008" y="401"/>
                  </a:lnTo>
                  <a:lnTo>
                    <a:pt x="1023" y="401"/>
                  </a:lnTo>
                  <a:lnTo>
                    <a:pt x="1021" y="417"/>
                  </a:lnTo>
                  <a:lnTo>
                    <a:pt x="1021" y="426"/>
                  </a:lnTo>
                  <a:lnTo>
                    <a:pt x="1023" y="442"/>
                  </a:lnTo>
                  <a:lnTo>
                    <a:pt x="1035" y="436"/>
                  </a:lnTo>
                  <a:lnTo>
                    <a:pt x="1029" y="451"/>
                  </a:lnTo>
                  <a:lnTo>
                    <a:pt x="1023" y="463"/>
                  </a:lnTo>
                  <a:lnTo>
                    <a:pt x="1015" y="476"/>
                  </a:lnTo>
                  <a:lnTo>
                    <a:pt x="1006" y="463"/>
                  </a:lnTo>
                  <a:lnTo>
                    <a:pt x="992" y="443"/>
                  </a:lnTo>
                  <a:lnTo>
                    <a:pt x="985" y="434"/>
                  </a:lnTo>
                  <a:lnTo>
                    <a:pt x="979" y="432"/>
                  </a:lnTo>
                  <a:lnTo>
                    <a:pt x="973" y="434"/>
                  </a:lnTo>
                  <a:lnTo>
                    <a:pt x="969" y="434"/>
                  </a:lnTo>
                  <a:lnTo>
                    <a:pt x="965" y="428"/>
                  </a:lnTo>
                  <a:lnTo>
                    <a:pt x="967" y="424"/>
                  </a:lnTo>
                  <a:lnTo>
                    <a:pt x="969" y="422"/>
                  </a:lnTo>
                  <a:lnTo>
                    <a:pt x="964" y="420"/>
                  </a:lnTo>
                  <a:lnTo>
                    <a:pt x="958" y="422"/>
                  </a:lnTo>
                  <a:lnTo>
                    <a:pt x="954" y="422"/>
                  </a:lnTo>
                  <a:lnTo>
                    <a:pt x="946" y="415"/>
                  </a:lnTo>
                  <a:lnTo>
                    <a:pt x="944" y="420"/>
                  </a:lnTo>
                  <a:lnTo>
                    <a:pt x="942" y="428"/>
                  </a:lnTo>
                  <a:lnTo>
                    <a:pt x="939" y="430"/>
                  </a:lnTo>
                  <a:lnTo>
                    <a:pt x="937" y="422"/>
                  </a:lnTo>
                  <a:lnTo>
                    <a:pt x="940" y="413"/>
                  </a:lnTo>
                  <a:lnTo>
                    <a:pt x="942" y="407"/>
                  </a:lnTo>
                  <a:lnTo>
                    <a:pt x="923" y="403"/>
                  </a:lnTo>
                  <a:lnTo>
                    <a:pt x="906" y="403"/>
                  </a:lnTo>
                  <a:lnTo>
                    <a:pt x="893" y="401"/>
                  </a:lnTo>
                  <a:lnTo>
                    <a:pt x="889" y="399"/>
                  </a:lnTo>
                  <a:lnTo>
                    <a:pt x="885" y="395"/>
                  </a:lnTo>
                  <a:lnTo>
                    <a:pt x="879" y="395"/>
                  </a:lnTo>
                  <a:lnTo>
                    <a:pt x="879" y="397"/>
                  </a:lnTo>
                  <a:lnTo>
                    <a:pt x="877" y="401"/>
                  </a:lnTo>
                  <a:lnTo>
                    <a:pt x="877" y="407"/>
                  </a:lnTo>
                  <a:lnTo>
                    <a:pt x="862" y="405"/>
                  </a:lnTo>
                  <a:lnTo>
                    <a:pt x="839" y="401"/>
                  </a:lnTo>
                  <a:lnTo>
                    <a:pt x="839" y="409"/>
                  </a:lnTo>
                  <a:lnTo>
                    <a:pt x="835" y="409"/>
                  </a:lnTo>
                  <a:lnTo>
                    <a:pt x="839" y="422"/>
                  </a:lnTo>
                  <a:lnTo>
                    <a:pt x="843" y="434"/>
                  </a:lnTo>
                  <a:lnTo>
                    <a:pt x="843" y="453"/>
                  </a:lnTo>
                  <a:lnTo>
                    <a:pt x="839" y="453"/>
                  </a:lnTo>
                  <a:lnTo>
                    <a:pt x="831" y="457"/>
                  </a:lnTo>
                  <a:lnTo>
                    <a:pt x="829" y="453"/>
                  </a:lnTo>
                  <a:lnTo>
                    <a:pt x="825" y="449"/>
                  </a:lnTo>
                  <a:lnTo>
                    <a:pt x="823" y="449"/>
                  </a:lnTo>
                  <a:lnTo>
                    <a:pt x="818" y="451"/>
                  </a:lnTo>
                  <a:lnTo>
                    <a:pt x="816" y="453"/>
                  </a:lnTo>
                  <a:lnTo>
                    <a:pt x="816" y="472"/>
                  </a:lnTo>
                  <a:lnTo>
                    <a:pt x="808" y="463"/>
                  </a:lnTo>
                  <a:lnTo>
                    <a:pt x="797" y="447"/>
                  </a:lnTo>
                  <a:lnTo>
                    <a:pt x="804" y="436"/>
                  </a:lnTo>
                  <a:lnTo>
                    <a:pt x="793" y="442"/>
                  </a:lnTo>
                  <a:lnTo>
                    <a:pt x="777" y="445"/>
                  </a:lnTo>
                  <a:lnTo>
                    <a:pt x="770" y="449"/>
                  </a:lnTo>
                  <a:lnTo>
                    <a:pt x="764" y="447"/>
                  </a:lnTo>
                  <a:lnTo>
                    <a:pt x="766" y="445"/>
                  </a:lnTo>
                  <a:lnTo>
                    <a:pt x="762" y="445"/>
                  </a:lnTo>
                  <a:lnTo>
                    <a:pt x="764" y="447"/>
                  </a:lnTo>
                  <a:lnTo>
                    <a:pt x="766" y="453"/>
                  </a:lnTo>
                  <a:lnTo>
                    <a:pt x="766" y="457"/>
                  </a:lnTo>
                  <a:lnTo>
                    <a:pt x="754" y="457"/>
                  </a:lnTo>
                  <a:lnTo>
                    <a:pt x="749" y="453"/>
                  </a:lnTo>
                  <a:lnTo>
                    <a:pt x="737" y="447"/>
                  </a:lnTo>
                  <a:lnTo>
                    <a:pt x="724" y="445"/>
                  </a:lnTo>
                  <a:lnTo>
                    <a:pt x="714" y="449"/>
                  </a:lnTo>
                  <a:lnTo>
                    <a:pt x="702" y="457"/>
                  </a:lnTo>
                  <a:lnTo>
                    <a:pt x="701" y="461"/>
                  </a:lnTo>
                  <a:lnTo>
                    <a:pt x="701" y="472"/>
                  </a:lnTo>
                  <a:lnTo>
                    <a:pt x="695" y="470"/>
                  </a:lnTo>
                  <a:lnTo>
                    <a:pt x="691" y="463"/>
                  </a:lnTo>
                  <a:lnTo>
                    <a:pt x="689" y="461"/>
                  </a:lnTo>
                  <a:lnTo>
                    <a:pt x="685" y="461"/>
                  </a:lnTo>
                  <a:lnTo>
                    <a:pt x="681" y="465"/>
                  </a:lnTo>
                  <a:lnTo>
                    <a:pt x="681" y="468"/>
                  </a:lnTo>
                  <a:lnTo>
                    <a:pt x="655" y="468"/>
                  </a:lnTo>
                  <a:lnTo>
                    <a:pt x="655" y="461"/>
                  </a:lnTo>
                  <a:lnTo>
                    <a:pt x="662" y="461"/>
                  </a:lnTo>
                  <a:lnTo>
                    <a:pt x="672" y="459"/>
                  </a:lnTo>
                  <a:lnTo>
                    <a:pt x="664" y="451"/>
                  </a:lnTo>
                  <a:lnTo>
                    <a:pt x="664" y="447"/>
                  </a:lnTo>
                  <a:lnTo>
                    <a:pt x="666" y="445"/>
                  </a:lnTo>
                  <a:lnTo>
                    <a:pt x="660" y="443"/>
                  </a:lnTo>
                  <a:lnTo>
                    <a:pt x="656" y="442"/>
                  </a:lnTo>
                  <a:lnTo>
                    <a:pt x="655" y="442"/>
                  </a:lnTo>
                  <a:lnTo>
                    <a:pt x="655" y="438"/>
                  </a:lnTo>
                  <a:lnTo>
                    <a:pt x="658" y="436"/>
                  </a:lnTo>
                  <a:lnTo>
                    <a:pt x="658" y="434"/>
                  </a:lnTo>
                  <a:lnTo>
                    <a:pt x="649" y="438"/>
                  </a:lnTo>
                  <a:lnTo>
                    <a:pt x="637" y="443"/>
                  </a:lnTo>
                  <a:lnTo>
                    <a:pt x="631" y="449"/>
                  </a:lnTo>
                  <a:lnTo>
                    <a:pt x="631" y="461"/>
                  </a:lnTo>
                  <a:lnTo>
                    <a:pt x="628" y="457"/>
                  </a:lnTo>
                  <a:lnTo>
                    <a:pt x="620" y="453"/>
                  </a:lnTo>
                  <a:lnTo>
                    <a:pt x="612" y="453"/>
                  </a:lnTo>
                  <a:lnTo>
                    <a:pt x="608" y="457"/>
                  </a:lnTo>
                  <a:lnTo>
                    <a:pt x="608" y="461"/>
                  </a:lnTo>
                  <a:lnTo>
                    <a:pt x="593" y="461"/>
                  </a:lnTo>
                  <a:lnTo>
                    <a:pt x="580" y="466"/>
                  </a:lnTo>
                  <a:lnTo>
                    <a:pt x="566" y="476"/>
                  </a:lnTo>
                  <a:lnTo>
                    <a:pt x="555" y="484"/>
                  </a:lnTo>
                  <a:lnTo>
                    <a:pt x="549" y="484"/>
                  </a:lnTo>
                  <a:lnTo>
                    <a:pt x="543" y="482"/>
                  </a:lnTo>
                  <a:lnTo>
                    <a:pt x="539" y="484"/>
                  </a:lnTo>
                  <a:lnTo>
                    <a:pt x="539" y="491"/>
                  </a:lnTo>
                  <a:lnTo>
                    <a:pt x="532" y="491"/>
                  </a:lnTo>
                  <a:lnTo>
                    <a:pt x="526" y="493"/>
                  </a:lnTo>
                  <a:lnTo>
                    <a:pt x="520" y="493"/>
                  </a:lnTo>
                  <a:lnTo>
                    <a:pt x="516" y="507"/>
                  </a:lnTo>
                  <a:lnTo>
                    <a:pt x="514" y="522"/>
                  </a:lnTo>
                  <a:lnTo>
                    <a:pt x="512" y="532"/>
                  </a:lnTo>
                  <a:lnTo>
                    <a:pt x="511" y="532"/>
                  </a:lnTo>
                  <a:lnTo>
                    <a:pt x="507" y="530"/>
                  </a:lnTo>
                  <a:lnTo>
                    <a:pt x="505" y="528"/>
                  </a:lnTo>
                  <a:lnTo>
                    <a:pt x="501" y="532"/>
                  </a:lnTo>
                  <a:lnTo>
                    <a:pt x="499" y="538"/>
                  </a:lnTo>
                  <a:lnTo>
                    <a:pt x="497" y="540"/>
                  </a:lnTo>
                  <a:lnTo>
                    <a:pt x="488" y="543"/>
                  </a:lnTo>
                  <a:lnTo>
                    <a:pt x="476" y="545"/>
                  </a:lnTo>
                  <a:lnTo>
                    <a:pt x="466" y="547"/>
                  </a:lnTo>
                  <a:lnTo>
                    <a:pt x="461" y="536"/>
                  </a:lnTo>
                  <a:lnTo>
                    <a:pt x="455" y="522"/>
                  </a:lnTo>
                  <a:lnTo>
                    <a:pt x="455" y="507"/>
                  </a:lnTo>
                  <a:lnTo>
                    <a:pt x="459" y="503"/>
                  </a:lnTo>
                  <a:lnTo>
                    <a:pt x="463" y="497"/>
                  </a:lnTo>
                  <a:lnTo>
                    <a:pt x="470" y="497"/>
                  </a:lnTo>
                  <a:lnTo>
                    <a:pt x="482" y="493"/>
                  </a:lnTo>
                  <a:lnTo>
                    <a:pt x="493" y="493"/>
                  </a:lnTo>
                  <a:lnTo>
                    <a:pt x="484" y="478"/>
                  </a:lnTo>
                  <a:lnTo>
                    <a:pt x="472" y="461"/>
                  </a:lnTo>
                  <a:lnTo>
                    <a:pt x="463" y="449"/>
                  </a:lnTo>
                  <a:lnTo>
                    <a:pt x="455" y="447"/>
                  </a:lnTo>
                  <a:lnTo>
                    <a:pt x="447" y="449"/>
                  </a:lnTo>
                  <a:lnTo>
                    <a:pt x="440" y="449"/>
                  </a:lnTo>
                  <a:lnTo>
                    <a:pt x="430" y="445"/>
                  </a:lnTo>
                  <a:lnTo>
                    <a:pt x="413" y="436"/>
                  </a:lnTo>
                  <a:lnTo>
                    <a:pt x="415" y="442"/>
                  </a:lnTo>
                  <a:lnTo>
                    <a:pt x="420" y="449"/>
                  </a:lnTo>
                  <a:lnTo>
                    <a:pt x="424" y="453"/>
                  </a:lnTo>
                  <a:lnTo>
                    <a:pt x="428" y="468"/>
                  </a:lnTo>
                  <a:lnTo>
                    <a:pt x="424" y="482"/>
                  </a:lnTo>
                  <a:lnTo>
                    <a:pt x="417" y="497"/>
                  </a:lnTo>
                  <a:lnTo>
                    <a:pt x="413" y="499"/>
                  </a:lnTo>
                  <a:lnTo>
                    <a:pt x="411" y="503"/>
                  </a:lnTo>
                  <a:lnTo>
                    <a:pt x="422" y="515"/>
                  </a:lnTo>
                  <a:lnTo>
                    <a:pt x="418" y="530"/>
                  </a:lnTo>
                  <a:lnTo>
                    <a:pt x="413" y="545"/>
                  </a:lnTo>
                  <a:lnTo>
                    <a:pt x="409" y="547"/>
                  </a:lnTo>
                  <a:lnTo>
                    <a:pt x="405" y="555"/>
                  </a:lnTo>
                  <a:lnTo>
                    <a:pt x="405" y="561"/>
                  </a:lnTo>
                  <a:lnTo>
                    <a:pt x="403" y="565"/>
                  </a:lnTo>
                  <a:lnTo>
                    <a:pt x="401" y="566"/>
                  </a:lnTo>
                  <a:lnTo>
                    <a:pt x="397" y="561"/>
                  </a:lnTo>
                  <a:lnTo>
                    <a:pt x="393" y="553"/>
                  </a:lnTo>
                  <a:lnTo>
                    <a:pt x="390" y="547"/>
                  </a:lnTo>
                  <a:lnTo>
                    <a:pt x="386" y="547"/>
                  </a:lnTo>
                  <a:lnTo>
                    <a:pt x="382" y="549"/>
                  </a:lnTo>
                  <a:lnTo>
                    <a:pt x="374" y="545"/>
                  </a:lnTo>
                  <a:lnTo>
                    <a:pt x="372" y="541"/>
                  </a:lnTo>
                  <a:lnTo>
                    <a:pt x="367" y="540"/>
                  </a:lnTo>
                  <a:lnTo>
                    <a:pt x="355" y="549"/>
                  </a:lnTo>
                  <a:lnTo>
                    <a:pt x="334" y="565"/>
                  </a:lnTo>
                  <a:lnTo>
                    <a:pt x="321" y="574"/>
                  </a:lnTo>
                  <a:lnTo>
                    <a:pt x="321" y="584"/>
                  </a:lnTo>
                  <a:lnTo>
                    <a:pt x="324" y="599"/>
                  </a:lnTo>
                  <a:lnTo>
                    <a:pt x="342" y="616"/>
                  </a:lnTo>
                  <a:lnTo>
                    <a:pt x="332" y="620"/>
                  </a:lnTo>
                  <a:lnTo>
                    <a:pt x="309" y="613"/>
                  </a:lnTo>
                  <a:lnTo>
                    <a:pt x="282" y="599"/>
                  </a:lnTo>
                  <a:lnTo>
                    <a:pt x="263" y="586"/>
                  </a:lnTo>
                  <a:lnTo>
                    <a:pt x="259" y="603"/>
                  </a:lnTo>
                  <a:lnTo>
                    <a:pt x="259" y="618"/>
                  </a:lnTo>
                  <a:lnTo>
                    <a:pt x="271" y="628"/>
                  </a:lnTo>
                  <a:lnTo>
                    <a:pt x="282" y="628"/>
                  </a:lnTo>
                  <a:lnTo>
                    <a:pt x="282" y="655"/>
                  </a:lnTo>
                  <a:lnTo>
                    <a:pt x="274" y="663"/>
                  </a:lnTo>
                  <a:lnTo>
                    <a:pt x="265" y="663"/>
                  </a:lnTo>
                  <a:lnTo>
                    <a:pt x="267" y="659"/>
                  </a:lnTo>
                  <a:lnTo>
                    <a:pt x="240" y="655"/>
                  </a:lnTo>
                  <a:lnTo>
                    <a:pt x="232" y="655"/>
                  </a:lnTo>
                  <a:lnTo>
                    <a:pt x="230" y="651"/>
                  </a:lnTo>
                  <a:lnTo>
                    <a:pt x="230" y="645"/>
                  </a:lnTo>
                  <a:lnTo>
                    <a:pt x="232" y="639"/>
                  </a:lnTo>
                  <a:lnTo>
                    <a:pt x="217" y="639"/>
                  </a:lnTo>
                  <a:lnTo>
                    <a:pt x="209" y="618"/>
                  </a:lnTo>
                  <a:lnTo>
                    <a:pt x="205" y="597"/>
                  </a:lnTo>
                  <a:lnTo>
                    <a:pt x="205" y="572"/>
                  </a:lnTo>
                  <a:lnTo>
                    <a:pt x="190" y="565"/>
                  </a:lnTo>
                  <a:lnTo>
                    <a:pt x="177" y="559"/>
                  </a:lnTo>
                  <a:lnTo>
                    <a:pt x="159" y="555"/>
                  </a:lnTo>
                  <a:lnTo>
                    <a:pt x="163" y="545"/>
                  </a:lnTo>
                  <a:lnTo>
                    <a:pt x="159" y="543"/>
                  </a:lnTo>
                  <a:lnTo>
                    <a:pt x="152" y="543"/>
                  </a:lnTo>
                  <a:lnTo>
                    <a:pt x="148" y="545"/>
                  </a:lnTo>
                  <a:lnTo>
                    <a:pt x="148" y="532"/>
                  </a:lnTo>
                  <a:lnTo>
                    <a:pt x="144" y="524"/>
                  </a:lnTo>
                  <a:lnTo>
                    <a:pt x="138" y="516"/>
                  </a:lnTo>
                  <a:lnTo>
                    <a:pt x="134" y="509"/>
                  </a:lnTo>
                  <a:lnTo>
                    <a:pt x="129" y="501"/>
                  </a:lnTo>
                  <a:lnTo>
                    <a:pt x="159" y="520"/>
                  </a:lnTo>
                  <a:lnTo>
                    <a:pt x="163" y="520"/>
                  </a:lnTo>
                  <a:lnTo>
                    <a:pt x="163" y="516"/>
                  </a:lnTo>
                  <a:lnTo>
                    <a:pt x="167" y="518"/>
                  </a:lnTo>
                  <a:lnTo>
                    <a:pt x="173" y="522"/>
                  </a:lnTo>
                  <a:lnTo>
                    <a:pt x="177" y="532"/>
                  </a:lnTo>
                  <a:lnTo>
                    <a:pt x="182" y="538"/>
                  </a:lnTo>
                  <a:lnTo>
                    <a:pt x="182" y="532"/>
                  </a:lnTo>
                  <a:lnTo>
                    <a:pt x="186" y="526"/>
                  </a:lnTo>
                  <a:lnTo>
                    <a:pt x="194" y="524"/>
                  </a:lnTo>
                  <a:lnTo>
                    <a:pt x="194" y="538"/>
                  </a:lnTo>
                  <a:lnTo>
                    <a:pt x="225" y="545"/>
                  </a:lnTo>
                  <a:lnTo>
                    <a:pt x="265" y="557"/>
                  </a:lnTo>
                  <a:lnTo>
                    <a:pt x="298" y="559"/>
                  </a:lnTo>
                  <a:lnTo>
                    <a:pt x="303" y="557"/>
                  </a:lnTo>
                  <a:lnTo>
                    <a:pt x="313" y="549"/>
                  </a:lnTo>
                  <a:lnTo>
                    <a:pt x="321" y="545"/>
                  </a:lnTo>
                  <a:lnTo>
                    <a:pt x="336" y="532"/>
                  </a:lnTo>
                  <a:lnTo>
                    <a:pt x="347" y="515"/>
                  </a:lnTo>
                  <a:lnTo>
                    <a:pt x="344" y="491"/>
                  </a:lnTo>
                  <a:lnTo>
                    <a:pt x="336" y="491"/>
                  </a:lnTo>
                  <a:lnTo>
                    <a:pt x="336" y="484"/>
                  </a:lnTo>
                  <a:lnTo>
                    <a:pt x="317" y="476"/>
                  </a:lnTo>
                  <a:lnTo>
                    <a:pt x="309" y="472"/>
                  </a:lnTo>
                  <a:lnTo>
                    <a:pt x="309" y="465"/>
                  </a:lnTo>
                  <a:lnTo>
                    <a:pt x="305" y="463"/>
                  </a:lnTo>
                  <a:lnTo>
                    <a:pt x="301" y="465"/>
                  </a:lnTo>
                  <a:lnTo>
                    <a:pt x="298" y="465"/>
                  </a:lnTo>
                  <a:lnTo>
                    <a:pt x="298" y="457"/>
                  </a:lnTo>
                  <a:lnTo>
                    <a:pt x="255" y="434"/>
                  </a:lnTo>
                  <a:lnTo>
                    <a:pt x="236" y="426"/>
                  </a:lnTo>
                  <a:lnTo>
                    <a:pt x="227" y="424"/>
                  </a:lnTo>
                  <a:lnTo>
                    <a:pt x="221" y="426"/>
                  </a:lnTo>
                  <a:lnTo>
                    <a:pt x="217" y="426"/>
                  </a:lnTo>
                  <a:lnTo>
                    <a:pt x="213" y="422"/>
                  </a:lnTo>
                  <a:lnTo>
                    <a:pt x="211" y="417"/>
                  </a:lnTo>
                  <a:lnTo>
                    <a:pt x="209" y="415"/>
                  </a:lnTo>
                  <a:lnTo>
                    <a:pt x="203" y="413"/>
                  </a:lnTo>
                  <a:lnTo>
                    <a:pt x="198" y="415"/>
                  </a:lnTo>
                  <a:lnTo>
                    <a:pt x="194" y="415"/>
                  </a:lnTo>
                  <a:lnTo>
                    <a:pt x="190" y="407"/>
                  </a:lnTo>
                  <a:lnTo>
                    <a:pt x="169" y="401"/>
                  </a:lnTo>
                  <a:lnTo>
                    <a:pt x="150" y="399"/>
                  </a:lnTo>
                  <a:lnTo>
                    <a:pt x="132" y="399"/>
                  </a:lnTo>
                  <a:lnTo>
                    <a:pt x="132" y="392"/>
                  </a:lnTo>
                  <a:lnTo>
                    <a:pt x="146" y="388"/>
                  </a:lnTo>
                  <a:lnTo>
                    <a:pt x="140" y="384"/>
                  </a:lnTo>
                  <a:lnTo>
                    <a:pt x="129" y="380"/>
                  </a:lnTo>
                  <a:lnTo>
                    <a:pt x="129" y="378"/>
                  </a:lnTo>
                  <a:lnTo>
                    <a:pt x="127" y="378"/>
                  </a:lnTo>
                  <a:lnTo>
                    <a:pt x="125" y="380"/>
                  </a:lnTo>
                  <a:lnTo>
                    <a:pt x="108" y="380"/>
                  </a:lnTo>
                  <a:lnTo>
                    <a:pt x="102" y="376"/>
                  </a:lnTo>
                  <a:lnTo>
                    <a:pt x="94" y="384"/>
                  </a:lnTo>
                  <a:lnTo>
                    <a:pt x="92" y="388"/>
                  </a:lnTo>
                  <a:lnTo>
                    <a:pt x="88" y="392"/>
                  </a:lnTo>
                  <a:lnTo>
                    <a:pt x="83" y="393"/>
                  </a:lnTo>
                  <a:lnTo>
                    <a:pt x="81" y="393"/>
                  </a:lnTo>
                  <a:lnTo>
                    <a:pt x="81" y="413"/>
                  </a:lnTo>
                  <a:lnTo>
                    <a:pt x="77" y="418"/>
                  </a:lnTo>
                  <a:lnTo>
                    <a:pt x="73" y="420"/>
                  </a:lnTo>
                  <a:lnTo>
                    <a:pt x="73" y="418"/>
                  </a:lnTo>
                  <a:lnTo>
                    <a:pt x="71" y="417"/>
                  </a:lnTo>
                  <a:lnTo>
                    <a:pt x="71" y="411"/>
                  </a:lnTo>
                  <a:lnTo>
                    <a:pt x="61" y="420"/>
                  </a:lnTo>
                  <a:lnTo>
                    <a:pt x="60" y="428"/>
                  </a:lnTo>
                  <a:lnTo>
                    <a:pt x="60" y="442"/>
                  </a:lnTo>
                  <a:lnTo>
                    <a:pt x="61" y="451"/>
                  </a:lnTo>
                  <a:lnTo>
                    <a:pt x="65" y="455"/>
                  </a:lnTo>
                  <a:lnTo>
                    <a:pt x="69" y="455"/>
                  </a:lnTo>
                  <a:lnTo>
                    <a:pt x="75" y="466"/>
                  </a:lnTo>
                  <a:lnTo>
                    <a:pt x="75" y="474"/>
                  </a:lnTo>
                  <a:lnTo>
                    <a:pt x="71" y="482"/>
                  </a:lnTo>
                  <a:lnTo>
                    <a:pt x="63" y="490"/>
                  </a:lnTo>
                  <a:lnTo>
                    <a:pt x="61" y="497"/>
                  </a:lnTo>
                  <a:lnTo>
                    <a:pt x="71" y="536"/>
                  </a:lnTo>
                  <a:lnTo>
                    <a:pt x="75" y="547"/>
                  </a:lnTo>
                  <a:lnTo>
                    <a:pt x="77" y="551"/>
                  </a:lnTo>
                  <a:lnTo>
                    <a:pt x="77" y="566"/>
                  </a:lnTo>
                  <a:lnTo>
                    <a:pt x="79" y="572"/>
                  </a:lnTo>
                  <a:lnTo>
                    <a:pt x="79" y="576"/>
                  </a:lnTo>
                  <a:lnTo>
                    <a:pt x="77" y="582"/>
                  </a:lnTo>
                  <a:lnTo>
                    <a:pt x="75" y="586"/>
                  </a:lnTo>
                  <a:lnTo>
                    <a:pt x="79" y="597"/>
                  </a:lnTo>
                  <a:lnTo>
                    <a:pt x="79" y="605"/>
                  </a:lnTo>
                  <a:lnTo>
                    <a:pt x="81" y="607"/>
                  </a:lnTo>
                  <a:lnTo>
                    <a:pt x="81" y="609"/>
                  </a:lnTo>
                  <a:lnTo>
                    <a:pt x="83" y="614"/>
                  </a:lnTo>
                  <a:lnTo>
                    <a:pt x="86" y="620"/>
                  </a:lnTo>
                  <a:lnTo>
                    <a:pt x="92" y="624"/>
                  </a:lnTo>
                  <a:lnTo>
                    <a:pt x="94" y="628"/>
                  </a:lnTo>
                  <a:lnTo>
                    <a:pt x="94" y="634"/>
                  </a:lnTo>
                  <a:lnTo>
                    <a:pt x="98" y="639"/>
                  </a:lnTo>
                  <a:lnTo>
                    <a:pt x="100" y="645"/>
                  </a:lnTo>
                  <a:lnTo>
                    <a:pt x="100" y="651"/>
                  </a:lnTo>
                  <a:lnTo>
                    <a:pt x="96" y="657"/>
                  </a:lnTo>
                  <a:lnTo>
                    <a:pt x="92" y="661"/>
                  </a:lnTo>
                  <a:lnTo>
                    <a:pt x="92" y="678"/>
                  </a:lnTo>
                  <a:lnTo>
                    <a:pt x="96" y="684"/>
                  </a:lnTo>
                  <a:lnTo>
                    <a:pt x="102" y="687"/>
                  </a:lnTo>
                  <a:lnTo>
                    <a:pt x="108" y="687"/>
                  </a:lnTo>
                  <a:lnTo>
                    <a:pt x="111" y="693"/>
                  </a:lnTo>
                  <a:lnTo>
                    <a:pt x="117" y="711"/>
                  </a:lnTo>
                  <a:lnTo>
                    <a:pt x="94" y="728"/>
                  </a:lnTo>
                  <a:lnTo>
                    <a:pt x="52" y="755"/>
                  </a:lnTo>
                  <a:lnTo>
                    <a:pt x="29" y="768"/>
                  </a:lnTo>
                  <a:lnTo>
                    <a:pt x="8" y="785"/>
                  </a:lnTo>
                  <a:lnTo>
                    <a:pt x="13" y="785"/>
                  </a:lnTo>
                  <a:lnTo>
                    <a:pt x="25" y="782"/>
                  </a:lnTo>
                  <a:lnTo>
                    <a:pt x="33" y="778"/>
                  </a:lnTo>
                  <a:lnTo>
                    <a:pt x="33" y="782"/>
                  </a:lnTo>
                  <a:lnTo>
                    <a:pt x="31" y="787"/>
                  </a:lnTo>
                  <a:lnTo>
                    <a:pt x="29" y="789"/>
                  </a:lnTo>
                  <a:lnTo>
                    <a:pt x="44" y="805"/>
                  </a:lnTo>
                  <a:lnTo>
                    <a:pt x="52" y="809"/>
                  </a:lnTo>
                  <a:lnTo>
                    <a:pt x="56" y="809"/>
                  </a:lnTo>
                  <a:lnTo>
                    <a:pt x="63" y="805"/>
                  </a:lnTo>
                  <a:lnTo>
                    <a:pt x="71" y="805"/>
                  </a:lnTo>
                  <a:lnTo>
                    <a:pt x="73" y="809"/>
                  </a:lnTo>
                  <a:lnTo>
                    <a:pt x="75" y="814"/>
                  </a:lnTo>
                  <a:lnTo>
                    <a:pt x="79" y="816"/>
                  </a:lnTo>
                  <a:lnTo>
                    <a:pt x="90" y="816"/>
                  </a:lnTo>
                  <a:lnTo>
                    <a:pt x="83" y="818"/>
                  </a:lnTo>
                  <a:lnTo>
                    <a:pt x="71" y="820"/>
                  </a:lnTo>
                  <a:lnTo>
                    <a:pt x="60" y="820"/>
                  </a:lnTo>
                  <a:lnTo>
                    <a:pt x="58" y="822"/>
                  </a:lnTo>
                  <a:lnTo>
                    <a:pt x="56" y="826"/>
                  </a:lnTo>
                  <a:lnTo>
                    <a:pt x="56" y="828"/>
                  </a:lnTo>
                  <a:lnTo>
                    <a:pt x="44" y="828"/>
                  </a:lnTo>
                  <a:lnTo>
                    <a:pt x="35" y="826"/>
                  </a:lnTo>
                  <a:lnTo>
                    <a:pt x="29" y="824"/>
                  </a:lnTo>
                  <a:lnTo>
                    <a:pt x="27" y="828"/>
                  </a:lnTo>
                  <a:lnTo>
                    <a:pt x="27" y="835"/>
                  </a:lnTo>
                  <a:lnTo>
                    <a:pt x="29" y="837"/>
                  </a:lnTo>
                  <a:lnTo>
                    <a:pt x="31" y="841"/>
                  </a:lnTo>
                  <a:lnTo>
                    <a:pt x="33" y="847"/>
                  </a:lnTo>
                  <a:lnTo>
                    <a:pt x="31" y="851"/>
                  </a:lnTo>
                  <a:lnTo>
                    <a:pt x="27" y="855"/>
                  </a:lnTo>
                  <a:lnTo>
                    <a:pt x="21" y="862"/>
                  </a:lnTo>
                  <a:lnTo>
                    <a:pt x="21" y="872"/>
                  </a:lnTo>
                  <a:lnTo>
                    <a:pt x="23" y="880"/>
                  </a:lnTo>
                  <a:lnTo>
                    <a:pt x="25" y="885"/>
                  </a:lnTo>
                  <a:lnTo>
                    <a:pt x="21" y="889"/>
                  </a:lnTo>
                  <a:lnTo>
                    <a:pt x="17" y="897"/>
                  </a:lnTo>
                  <a:lnTo>
                    <a:pt x="15" y="893"/>
                  </a:lnTo>
                  <a:lnTo>
                    <a:pt x="12" y="897"/>
                  </a:lnTo>
                  <a:lnTo>
                    <a:pt x="10" y="901"/>
                  </a:lnTo>
                  <a:lnTo>
                    <a:pt x="6" y="903"/>
                  </a:lnTo>
                  <a:lnTo>
                    <a:pt x="2" y="907"/>
                  </a:lnTo>
                  <a:lnTo>
                    <a:pt x="0" y="914"/>
                  </a:lnTo>
                  <a:lnTo>
                    <a:pt x="0" y="918"/>
                  </a:lnTo>
                  <a:lnTo>
                    <a:pt x="4" y="926"/>
                  </a:lnTo>
                  <a:lnTo>
                    <a:pt x="8" y="930"/>
                  </a:lnTo>
                  <a:lnTo>
                    <a:pt x="13" y="928"/>
                  </a:lnTo>
                  <a:lnTo>
                    <a:pt x="17" y="926"/>
                  </a:lnTo>
                  <a:lnTo>
                    <a:pt x="19" y="939"/>
                  </a:lnTo>
                  <a:lnTo>
                    <a:pt x="19" y="947"/>
                  </a:lnTo>
                  <a:lnTo>
                    <a:pt x="21" y="949"/>
                  </a:lnTo>
                  <a:lnTo>
                    <a:pt x="25" y="949"/>
                  </a:lnTo>
                  <a:lnTo>
                    <a:pt x="29" y="953"/>
                  </a:lnTo>
                  <a:lnTo>
                    <a:pt x="33" y="958"/>
                  </a:lnTo>
                  <a:lnTo>
                    <a:pt x="36" y="962"/>
                  </a:lnTo>
                  <a:lnTo>
                    <a:pt x="36" y="964"/>
                  </a:lnTo>
                  <a:lnTo>
                    <a:pt x="38" y="974"/>
                  </a:lnTo>
                  <a:lnTo>
                    <a:pt x="42" y="974"/>
                  </a:lnTo>
                  <a:lnTo>
                    <a:pt x="42" y="982"/>
                  </a:lnTo>
                  <a:lnTo>
                    <a:pt x="46" y="982"/>
                  </a:lnTo>
                  <a:lnTo>
                    <a:pt x="52" y="980"/>
                  </a:lnTo>
                  <a:lnTo>
                    <a:pt x="56" y="978"/>
                  </a:lnTo>
                  <a:lnTo>
                    <a:pt x="60" y="978"/>
                  </a:lnTo>
                  <a:lnTo>
                    <a:pt x="63" y="980"/>
                  </a:lnTo>
                  <a:lnTo>
                    <a:pt x="69" y="982"/>
                  </a:lnTo>
                  <a:lnTo>
                    <a:pt x="77" y="983"/>
                  </a:lnTo>
                  <a:lnTo>
                    <a:pt x="81" y="987"/>
                  </a:lnTo>
                  <a:lnTo>
                    <a:pt x="84" y="993"/>
                  </a:lnTo>
                  <a:lnTo>
                    <a:pt x="86" y="997"/>
                  </a:lnTo>
                  <a:lnTo>
                    <a:pt x="90" y="999"/>
                  </a:lnTo>
                  <a:lnTo>
                    <a:pt x="94" y="1006"/>
                  </a:lnTo>
                  <a:lnTo>
                    <a:pt x="94" y="1014"/>
                  </a:lnTo>
                  <a:lnTo>
                    <a:pt x="98" y="1020"/>
                  </a:lnTo>
                  <a:lnTo>
                    <a:pt x="100" y="1028"/>
                  </a:lnTo>
                  <a:lnTo>
                    <a:pt x="98" y="1037"/>
                  </a:lnTo>
                  <a:lnTo>
                    <a:pt x="98" y="1045"/>
                  </a:lnTo>
                  <a:lnTo>
                    <a:pt x="102" y="1049"/>
                  </a:lnTo>
                  <a:lnTo>
                    <a:pt x="113" y="1056"/>
                  </a:lnTo>
                  <a:lnTo>
                    <a:pt x="119" y="1064"/>
                  </a:lnTo>
                  <a:lnTo>
                    <a:pt x="121" y="1072"/>
                  </a:lnTo>
                  <a:lnTo>
                    <a:pt x="123" y="1078"/>
                  </a:lnTo>
                  <a:lnTo>
                    <a:pt x="119" y="1081"/>
                  </a:lnTo>
                  <a:lnTo>
                    <a:pt x="111" y="1081"/>
                  </a:lnTo>
                  <a:lnTo>
                    <a:pt x="106" y="1080"/>
                  </a:lnTo>
                  <a:lnTo>
                    <a:pt x="102" y="1085"/>
                  </a:lnTo>
                  <a:lnTo>
                    <a:pt x="102" y="1089"/>
                  </a:lnTo>
                  <a:lnTo>
                    <a:pt x="111" y="1099"/>
                  </a:lnTo>
                  <a:lnTo>
                    <a:pt x="111" y="1128"/>
                  </a:lnTo>
                  <a:lnTo>
                    <a:pt x="113" y="1131"/>
                  </a:lnTo>
                  <a:lnTo>
                    <a:pt x="119" y="1135"/>
                  </a:lnTo>
                  <a:lnTo>
                    <a:pt x="127" y="1129"/>
                  </a:lnTo>
                  <a:lnTo>
                    <a:pt x="129" y="1126"/>
                  </a:lnTo>
                  <a:lnTo>
                    <a:pt x="132" y="1128"/>
                  </a:lnTo>
                  <a:lnTo>
                    <a:pt x="136" y="1131"/>
                  </a:lnTo>
                  <a:lnTo>
                    <a:pt x="148" y="1131"/>
                  </a:lnTo>
                  <a:lnTo>
                    <a:pt x="150" y="1133"/>
                  </a:lnTo>
                  <a:lnTo>
                    <a:pt x="150" y="1139"/>
                  </a:lnTo>
                  <a:lnTo>
                    <a:pt x="154" y="1147"/>
                  </a:lnTo>
                  <a:lnTo>
                    <a:pt x="154" y="1151"/>
                  </a:lnTo>
                  <a:lnTo>
                    <a:pt x="155" y="1156"/>
                  </a:lnTo>
                  <a:lnTo>
                    <a:pt x="161" y="1162"/>
                  </a:lnTo>
                  <a:lnTo>
                    <a:pt x="161" y="1166"/>
                  </a:lnTo>
                  <a:lnTo>
                    <a:pt x="165" y="1170"/>
                  </a:lnTo>
                  <a:lnTo>
                    <a:pt x="177" y="1168"/>
                  </a:lnTo>
                  <a:lnTo>
                    <a:pt x="182" y="1170"/>
                  </a:lnTo>
                  <a:lnTo>
                    <a:pt x="188" y="1174"/>
                  </a:lnTo>
                  <a:lnTo>
                    <a:pt x="194" y="1176"/>
                  </a:lnTo>
                  <a:lnTo>
                    <a:pt x="200" y="1174"/>
                  </a:lnTo>
                  <a:lnTo>
                    <a:pt x="203" y="1176"/>
                  </a:lnTo>
                  <a:lnTo>
                    <a:pt x="205" y="1179"/>
                  </a:lnTo>
                  <a:lnTo>
                    <a:pt x="211" y="1185"/>
                  </a:lnTo>
                  <a:lnTo>
                    <a:pt x="215" y="1187"/>
                  </a:lnTo>
                  <a:lnTo>
                    <a:pt x="217" y="1187"/>
                  </a:lnTo>
                  <a:lnTo>
                    <a:pt x="223" y="1193"/>
                  </a:lnTo>
                  <a:lnTo>
                    <a:pt x="225" y="1201"/>
                  </a:lnTo>
                  <a:lnTo>
                    <a:pt x="225" y="1204"/>
                  </a:lnTo>
                  <a:lnTo>
                    <a:pt x="228" y="1204"/>
                  </a:lnTo>
                  <a:lnTo>
                    <a:pt x="232" y="1203"/>
                  </a:lnTo>
                  <a:lnTo>
                    <a:pt x="240" y="1201"/>
                  </a:lnTo>
                  <a:lnTo>
                    <a:pt x="248" y="1197"/>
                  </a:lnTo>
                  <a:lnTo>
                    <a:pt x="257" y="1197"/>
                  </a:lnTo>
                  <a:lnTo>
                    <a:pt x="263" y="1199"/>
                  </a:lnTo>
                  <a:lnTo>
                    <a:pt x="263" y="1204"/>
                  </a:lnTo>
                  <a:lnTo>
                    <a:pt x="269" y="1204"/>
                  </a:lnTo>
                  <a:lnTo>
                    <a:pt x="274" y="1206"/>
                  </a:lnTo>
                  <a:lnTo>
                    <a:pt x="276" y="1210"/>
                  </a:lnTo>
                  <a:lnTo>
                    <a:pt x="282" y="1212"/>
                  </a:lnTo>
                  <a:lnTo>
                    <a:pt x="286" y="1214"/>
                  </a:lnTo>
                  <a:lnTo>
                    <a:pt x="290" y="1218"/>
                  </a:lnTo>
                  <a:lnTo>
                    <a:pt x="296" y="1220"/>
                  </a:lnTo>
                  <a:lnTo>
                    <a:pt x="299" y="1226"/>
                  </a:lnTo>
                  <a:lnTo>
                    <a:pt x="298" y="1229"/>
                  </a:lnTo>
                  <a:lnTo>
                    <a:pt x="298" y="1233"/>
                  </a:lnTo>
                  <a:lnTo>
                    <a:pt x="301" y="1235"/>
                  </a:lnTo>
                  <a:lnTo>
                    <a:pt x="303" y="1237"/>
                  </a:lnTo>
                  <a:lnTo>
                    <a:pt x="301" y="1239"/>
                  </a:lnTo>
                  <a:lnTo>
                    <a:pt x="298" y="1245"/>
                  </a:lnTo>
                  <a:lnTo>
                    <a:pt x="294" y="1249"/>
                  </a:lnTo>
                  <a:lnTo>
                    <a:pt x="301" y="1256"/>
                  </a:lnTo>
                  <a:lnTo>
                    <a:pt x="301" y="1264"/>
                  </a:lnTo>
                  <a:lnTo>
                    <a:pt x="303" y="1270"/>
                  </a:lnTo>
                  <a:lnTo>
                    <a:pt x="303" y="1274"/>
                  </a:lnTo>
                  <a:lnTo>
                    <a:pt x="301" y="1274"/>
                  </a:lnTo>
                  <a:lnTo>
                    <a:pt x="299" y="1279"/>
                  </a:lnTo>
                  <a:lnTo>
                    <a:pt x="301" y="1287"/>
                  </a:lnTo>
                  <a:lnTo>
                    <a:pt x="305" y="1297"/>
                  </a:lnTo>
                  <a:lnTo>
                    <a:pt x="307" y="1302"/>
                  </a:lnTo>
                  <a:lnTo>
                    <a:pt x="303" y="1306"/>
                  </a:lnTo>
                  <a:lnTo>
                    <a:pt x="294" y="1308"/>
                  </a:lnTo>
                  <a:lnTo>
                    <a:pt x="286" y="1306"/>
                  </a:lnTo>
                  <a:lnTo>
                    <a:pt x="278" y="1318"/>
                  </a:lnTo>
                  <a:lnTo>
                    <a:pt x="274" y="1333"/>
                  </a:lnTo>
                  <a:lnTo>
                    <a:pt x="278" y="1333"/>
                  </a:lnTo>
                  <a:lnTo>
                    <a:pt x="286" y="1329"/>
                  </a:lnTo>
                  <a:lnTo>
                    <a:pt x="296" y="1327"/>
                  </a:lnTo>
                  <a:lnTo>
                    <a:pt x="305" y="1327"/>
                  </a:lnTo>
                  <a:lnTo>
                    <a:pt x="305" y="1335"/>
                  </a:lnTo>
                  <a:lnTo>
                    <a:pt x="286" y="1343"/>
                  </a:lnTo>
                  <a:lnTo>
                    <a:pt x="278" y="1347"/>
                  </a:lnTo>
                  <a:lnTo>
                    <a:pt x="278" y="1358"/>
                  </a:lnTo>
                  <a:lnTo>
                    <a:pt x="259" y="1358"/>
                  </a:lnTo>
                  <a:lnTo>
                    <a:pt x="259" y="1366"/>
                  </a:lnTo>
                  <a:lnTo>
                    <a:pt x="265" y="1368"/>
                  </a:lnTo>
                  <a:lnTo>
                    <a:pt x="269" y="1368"/>
                  </a:lnTo>
                  <a:lnTo>
                    <a:pt x="274" y="1370"/>
                  </a:lnTo>
                  <a:lnTo>
                    <a:pt x="273" y="1372"/>
                  </a:lnTo>
                  <a:lnTo>
                    <a:pt x="271" y="1375"/>
                  </a:lnTo>
                  <a:lnTo>
                    <a:pt x="271" y="1381"/>
                  </a:lnTo>
                  <a:lnTo>
                    <a:pt x="263" y="1381"/>
                  </a:lnTo>
                  <a:lnTo>
                    <a:pt x="261" y="1383"/>
                  </a:lnTo>
                  <a:lnTo>
                    <a:pt x="263" y="1389"/>
                  </a:lnTo>
                  <a:lnTo>
                    <a:pt x="263" y="1393"/>
                  </a:lnTo>
                  <a:lnTo>
                    <a:pt x="244" y="1397"/>
                  </a:lnTo>
                  <a:lnTo>
                    <a:pt x="232" y="1397"/>
                  </a:lnTo>
                  <a:lnTo>
                    <a:pt x="238" y="1400"/>
                  </a:lnTo>
                  <a:lnTo>
                    <a:pt x="246" y="1402"/>
                  </a:lnTo>
                  <a:lnTo>
                    <a:pt x="255" y="1404"/>
                  </a:lnTo>
                  <a:lnTo>
                    <a:pt x="255" y="1416"/>
                  </a:lnTo>
                  <a:lnTo>
                    <a:pt x="259" y="1420"/>
                  </a:lnTo>
                  <a:lnTo>
                    <a:pt x="271" y="1420"/>
                  </a:lnTo>
                  <a:lnTo>
                    <a:pt x="271" y="1427"/>
                  </a:lnTo>
                  <a:lnTo>
                    <a:pt x="273" y="1429"/>
                  </a:lnTo>
                  <a:lnTo>
                    <a:pt x="278" y="1429"/>
                  </a:lnTo>
                  <a:lnTo>
                    <a:pt x="282" y="1431"/>
                  </a:lnTo>
                  <a:lnTo>
                    <a:pt x="290" y="1441"/>
                  </a:lnTo>
                  <a:lnTo>
                    <a:pt x="298" y="1452"/>
                  </a:lnTo>
                  <a:lnTo>
                    <a:pt x="305" y="1462"/>
                  </a:lnTo>
                  <a:lnTo>
                    <a:pt x="313" y="1466"/>
                  </a:lnTo>
                  <a:lnTo>
                    <a:pt x="319" y="1468"/>
                  </a:lnTo>
                  <a:lnTo>
                    <a:pt x="319" y="1464"/>
                  </a:lnTo>
                  <a:lnTo>
                    <a:pt x="322" y="1454"/>
                  </a:lnTo>
                  <a:lnTo>
                    <a:pt x="326" y="1448"/>
                  </a:lnTo>
                  <a:lnTo>
                    <a:pt x="332" y="1445"/>
                  </a:lnTo>
                  <a:lnTo>
                    <a:pt x="340" y="1443"/>
                  </a:lnTo>
                  <a:lnTo>
                    <a:pt x="347" y="1450"/>
                  </a:lnTo>
                  <a:lnTo>
                    <a:pt x="353" y="1450"/>
                  </a:lnTo>
                  <a:lnTo>
                    <a:pt x="369" y="1454"/>
                  </a:lnTo>
                  <a:lnTo>
                    <a:pt x="374" y="1454"/>
                  </a:lnTo>
                  <a:lnTo>
                    <a:pt x="380" y="1452"/>
                  </a:lnTo>
                  <a:lnTo>
                    <a:pt x="386" y="1454"/>
                  </a:lnTo>
                  <a:lnTo>
                    <a:pt x="388" y="1456"/>
                  </a:lnTo>
                  <a:lnTo>
                    <a:pt x="393" y="1460"/>
                  </a:lnTo>
                  <a:lnTo>
                    <a:pt x="405" y="1472"/>
                  </a:lnTo>
                  <a:lnTo>
                    <a:pt x="413" y="1475"/>
                  </a:lnTo>
                  <a:lnTo>
                    <a:pt x="428" y="1472"/>
                  </a:lnTo>
                  <a:lnTo>
                    <a:pt x="436" y="1475"/>
                  </a:lnTo>
                  <a:lnTo>
                    <a:pt x="438" y="1472"/>
                  </a:lnTo>
                  <a:lnTo>
                    <a:pt x="443" y="1470"/>
                  </a:lnTo>
                  <a:lnTo>
                    <a:pt x="447" y="1468"/>
                  </a:lnTo>
                  <a:lnTo>
                    <a:pt x="451" y="1468"/>
                  </a:lnTo>
                  <a:lnTo>
                    <a:pt x="455" y="1472"/>
                  </a:lnTo>
                  <a:lnTo>
                    <a:pt x="459" y="1477"/>
                  </a:lnTo>
                  <a:lnTo>
                    <a:pt x="461" y="1479"/>
                  </a:lnTo>
                  <a:lnTo>
                    <a:pt x="468" y="1485"/>
                  </a:lnTo>
                  <a:lnTo>
                    <a:pt x="472" y="1487"/>
                  </a:lnTo>
                  <a:lnTo>
                    <a:pt x="474" y="1489"/>
                  </a:lnTo>
                  <a:lnTo>
                    <a:pt x="476" y="1493"/>
                  </a:lnTo>
                  <a:lnTo>
                    <a:pt x="474" y="1497"/>
                  </a:lnTo>
                  <a:lnTo>
                    <a:pt x="476" y="1500"/>
                  </a:lnTo>
                  <a:lnTo>
                    <a:pt x="488" y="1500"/>
                  </a:lnTo>
                  <a:lnTo>
                    <a:pt x="491" y="1502"/>
                  </a:lnTo>
                  <a:lnTo>
                    <a:pt x="495" y="1508"/>
                  </a:lnTo>
                  <a:lnTo>
                    <a:pt x="497" y="1512"/>
                  </a:lnTo>
                  <a:lnTo>
                    <a:pt x="509" y="1523"/>
                  </a:lnTo>
                  <a:lnTo>
                    <a:pt x="514" y="1527"/>
                  </a:lnTo>
                  <a:lnTo>
                    <a:pt x="520" y="1533"/>
                  </a:lnTo>
                  <a:lnTo>
                    <a:pt x="522" y="1539"/>
                  </a:lnTo>
                  <a:lnTo>
                    <a:pt x="526" y="1543"/>
                  </a:lnTo>
                  <a:lnTo>
                    <a:pt x="530" y="1545"/>
                  </a:lnTo>
                  <a:lnTo>
                    <a:pt x="536" y="1539"/>
                  </a:lnTo>
                  <a:lnTo>
                    <a:pt x="541" y="1531"/>
                  </a:lnTo>
                  <a:lnTo>
                    <a:pt x="545" y="1527"/>
                  </a:lnTo>
                  <a:lnTo>
                    <a:pt x="539" y="1522"/>
                  </a:lnTo>
                  <a:lnTo>
                    <a:pt x="532" y="1518"/>
                  </a:lnTo>
                  <a:lnTo>
                    <a:pt x="528" y="1512"/>
                  </a:lnTo>
                  <a:lnTo>
                    <a:pt x="524" y="1500"/>
                  </a:lnTo>
                  <a:lnTo>
                    <a:pt x="524" y="1497"/>
                  </a:lnTo>
                  <a:lnTo>
                    <a:pt x="520" y="1493"/>
                  </a:lnTo>
                  <a:lnTo>
                    <a:pt x="514" y="1491"/>
                  </a:lnTo>
                  <a:lnTo>
                    <a:pt x="512" y="1489"/>
                  </a:lnTo>
                  <a:lnTo>
                    <a:pt x="511" y="1477"/>
                  </a:lnTo>
                  <a:lnTo>
                    <a:pt x="511" y="1466"/>
                  </a:lnTo>
                  <a:lnTo>
                    <a:pt x="512" y="1458"/>
                  </a:lnTo>
                  <a:lnTo>
                    <a:pt x="505" y="1458"/>
                  </a:lnTo>
                  <a:lnTo>
                    <a:pt x="503" y="1450"/>
                  </a:lnTo>
                  <a:lnTo>
                    <a:pt x="509" y="1441"/>
                  </a:lnTo>
                  <a:lnTo>
                    <a:pt x="509" y="1435"/>
                  </a:lnTo>
                  <a:lnTo>
                    <a:pt x="501" y="1433"/>
                  </a:lnTo>
                  <a:lnTo>
                    <a:pt x="495" y="1435"/>
                  </a:lnTo>
                  <a:lnTo>
                    <a:pt x="486" y="1435"/>
                  </a:lnTo>
                  <a:lnTo>
                    <a:pt x="491" y="1412"/>
                  </a:lnTo>
                  <a:lnTo>
                    <a:pt x="497" y="1393"/>
                  </a:lnTo>
                  <a:lnTo>
                    <a:pt x="505" y="1366"/>
                  </a:lnTo>
                  <a:lnTo>
                    <a:pt x="512" y="1366"/>
                  </a:lnTo>
                  <a:lnTo>
                    <a:pt x="516" y="1358"/>
                  </a:lnTo>
                  <a:lnTo>
                    <a:pt x="520" y="1360"/>
                  </a:lnTo>
                  <a:lnTo>
                    <a:pt x="524" y="1366"/>
                  </a:lnTo>
                  <a:lnTo>
                    <a:pt x="528" y="1370"/>
                  </a:lnTo>
                  <a:lnTo>
                    <a:pt x="522" y="1370"/>
                  </a:lnTo>
                  <a:lnTo>
                    <a:pt x="524" y="1372"/>
                  </a:lnTo>
                  <a:lnTo>
                    <a:pt x="528" y="1374"/>
                  </a:lnTo>
                  <a:lnTo>
                    <a:pt x="536" y="1366"/>
                  </a:lnTo>
                  <a:lnTo>
                    <a:pt x="534" y="1362"/>
                  </a:lnTo>
                  <a:lnTo>
                    <a:pt x="539" y="1358"/>
                  </a:lnTo>
                  <a:lnTo>
                    <a:pt x="539" y="1350"/>
                  </a:lnTo>
                  <a:lnTo>
                    <a:pt x="537" y="1347"/>
                  </a:lnTo>
                  <a:lnTo>
                    <a:pt x="534" y="1341"/>
                  </a:lnTo>
                  <a:lnTo>
                    <a:pt x="534" y="1335"/>
                  </a:lnTo>
                  <a:lnTo>
                    <a:pt x="536" y="1329"/>
                  </a:lnTo>
                  <a:lnTo>
                    <a:pt x="534" y="1326"/>
                  </a:lnTo>
                  <a:lnTo>
                    <a:pt x="534" y="1322"/>
                  </a:lnTo>
                  <a:lnTo>
                    <a:pt x="524" y="1299"/>
                  </a:lnTo>
                  <a:lnTo>
                    <a:pt x="520" y="1301"/>
                  </a:lnTo>
                  <a:lnTo>
                    <a:pt x="514" y="1302"/>
                  </a:lnTo>
                  <a:lnTo>
                    <a:pt x="511" y="1301"/>
                  </a:lnTo>
                  <a:lnTo>
                    <a:pt x="511" y="1285"/>
                  </a:lnTo>
                  <a:lnTo>
                    <a:pt x="507" y="1279"/>
                  </a:lnTo>
                  <a:lnTo>
                    <a:pt x="499" y="1276"/>
                  </a:lnTo>
                  <a:lnTo>
                    <a:pt x="495" y="1272"/>
                  </a:lnTo>
                  <a:lnTo>
                    <a:pt x="501" y="1260"/>
                  </a:lnTo>
                  <a:lnTo>
                    <a:pt x="507" y="1252"/>
                  </a:lnTo>
                  <a:lnTo>
                    <a:pt x="509" y="1249"/>
                  </a:lnTo>
                  <a:lnTo>
                    <a:pt x="511" y="1249"/>
                  </a:lnTo>
                  <a:lnTo>
                    <a:pt x="512" y="1245"/>
                  </a:lnTo>
                  <a:lnTo>
                    <a:pt x="512" y="1241"/>
                  </a:lnTo>
                  <a:lnTo>
                    <a:pt x="511" y="1237"/>
                  </a:lnTo>
                  <a:lnTo>
                    <a:pt x="507" y="1235"/>
                  </a:lnTo>
                  <a:lnTo>
                    <a:pt x="505" y="1233"/>
                  </a:lnTo>
                  <a:lnTo>
                    <a:pt x="509" y="1231"/>
                  </a:lnTo>
                  <a:lnTo>
                    <a:pt x="512" y="1222"/>
                  </a:lnTo>
                  <a:lnTo>
                    <a:pt x="512" y="1212"/>
                  </a:lnTo>
                  <a:lnTo>
                    <a:pt x="514" y="1208"/>
                  </a:lnTo>
                  <a:lnTo>
                    <a:pt x="520" y="1208"/>
                  </a:lnTo>
                  <a:lnTo>
                    <a:pt x="524" y="1204"/>
                  </a:lnTo>
                  <a:lnTo>
                    <a:pt x="528" y="1199"/>
                  </a:lnTo>
                  <a:lnTo>
                    <a:pt x="534" y="1193"/>
                  </a:lnTo>
                  <a:lnTo>
                    <a:pt x="537" y="1195"/>
                  </a:lnTo>
                  <a:lnTo>
                    <a:pt x="543" y="1210"/>
                  </a:lnTo>
                  <a:lnTo>
                    <a:pt x="545" y="1214"/>
                  </a:lnTo>
                  <a:lnTo>
                    <a:pt x="562" y="1204"/>
                  </a:lnTo>
                  <a:lnTo>
                    <a:pt x="559" y="1203"/>
                  </a:lnTo>
                  <a:lnTo>
                    <a:pt x="553" y="1197"/>
                  </a:lnTo>
                  <a:lnTo>
                    <a:pt x="551" y="1191"/>
                  </a:lnTo>
                  <a:lnTo>
                    <a:pt x="551" y="1183"/>
                  </a:lnTo>
                  <a:lnTo>
                    <a:pt x="553" y="1176"/>
                  </a:lnTo>
                  <a:lnTo>
                    <a:pt x="557" y="1172"/>
                  </a:lnTo>
                  <a:lnTo>
                    <a:pt x="560" y="1170"/>
                  </a:lnTo>
                  <a:lnTo>
                    <a:pt x="564" y="1164"/>
                  </a:lnTo>
                  <a:lnTo>
                    <a:pt x="587" y="1164"/>
                  </a:lnTo>
                  <a:lnTo>
                    <a:pt x="601" y="1151"/>
                  </a:lnTo>
                  <a:lnTo>
                    <a:pt x="607" y="1143"/>
                  </a:lnTo>
                  <a:lnTo>
                    <a:pt x="607" y="1139"/>
                  </a:lnTo>
                  <a:lnTo>
                    <a:pt x="605" y="1137"/>
                  </a:lnTo>
                  <a:lnTo>
                    <a:pt x="603" y="1137"/>
                  </a:lnTo>
                  <a:lnTo>
                    <a:pt x="626" y="1131"/>
                  </a:lnTo>
                  <a:lnTo>
                    <a:pt x="626" y="1137"/>
                  </a:lnTo>
                  <a:lnTo>
                    <a:pt x="637" y="1137"/>
                  </a:lnTo>
                  <a:lnTo>
                    <a:pt x="635" y="1135"/>
                  </a:lnTo>
                  <a:lnTo>
                    <a:pt x="635" y="1133"/>
                  </a:lnTo>
                  <a:lnTo>
                    <a:pt x="637" y="1131"/>
                  </a:lnTo>
                  <a:lnTo>
                    <a:pt x="641" y="1133"/>
                  </a:lnTo>
                  <a:lnTo>
                    <a:pt x="647" y="1135"/>
                  </a:lnTo>
                  <a:lnTo>
                    <a:pt x="649" y="1137"/>
                  </a:lnTo>
                  <a:lnTo>
                    <a:pt x="653" y="1143"/>
                  </a:lnTo>
                  <a:lnTo>
                    <a:pt x="653" y="1151"/>
                  </a:lnTo>
                  <a:lnTo>
                    <a:pt x="660" y="1151"/>
                  </a:lnTo>
                  <a:lnTo>
                    <a:pt x="666" y="1153"/>
                  </a:lnTo>
                  <a:lnTo>
                    <a:pt x="672" y="1156"/>
                  </a:lnTo>
                  <a:lnTo>
                    <a:pt x="679" y="1164"/>
                  </a:lnTo>
                  <a:lnTo>
                    <a:pt x="683" y="1170"/>
                  </a:lnTo>
                  <a:lnTo>
                    <a:pt x="685" y="1174"/>
                  </a:lnTo>
                  <a:lnTo>
                    <a:pt x="701" y="1174"/>
                  </a:lnTo>
                  <a:lnTo>
                    <a:pt x="704" y="1178"/>
                  </a:lnTo>
                  <a:lnTo>
                    <a:pt x="704" y="1183"/>
                  </a:lnTo>
                  <a:lnTo>
                    <a:pt x="702" y="1189"/>
                  </a:lnTo>
                  <a:lnTo>
                    <a:pt x="701" y="1193"/>
                  </a:lnTo>
                  <a:lnTo>
                    <a:pt x="712" y="1195"/>
                  </a:lnTo>
                  <a:lnTo>
                    <a:pt x="712" y="1191"/>
                  </a:lnTo>
                  <a:lnTo>
                    <a:pt x="714" y="1183"/>
                  </a:lnTo>
                  <a:lnTo>
                    <a:pt x="716" y="1179"/>
                  </a:lnTo>
                  <a:lnTo>
                    <a:pt x="718" y="1178"/>
                  </a:lnTo>
                  <a:lnTo>
                    <a:pt x="722" y="1176"/>
                  </a:lnTo>
                  <a:lnTo>
                    <a:pt x="727" y="1176"/>
                  </a:lnTo>
                  <a:lnTo>
                    <a:pt x="737" y="1181"/>
                  </a:lnTo>
                  <a:lnTo>
                    <a:pt x="745" y="1183"/>
                  </a:lnTo>
                  <a:lnTo>
                    <a:pt x="750" y="1183"/>
                  </a:lnTo>
                  <a:lnTo>
                    <a:pt x="756" y="1178"/>
                  </a:lnTo>
                  <a:lnTo>
                    <a:pt x="772" y="1170"/>
                  </a:lnTo>
                  <a:lnTo>
                    <a:pt x="777" y="1172"/>
                  </a:lnTo>
                  <a:lnTo>
                    <a:pt x="781" y="1176"/>
                  </a:lnTo>
                  <a:lnTo>
                    <a:pt x="785" y="1178"/>
                  </a:lnTo>
                  <a:lnTo>
                    <a:pt x="789" y="1176"/>
                  </a:lnTo>
                  <a:lnTo>
                    <a:pt x="791" y="1174"/>
                  </a:lnTo>
                  <a:lnTo>
                    <a:pt x="795" y="1174"/>
                  </a:lnTo>
                  <a:lnTo>
                    <a:pt x="800" y="1181"/>
                  </a:lnTo>
                  <a:lnTo>
                    <a:pt x="804" y="1191"/>
                  </a:lnTo>
                  <a:lnTo>
                    <a:pt x="806" y="1195"/>
                  </a:lnTo>
                  <a:lnTo>
                    <a:pt x="823" y="1199"/>
                  </a:lnTo>
                  <a:lnTo>
                    <a:pt x="835" y="1199"/>
                  </a:lnTo>
                  <a:lnTo>
                    <a:pt x="843" y="1191"/>
                  </a:lnTo>
                  <a:lnTo>
                    <a:pt x="845" y="1183"/>
                  </a:lnTo>
                  <a:lnTo>
                    <a:pt x="839" y="1176"/>
                  </a:lnTo>
                  <a:lnTo>
                    <a:pt x="831" y="1174"/>
                  </a:lnTo>
                  <a:lnTo>
                    <a:pt x="829" y="1172"/>
                  </a:lnTo>
                  <a:lnTo>
                    <a:pt x="820" y="1164"/>
                  </a:lnTo>
                  <a:lnTo>
                    <a:pt x="829" y="1147"/>
                  </a:lnTo>
                  <a:lnTo>
                    <a:pt x="827" y="1139"/>
                  </a:lnTo>
                  <a:lnTo>
                    <a:pt x="818" y="1124"/>
                  </a:lnTo>
                  <a:lnTo>
                    <a:pt x="818" y="1110"/>
                  </a:lnTo>
                  <a:lnTo>
                    <a:pt x="821" y="1101"/>
                  </a:lnTo>
                  <a:lnTo>
                    <a:pt x="821" y="1087"/>
                  </a:lnTo>
                  <a:lnTo>
                    <a:pt x="833" y="1074"/>
                  </a:lnTo>
                  <a:lnTo>
                    <a:pt x="833" y="1062"/>
                  </a:lnTo>
                  <a:lnTo>
                    <a:pt x="831" y="1053"/>
                  </a:lnTo>
                  <a:lnTo>
                    <a:pt x="841" y="1047"/>
                  </a:lnTo>
                  <a:lnTo>
                    <a:pt x="856" y="1053"/>
                  </a:lnTo>
                  <a:lnTo>
                    <a:pt x="871" y="1055"/>
                  </a:lnTo>
                  <a:lnTo>
                    <a:pt x="881" y="1060"/>
                  </a:lnTo>
                  <a:lnTo>
                    <a:pt x="904" y="1056"/>
                  </a:lnTo>
                  <a:lnTo>
                    <a:pt x="921" y="1051"/>
                  </a:lnTo>
                  <a:lnTo>
                    <a:pt x="946" y="1053"/>
                  </a:lnTo>
                  <a:lnTo>
                    <a:pt x="969" y="1045"/>
                  </a:lnTo>
                  <a:lnTo>
                    <a:pt x="979" y="1045"/>
                  </a:lnTo>
                  <a:lnTo>
                    <a:pt x="1002" y="1031"/>
                  </a:lnTo>
                  <a:lnTo>
                    <a:pt x="1019" y="1026"/>
                  </a:lnTo>
                  <a:lnTo>
                    <a:pt x="1031" y="1024"/>
                  </a:lnTo>
                  <a:lnTo>
                    <a:pt x="1036" y="1031"/>
                  </a:lnTo>
                  <a:lnTo>
                    <a:pt x="1046" y="1035"/>
                  </a:lnTo>
                  <a:lnTo>
                    <a:pt x="1046" y="1041"/>
                  </a:lnTo>
                  <a:lnTo>
                    <a:pt x="1042" y="1055"/>
                  </a:lnTo>
                  <a:lnTo>
                    <a:pt x="1050" y="1055"/>
                  </a:lnTo>
                  <a:lnTo>
                    <a:pt x="1061" y="1068"/>
                  </a:lnTo>
                  <a:lnTo>
                    <a:pt x="1071" y="1064"/>
                  </a:lnTo>
                  <a:lnTo>
                    <a:pt x="1083" y="1051"/>
                  </a:lnTo>
                  <a:lnTo>
                    <a:pt x="1098" y="1060"/>
                  </a:lnTo>
                  <a:lnTo>
                    <a:pt x="1102" y="1066"/>
                  </a:lnTo>
                  <a:lnTo>
                    <a:pt x="1111" y="1060"/>
                  </a:lnTo>
                  <a:lnTo>
                    <a:pt x="1117" y="1060"/>
                  </a:lnTo>
                  <a:lnTo>
                    <a:pt x="1121" y="1072"/>
                  </a:lnTo>
                  <a:lnTo>
                    <a:pt x="1121" y="1074"/>
                  </a:lnTo>
                  <a:lnTo>
                    <a:pt x="1119" y="1074"/>
                  </a:lnTo>
                  <a:lnTo>
                    <a:pt x="1142" y="1076"/>
                  </a:lnTo>
                  <a:lnTo>
                    <a:pt x="1163" y="1068"/>
                  </a:lnTo>
                  <a:lnTo>
                    <a:pt x="1188" y="1056"/>
                  </a:lnTo>
                  <a:lnTo>
                    <a:pt x="1207" y="1049"/>
                  </a:lnTo>
                  <a:lnTo>
                    <a:pt x="1228" y="1045"/>
                  </a:lnTo>
                  <a:lnTo>
                    <a:pt x="1230" y="1049"/>
                  </a:lnTo>
                  <a:lnTo>
                    <a:pt x="1230" y="1062"/>
                  </a:lnTo>
                  <a:lnTo>
                    <a:pt x="1246" y="1091"/>
                  </a:lnTo>
                  <a:lnTo>
                    <a:pt x="1265" y="1131"/>
                  </a:lnTo>
                  <a:lnTo>
                    <a:pt x="1278" y="1162"/>
                  </a:lnTo>
                  <a:lnTo>
                    <a:pt x="1282" y="1166"/>
                  </a:lnTo>
                  <a:lnTo>
                    <a:pt x="1288" y="1174"/>
                  </a:lnTo>
                  <a:lnTo>
                    <a:pt x="1296" y="1178"/>
                  </a:lnTo>
                  <a:lnTo>
                    <a:pt x="1303" y="1178"/>
                  </a:lnTo>
                  <a:lnTo>
                    <a:pt x="1313" y="1176"/>
                  </a:lnTo>
                  <a:lnTo>
                    <a:pt x="1319" y="1174"/>
                  </a:lnTo>
                  <a:lnTo>
                    <a:pt x="1345" y="1174"/>
                  </a:lnTo>
                  <a:lnTo>
                    <a:pt x="1355" y="1179"/>
                  </a:lnTo>
                  <a:lnTo>
                    <a:pt x="1365" y="1189"/>
                  </a:lnTo>
                  <a:lnTo>
                    <a:pt x="1369" y="1195"/>
                  </a:lnTo>
                  <a:lnTo>
                    <a:pt x="1372" y="1210"/>
                  </a:lnTo>
                  <a:lnTo>
                    <a:pt x="1378" y="1227"/>
                  </a:lnTo>
                  <a:lnTo>
                    <a:pt x="1384" y="1235"/>
                  </a:lnTo>
                  <a:lnTo>
                    <a:pt x="1397" y="1243"/>
                  </a:lnTo>
                  <a:lnTo>
                    <a:pt x="1415" y="1239"/>
                  </a:lnTo>
                  <a:lnTo>
                    <a:pt x="1445" y="1226"/>
                  </a:lnTo>
                  <a:lnTo>
                    <a:pt x="1464" y="1222"/>
                  </a:lnTo>
                  <a:lnTo>
                    <a:pt x="1476" y="1222"/>
                  </a:lnTo>
                  <a:lnTo>
                    <a:pt x="1491" y="1245"/>
                  </a:lnTo>
                  <a:lnTo>
                    <a:pt x="1499" y="1251"/>
                  </a:lnTo>
                  <a:lnTo>
                    <a:pt x="1516" y="1254"/>
                  </a:lnTo>
                  <a:lnTo>
                    <a:pt x="1526" y="1249"/>
                  </a:lnTo>
                  <a:lnTo>
                    <a:pt x="1539" y="1245"/>
                  </a:lnTo>
                  <a:lnTo>
                    <a:pt x="1547" y="1239"/>
                  </a:lnTo>
                  <a:lnTo>
                    <a:pt x="1553" y="1231"/>
                  </a:lnTo>
                  <a:lnTo>
                    <a:pt x="1553" y="1224"/>
                  </a:lnTo>
                  <a:lnTo>
                    <a:pt x="1559" y="1216"/>
                  </a:lnTo>
                  <a:lnTo>
                    <a:pt x="1582" y="1204"/>
                  </a:lnTo>
                  <a:lnTo>
                    <a:pt x="1599" y="1197"/>
                  </a:lnTo>
                  <a:lnTo>
                    <a:pt x="1606" y="1191"/>
                  </a:lnTo>
                  <a:lnTo>
                    <a:pt x="1624" y="1189"/>
                  </a:lnTo>
                  <a:lnTo>
                    <a:pt x="1637" y="1193"/>
                  </a:lnTo>
                  <a:lnTo>
                    <a:pt x="1643" y="1201"/>
                  </a:lnTo>
                  <a:lnTo>
                    <a:pt x="1656" y="1195"/>
                  </a:lnTo>
                  <a:lnTo>
                    <a:pt x="1676" y="1204"/>
                  </a:lnTo>
                  <a:lnTo>
                    <a:pt x="1689" y="1212"/>
                  </a:lnTo>
                  <a:lnTo>
                    <a:pt x="1724" y="1216"/>
                  </a:lnTo>
                  <a:lnTo>
                    <a:pt x="1745" y="1212"/>
                  </a:lnTo>
                  <a:lnTo>
                    <a:pt x="1766" y="1214"/>
                  </a:lnTo>
                  <a:lnTo>
                    <a:pt x="1772" y="1206"/>
                  </a:lnTo>
                  <a:lnTo>
                    <a:pt x="1768" y="1191"/>
                  </a:lnTo>
                  <a:lnTo>
                    <a:pt x="1762" y="1179"/>
                  </a:lnTo>
                  <a:lnTo>
                    <a:pt x="1750" y="1172"/>
                  </a:lnTo>
                  <a:lnTo>
                    <a:pt x="1754" y="1160"/>
                  </a:lnTo>
                  <a:lnTo>
                    <a:pt x="1766" y="1141"/>
                  </a:lnTo>
                  <a:lnTo>
                    <a:pt x="1795" y="1147"/>
                  </a:lnTo>
                  <a:lnTo>
                    <a:pt x="1812" y="1147"/>
                  </a:lnTo>
                  <a:lnTo>
                    <a:pt x="1821" y="1154"/>
                  </a:lnTo>
                  <a:lnTo>
                    <a:pt x="1839" y="1156"/>
                  </a:lnTo>
                  <a:lnTo>
                    <a:pt x="1862" y="1176"/>
                  </a:lnTo>
                  <a:lnTo>
                    <a:pt x="1877" y="1189"/>
                  </a:lnTo>
                  <a:lnTo>
                    <a:pt x="1885" y="1204"/>
                  </a:lnTo>
                  <a:lnTo>
                    <a:pt x="1892" y="1210"/>
                  </a:lnTo>
                  <a:lnTo>
                    <a:pt x="1910" y="1222"/>
                  </a:lnTo>
                  <a:lnTo>
                    <a:pt x="1923" y="1220"/>
                  </a:lnTo>
                  <a:lnTo>
                    <a:pt x="1933" y="1220"/>
                  </a:lnTo>
                  <a:lnTo>
                    <a:pt x="1946" y="1216"/>
                  </a:lnTo>
                  <a:lnTo>
                    <a:pt x="1956" y="1208"/>
                  </a:lnTo>
                  <a:lnTo>
                    <a:pt x="1971" y="1214"/>
                  </a:lnTo>
                  <a:lnTo>
                    <a:pt x="1994" y="1220"/>
                  </a:lnTo>
                  <a:lnTo>
                    <a:pt x="2004" y="1222"/>
                  </a:lnTo>
                  <a:lnTo>
                    <a:pt x="2004" y="1231"/>
                  </a:lnTo>
                  <a:lnTo>
                    <a:pt x="2013" y="1239"/>
                  </a:lnTo>
                  <a:lnTo>
                    <a:pt x="2025" y="1239"/>
                  </a:lnTo>
                  <a:lnTo>
                    <a:pt x="2038" y="1247"/>
                  </a:lnTo>
                  <a:lnTo>
                    <a:pt x="2048" y="1247"/>
                  </a:lnTo>
                  <a:lnTo>
                    <a:pt x="2059" y="1243"/>
                  </a:lnTo>
                  <a:lnTo>
                    <a:pt x="2073" y="1247"/>
                  </a:lnTo>
                  <a:lnTo>
                    <a:pt x="2088" y="1251"/>
                  </a:lnTo>
                  <a:lnTo>
                    <a:pt x="2109" y="1247"/>
                  </a:lnTo>
                  <a:lnTo>
                    <a:pt x="2117" y="1239"/>
                  </a:lnTo>
                  <a:lnTo>
                    <a:pt x="2140" y="1235"/>
                  </a:lnTo>
                  <a:lnTo>
                    <a:pt x="2169" y="1216"/>
                  </a:lnTo>
                  <a:lnTo>
                    <a:pt x="2186" y="1229"/>
                  </a:lnTo>
                  <a:lnTo>
                    <a:pt x="2200" y="1227"/>
                  </a:lnTo>
                  <a:lnTo>
                    <a:pt x="2217" y="1231"/>
                  </a:lnTo>
                  <a:lnTo>
                    <a:pt x="2230" y="1227"/>
                  </a:lnTo>
                  <a:lnTo>
                    <a:pt x="2246" y="1237"/>
                  </a:lnTo>
                  <a:lnTo>
                    <a:pt x="2257" y="1245"/>
                  </a:lnTo>
                  <a:lnTo>
                    <a:pt x="2273" y="1229"/>
                  </a:lnTo>
                  <a:lnTo>
                    <a:pt x="2278" y="1227"/>
                  </a:lnTo>
                  <a:lnTo>
                    <a:pt x="2286" y="1226"/>
                  </a:lnTo>
                  <a:lnTo>
                    <a:pt x="2290" y="1220"/>
                  </a:lnTo>
                  <a:lnTo>
                    <a:pt x="2290" y="1212"/>
                  </a:lnTo>
                  <a:lnTo>
                    <a:pt x="2297" y="1206"/>
                  </a:lnTo>
                  <a:lnTo>
                    <a:pt x="2301" y="1203"/>
                  </a:lnTo>
                  <a:lnTo>
                    <a:pt x="2309" y="1191"/>
                  </a:lnTo>
                  <a:lnTo>
                    <a:pt x="2319" y="1178"/>
                  </a:lnTo>
                  <a:lnTo>
                    <a:pt x="2315" y="1164"/>
                  </a:lnTo>
                  <a:lnTo>
                    <a:pt x="2320" y="1158"/>
                  </a:lnTo>
                  <a:lnTo>
                    <a:pt x="2322" y="1147"/>
                  </a:lnTo>
                  <a:lnTo>
                    <a:pt x="2320" y="1133"/>
                  </a:lnTo>
                  <a:lnTo>
                    <a:pt x="2313" y="1133"/>
                  </a:lnTo>
                  <a:lnTo>
                    <a:pt x="2315" y="1128"/>
                  </a:lnTo>
                  <a:lnTo>
                    <a:pt x="2319" y="1122"/>
                  </a:lnTo>
                  <a:lnTo>
                    <a:pt x="2338" y="1103"/>
                  </a:lnTo>
                  <a:lnTo>
                    <a:pt x="2347" y="1095"/>
                  </a:lnTo>
                  <a:lnTo>
                    <a:pt x="2361" y="1095"/>
                  </a:lnTo>
                  <a:lnTo>
                    <a:pt x="2374" y="1091"/>
                  </a:lnTo>
                  <a:lnTo>
                    <a:pt x="2382" y="1087"/>
                  </a:lnTo>
                  <a:lnTo>
                    <a:pt x="2397" y="1089"/>
                  </a:lnTo>
                  <a:lnTo>
                    <a:pt x="2407" y="1097"/>
                  </a:lnTo>
                  <a:lnTo>
                    <a:pt x="2426" y="1116"/>
                  </a:lnTo>
                  <a:lnTo>
                    <a:pt x="2443" y="1118"/>
                  </a:lnTo>
                  <a:lnTo>
                    <a:pt x="2457" y="1128"/>
                  </a:lnTo>
                  <a:lnTo>
                    <a:pt x="2464" y="1137"/>
                  </a:lnTo>
                  <a:lnTo>
                    <a:pt x="2472" y="1151"/>
                  </a:lnTo>
                  <a:lnTo>
                    <a:pt x="2472" y="1162"/>
                  </a:lnTo>
                  <a:lnTo>
                    <a:pt x="2476" y="1178"/>
                  </a:lnTo>
                  <a:lnTo>
                    <a:pt x="2487" y="1195"/>
                  </a:lnTo>
                  <a:lnTo>
                    <a:pt x="2495" y="1212"/>
                  </a:lnTo>
                  <a:lnTo>
                    <a:pt x="2503" y="1218"/>
                  </a:lnTo>
                  <a:lnTo>
                    <a:pt x="2514" y="1218"/>
                  </a:lnTo>
                  <a:lnTo>
                    <a:pt x="2524" y="1220"/>
                  </a:lnTo>
                  <a:lnTo>
                    <a:pt x="2539" y="1226"/>
                  </a:lnTo>
                  <a:lnTo>
                    <a:pt x="2547" y="1231"/>
                  </a:lnTo>
                  <a:lnTo>
                    <a:pt x="2551" y="1243"/>
                  </a:lnTo>
                  <a:lnTo>
                    <a:pt x="2557" y="1256"/>
                  </a:lnTo>
                  <a:lnTo>
                    <a:pt x="2566" y="1268"/>
                  </a:lnTo>
                  <a:lnTo>
                    <a:pt x="2572" y="1277"/>
                  </a:lnTo>
                  <a:lnTo>
                    <a:pt x="2568" y="1289"/>
                  </a:lnTo>
                  <a:lnTo>
                    <a:pt x="2576" y="1299"/>
                  </a:lnTo>
                  <a:lnTo>
                    <a:pt x="2585" y="1304"/>
                  </a:lnTo>
                  <a:lnTo>
                    <a:pt x="2597" y="1312"/>
                  </a:lnTo>
                  <a:lnTo>
                    <a:pt x="2605" y="1308"/>
                  </a:lnTo>
                  <a:lnTo>
                    <a:pt x="2614" y="1302"/>
                  </a:lnTo>
                  <a:lnTo>
                    <a:pt x="2624" y="1295"/>
                  </a:lnTo>
                  <a:lnTo>
                    <a:pt x="2631" y="1289"/>
                  </a:lnTo>
                  <a:lnTo>
                    <a:pt x="2641" y="1289"/>
                  </a:lnTo>
                  <a:lnTo>
                    <a:pt x="2651" y="1285"/>
                  </a:lnTo>
                  <a:lnTo>
                    <a:pt x="2656" y="1277"/>
                  </a:lnTo>
                  <a:lnTo>
                    <a:pt x="2672" y="1272"/>
                  </a:lnTo>
                  <a:lnTo>
                    <a:pt x="2664" y="1287"/>
                  </a:lnTo>
                  <a:lnTo>
                    <a:pt x="2664" y="1297"/>
                  </a:lnTo>
                  <a:lnTo>
                    <a:pt x="2670" y="1302"/>
                  </a:lnTo>
                  <a:lnTo>
                    <a:pt x="2668" y="1316"/>
                  </a:lnTo>
                  <a:lnTo>
                    <a:pt x="2662" y="1324"/>
                  </a:lnTo>
                  <a:lnTo>
                    <a:pt x="2662" y="1333"/>
                  </a:lnTo>
                  <a:lnTo>
                    <a:pt x="2660" y="1350"/>
                  </a:lnTo>
                  <a:lnTo>
                    <a:pt x="2653" y="1362"/>
                  </a:lnTo>
                  <a:lnTo>
                    <a:pt x="2643" y="1374"/>
                  </a:lnTo>
                  <a:lnTo>
                    <a:pt x="2635" y="1377"/>
                  </a:lnTo>
                  <a:lnTo>
                    <a:pt x="2631" y="1387"/>
                  </a:lnTo>
                  <a:lnTo>
                    <a:pt x="2622" y="1393"/>
                  </a:lnTo>
                  <a:lnTo>
                    <a:pt x="2616" y="1400"/>
                  </a:lnTo>
                  <a:lnTo>
                    <a:pt x="2610" y="1397"/>
                  </a:lnTo>
                  <a:lnTo>
                    <a:pt x="2610" y="1406"/>
                  </a:lnTo>
                  <a:lnTo>
                    <a:pt x="2612" y="1420"/>
                  </a:lnTo>
                  <a:lnTo>
                    <a:pt x="2601" y="1420"/>
                  </a:lnTo>
                  <a:lnTo>
                    <a:pt x="2599" y="1414"/>
                  </a:lnTo>
                  <a:lnTo>
                    <a:pt x="2603" y="1406"/>
                  </a:lnTo>
                  <a:lnTo>
                    <a:pt x="2605" y="1400"/>
                  </a:lnTo>
                  <a:lnTo>
                    <a:pt x="2603" y="1399"/>
                  </a:lnTo>
                  <a:lnTo>
                    <a:pt x="2603" y="1397"/>
                  </a:lnTo>
                  <a:lnTo>
                    <a:pt x="2601" y="1397"/>
                  </a:lnTo>
                  <a:lnTo>
                    <a:pt x="2595" y="1400"/>
                  </a:lnTo>
                  <a:lnTo>
                    <a:pt x="2585" y="1406"/>
                  </a:lnTo>
                  <a:lnTo>
                    <a:pt x="2585" y="1418"/>
                  </a:lnTo>
                  <a:lnTo>
                    <a:pt x="2582" y="1429"/>
                  </a:lnTo>
                  <a:lnTo>
                    <a:pt x="2583" y="1448"/>
                  </a:lnTo>
                  <a:lnTo>
                    <a:pt x="2583" y="1460"/>
                  </a:lnTo>
                  <a:lnTo>
                    <a:pt x="2576" y="1464"/>
                  </a:lnTo>
                  <a:lnTo>
                    <a:pt x="2578" y="1473"/>
                  </a:lnTo>
                  <a:lnTo>
                    <a:pt x="2572" y="1479"/>
                  </a:lnTo>
                  <a:lnTo>
                    <a:pt x="2576" y="1483"/>
                  </a:lnTo>
                  <a:lnTo>
                    <a:pt x="2593" y="1470"/>
                  </a:lnTo>
                  <a:lnTo>
                    <a:pt x="2593" y="1466"/>
                  </a:lnTo>
                  <a:lnTo>
                    <a:pt x="2595" y="1460"/>
                  </a:lnTo>
                  <a:lnTo>
                    <a:pt x="2595" y="1458"/>
                  </a:lnTo>
                  <a:lnTo>
                    <a:pt x="2620" y="1458"/>
                  </a:lnTo>
                  <a:lnTo>
                    <a:pt x="2618" y="1462"/>
                  </a:lnTo>
                  <a:lnTo>
                    <a:pt x="2616" y="1470"/>
                  </a:lnTo>
                  <a:lnTo>
                    <a:pt x="2616" y="1477"/>
                  </a:lnTo>
                  <a:lnTo>
                    <a:pt x="2630" y="1485"/>
                  </a:lnTo>
                  <a:lnTo>
                    <a:pt x="2643" y="1489"/>
                  </a:lnTo>
                  <a:lnTo>
                    <a:pt x="2658" y="1485"/>
                  </a:lnTo>
                  <a:lnTo>
                    <a:pt x="2658" y="1477"/>
                  </a:lnTo>
                  <a:lnTo>
                    <a:pt x="2670" y="1466"/>
                  </a:lnTo>
                  <a:lnTo>
                    <a:pt x="2676" y="1456"/>
                  </a:lnTo>
                  <a:lnTo>
                    <a:pt x="2679" y="1450"/>
                  </a:lnTo>
                  <a:lnTo>
                    <a:pt x="2687" y="1450"/>
                  </a:lnTo>
                  <a:lnTo>
                    <a:pt x="2691" y="1443"/>
                  </a:lnTo>
                  <a:lnTo>
                    <a:pt x="2695" y="1427"/>
                  </a:lnTo>
                  <a:lnTo>
                    <a:pt x="2702" y="1424"/>
                  </a:lnTo>
                  <a:lnTo>
                    <a:pt x="2714" y="1416"/>
                  </a:lnTo>
                  <a:lnTo>
                    <a:pt x="2718" y="1408"/>
                  </a:lnTo>
                  <a:lnTo>
                    <a:pt x="2720" y="1399"/>
                  </a:lnTo>
                  <a:lnTo>
                    <a:pt x="2722" y="1393"/>
                  </a:lnTo>
                  <a:lnTo>
                    <a:pt x="2731" y="1383"/>
                  </a:lnTo>
                  <a:lnTo>
                    <a:pt x="2745" y="1375"/>
                  </a:lnTo>
                  <a:lnTo>
                    <a:pt x="2752" y="1366"/>
                  </a:lnTo>
                  <a:lnTo>
                    <a:pt x="2758" y="1350"/>
                  </a:lnTo>
                  <a:lnTo>
                    <a:pt x="2762" y="1333"/>
                  </a:lnTo>
                  <a:lnTo>
                    <a:pt x="2768" y="1320"/>
                  </a:lnTo>
                  <a:lnTo>
                    <a:pt x="2772" y="1318"/>
                  </a:lnTo>
                  <a:lnTo>
                    <a:pt x="2777" y="1316"/>
                  </a:lnTo>
                  <a:lnTo>
                    <a:pt x="2781" y="1316"/>
                  </a:lnTo>
                  <a:lnTo>
                    <a:pt x="2781" y="1302"/>
                  </a:lnTo>
                  <a:lnTo>
                    <a:pt x="2785" y="1297"/>
                  </a:lnTo>
                  <a:lnTo>
                    <a:pt x="2791" y="1291"/>
                  </a:lnTo>
                  <a:lnTo>
                    <a:pt x="2800" y="1283"/>
                  </a:lnTo>
                  <a:lnTo>
                    <a:pt x="2808" y="1277"/>
                  </a:lnTo>
                  <a:lnTo>
                    <a:pt x="2808" y="1272"/>
                  </a:lnTo>
                  <a:lnTo>
                    <a:pt x="2806" y="1266"/>
                  </a:lnTo>
                  <a:lnTo>
                    <a:pt x="2808" y="1262"/>
                  </a:lnTo>
                  <a:lnTo>
                    <a:pt x="2814" y="1262"/>
                  </a:lnTo>
                  <a:lnTo>
                    <a:pt x="2808" y="1251"/>
                  </a:lnTo>
                  <a:lnTo>
                    <a:pt x="2810" y="1245"/>
                  </a:lnTo>
                  <a:lnTo>
                    <a:pt x="2816" y="1237"/>
                  </a:lnTo>
                  <a:lnTo>
                    <a:pt x="2820" y="1231"/>
                  </a:lnTo>
                  <a:lnTo>
                    <a:pt x="2816" y="1222"/>
                  </a:lnTo>
                  <a:lnTo>
                    <a:pt x="2812" y="1210"/>
                  </a:lnTo>
                  <a:lnTo>
                    <a:pt x="2812" y="1201"/>
                  </a:lnTo>
                  <a:lnTo>
                    <a:pt x="2816" y="1193"/>
                  </a:lnTo>
                  <a:lnTo>
                    <a:pt x="2820" y="1189"/>
                  </a:lnTo>
                  <a:lnTo>
                    <a:pt x="2814" y="1178"/>
                  </a:lnTo>
                  <a:lnTo>
                    <a:pt x="2818" y="1176"/>
                  </a:lnTo>
                  <a:lnTo>
                    <a:pt x="2823" y="1172"/>
                  </a:lnTo>
                  <a:lnTo>
                    <a:pt x="2827" y="1170"/>
                  </a:lnTo>
                  <a:lnTo>
                    <a:pt x="2831" y="1154"/>
                  </a:lnTo>
                  <a:lnTo>
                    <a:pt x="2829" y="1141"/>
                  </a:lnTo>
                  <a:lnTo>
                    <a:pt x="2827" y="1124"/>
                  </a:lnTo>
                  <a:lnTo>
                    <a:pt x="2846" y="1124"/>
                  </a:lnTo>
                  <a:lnTo>
                    <a:pt x="2846" y="1120"/>
                  </a:lnTo>
                  <a:lnTo>
                    <a:pt x="2835" y="1116"/>
                  </a:lnTo>
                  <a:lnTo>
                    <a:pt x="2831" y="1116"/>
                  </a:lnTo>
                  <a:lnTo>
                    <a:pt x="2831" y="1108"/>
                  </a:lnTo>
                  <a:lnTo>
                    <a:pt x="2827" y="1108"/>
                  </a:lnTo>
                  <a:lnTo>
                    <a:pt x="2825" y="1112"/>
                  </a:lnTo>
                  <a:lnTo>
                    <a:pt x="2821" y="1112"/>
                  </a:lnTo>
                  <a:lnTo>
                    <a:pt x="2812" y="1101"/>
                  </a:lnTo>
                  <a:lnTo>
                    <a:pt x="2804" y="1087"/>
                  </a:lnTo>
                  <a:lnTo>
                    <a:pt x="2793" y="1078"/>
                  </a:lnTo>
                  <a:lnTo>
                    <a:pt x="2768" y="1076"/>
                  </a:lnTo>
                  <a:lnTo>
                    <a:pt x="2766" y="1085"/>
                  </a:lnTo>
                  <a:lnTo>
                    <a:pt x="2768" y="1093"/>
                  </a:lnTo>
                  <a:lnTo>
                    <a:pt x="2760" y="1093"/>
                  </a:lnTo>
                  <a:lnTo>
                    <a:pt x="2762" y="1089"/>
                  </a:lnTo>
                  <a:lnTo>
                    <a:pt x="2758" y="1089"/>
                  </a:lnTo>
                  <a:lnTo>
                    <a:pt x="2750" y="1101"/>
                  </a:lnTo>
                  <a:lnTo>
                    <a:pt x="2747" y="1105"/>
                  </a:lnTo>
                  <a:lnTo>
                    <a:pt x="2739" y="1103"/>
                  </a:lnTo>
                  <a:lnTo>
                    <a:pt x="2737" y="1099"/>
                  </a:lnTo>
                  <a:lnTo>
                    <a:pt x="2741" y="1097"/>
                  </a:lnTo>
                  <a:lnTo>
                    <a:pt x="2743" y="1095"/>
                  </a:lnTo>
                  <a:lnTo>
                    <a:pt x="2745" y="1089"/>
                  </a:lnTo>
                  <a:lnTo>
                    <a:pt x="2747" y="1085"/>
                  </a:lnTo>
                  <a:lnTo>
                    <a:pt x="2741" y="1083"/>
                  </a:lnTo>
                  <a:lnTo>
                    <a:pt x="2739" y="1080"/>
                  </a:lnTo>
                  <a:lnTo>
                    <a:pt x="2733" y="1078"/>
                  </a:lnTo>
                  <a:lnTo>
                    <a:pt x="2733" y="1085"/>
                  </a:lnTo>
                  <a:lnTo>
                    <a:pt x="2731" y="1085"/>
                  </a:lnTo>
                  <a:lnTo>
                    <a:pt x="2729" y="1089"/>
                  </a:lnTo>
                  <a:lnTo>
                    <a:pt x="2731" y="1093"/>
                  </a:lnTo>
                  <a:lnTo>
                    <a:pt x="2722" y="1093"/>
                  </a:lnTo>
                  <a:lnTo>
                    <a:pt x="2722" y="1055"/>
                  </a:lnTo>
                  <a:lnTo>
                    <a:pt x="2685" y="1055"/>
                  </a:lnTo>
                  <a:lnTo>
                    <a:pt x="2687" y="1049"/>
                  </a:lnTo>
                  <a:lnTo>
                    <a:pt x="2689" y="1041"/>
                  </a:lnTo>
                  <a:lnTo>
                    <a:pt x="2691" y="1035"/>
                  </a:lnTo>
                  <a:lnTo>
                    <a:pt x="2739" y="991"/>
                  </a:lnTo>
                  <a:lnTo>
                    <a:pt x="2747" y="991"/>
                  </a:lnTo>
                  <a:lnTo>
                    <a:pt x="2747" y="987"/>
                  </a:lnTo>
                  <a:lnTo>
                    <a:pt x="2745" y="982"/>
                  </a:lnTo>
                  <a:lnTo>
                    <a:pt x="2747" y="978"/>
                  </a:lnTo>
                  <a:lnTo>
                    <a:pt x="2749" y="976"/>
                  </a:lnTo>
                  <a:lnTo>
                    <a:pt x="2754" y="976"/>
                  </a:lnTo>
                  <a:lnTo>
                    <a:pt x="2758" y="974"/>
                  </a:lnTo>
                  <a:lnTo>
                    <a:pt x="2762" y="962"/>
                  </a:lnTo>
                  <a:lnTo>
                    <a:pt x="2766" y="943"/>
                  </a:lnTo>
                  <a:lnTo>
                    <a:pt x="2770" y="947"/>
                  </a:lnTo>
                  <a:lnTo>
                    <a:pt x="2773" y="947"/>
                  </a:lnTo>
                  <a:lnTo>
                    <a:pt x="2777" y="943"/>
                  </a:lnTo>
                  <a:lnTo>
                    <a:pt x="2785" y="932"/>
                  </a:lnTo>
                  <a:lnTo>
                    <a:pt x="2808" y="920"/>
                  </a:lnTo>
                  <a:lnTo>
                    <a:pt x="2808" y="916"/>
                  </a:lnTo>
                  <a:lnTo>
                    <a:pt x="2806" y="912"/>
                  </a:lnTo>
                  <a:lnTo>
                    <a:pt x="2808" y="908"/>
                  </a:lnTo>
                  <a:lnTo>
                    <a:pt x="2821" y="908"/>
                  </a:lnTo>
                  <a:lnTo>
                    <a:pt x="2825" y="901"/>
                  </a:lnTo>
                  <a:lnTo>
                    <a:pt x="2825" y="893"/>
                  </a:lnTo>
                  <a:lnTo>
                    <a:pt x="2827" y="885"/>
                  </a:lnTo>
                  <a:lnTo>
                    <a:pt x="2835" y="874"/>
                  </a:lnTo>
                  <a:lnTo>
                    <a:pt x="2852" y="857"/>
                  </a:lnTo>
                  <a:lnTo>
                    <a:pt x="2864" y="847"/>
                  </a:lnTo>
                  <a:lnTo>
                    <a:pt x="2864" y="843"/>
                  </a:lnTo>
                  <a:lnTo>
                    <a:pt x="2867" y="843"/>
                  </a:lnTo>
                  <a:lnTo>
                    <a:pt x="2873" y="845"/>
                  </a:lnTo>
                  <a:lnTo>
                    <a:pt x="2875" y="843"/>
                  </a:lnTo>
                  <a:lnTo>
                    <a:pt x="2875" y="832"/>
                  </a:lnTo>
                  <a:lnTo>
                    <a:pt x="2883" y="834"/>
                  </a:lnTo>
                  <a:lnTo>
                    <a:pt x="2889" y="839"/>
                  </a:lnTo>
                  <a:lnTo>
                    <a:pt x="2891" y="843"/>
                  </a:lnTo>
                  <a:lnTo>
                    <a:pt x="2910" y="845"/>
                  </a:lnTo>
                  <a:lnTo>
                    <a:pt x="2937" y="843"/>
                  </a:lnTo>
                  <a:lnTo>
                    <a:pt x="2958" y="843"/>
                  </a:lnTo>
                  <a:lnTo>
                    <a:pt x="2954" y="849"/>
                  </a:lnTo>
                  <a:lnTo>
                    <a:pt x="2956" y="855"/>
                  </a:lnTo>
                  <a:lnTo>
                    <a:pt x="2958" y="859"/>
                  </a:lnTo>
                  <a:lnTo>
                    <a:pt x="2960" y="857"/>
                  </a:lnTo>
                  <a:lnTo>
                    <a:pt x="2965" y="857"/>
                  </a:lnTo>
                  <a:lnTo>
                    <a:pt x="2967" y="855"/>
                  </a:lnTo>
                  <a:lnTo>
                    <a:pt x="2971" y="847"/>
                  </a:lnTo>
                  <a:lnTo>
                    <a:pt x="2971" y="843"/>
                  </a:lnTo>
                  <a:lnTo>
                    <a:pt x="2983" y="853"/>
                  </a:lnTo>
                  <a:lnTo>
                    <a:pt x="2986" y="855"/>
                  </a:lnTo>
                  <a:lnTo>
                    <a:pt x="2998" y="855"/>
                  </a:lnTo>
                  <a:lnTo>
                    <a:pt x="3011" y="853"/>
                  </a:lnTo>
                  <a:lnTo>
                    <a:pt x="3019" y="851"/>
                  </a:lnTo>
                  <a:lnTo>
                    <a:pt x="3025" y="859"/>
                  </a:lnTo>
                  <a:lnTo>
                    <a:pt x="3033" y="859"/>
                  </a:lnTo>
                  <a:lnTo>
                    <a:pt x="3033" y="832"/>
                  </a:lnTo>
                  <a:lnTo>
                    <a:pt x="3050" y="835"/>
                  </a:lnTo>
                  <a:lnTo>
                    <a:pt x="3075" y="835"/>
                  </a:lnTo>
                  <a:lnTo>
                    <a:pt x="3077" y="839"/>
                  </a:lnTo>
                  <a:lnTo>
                    <a:pt x="3077" y="843"/>
                  </a:lnTo>
                  <a:lnTo>
                    <a:pt x="3082" y="843"/>
                  </a:lnTo>
                  <a:lnTo>
                    <a:pt x="3082" y="835"/>
                  </a:lnTo>
                  <a:lnTo>
                    <a:pt x="3090" y="835"/>
                  </a:lnTo>
                  <a:lnTo>
                    <a:pt x="3098" y="832"/>
                  </a:lnTo>
                  <a:lnTo>
                    <a:pt x="3102" y="839"/>
                  </a:lnTo>
                  <a:lnTo>
                    <a:pt x="3105" y="851"/>
                  </a:lnTo>
                  <a:lnTo>
                    <a:pt x="3113" y="851"/>
                  </a:lnTo>
                  <a:lnTo>
                    <a:pt x="3113" y="859"/>
                  </a:lnTo>
                  <a:lnTo>
                    <a:pt x="3086" y="859"/>
                  </a:lnTo>
                  <a:lnTo>
                    <a:pt x="3090" y="874"/>
                  </a:lnTo>
                  <a:lnTo>
                    <a:pt x="3090" y="878"/>
                  </a:lnTo>
                  <a:lnTo>
                    <a:pt x="3117" y="878"/>
                  </a:lnTo>
                  <a:lnTo>
                    <a:pt x="3117" y="874"/>
                  </a:lnTo>
                  <a:lnTo>
                    <a:pt x="3121" y="866"/>
                  </a:lnTo>
                  <a:lnTo>
                    <a:pt x="3125" y="868"/>
                  </a:lnTo>
                  <a:lnTo>
                    <a:pt x="3129" y="872"/>
                  </a:lnTo>
                  <a:lnTo>
                    <a:pt x="3132" y="874"/>
                  </a:lnTo>
                  <a:lnTo>
                    <a:pt x="3134" y="870"/>
                  </a:lnTo>
                  <a:lnTo>
                    <a:pt x="3132" y="866"/>
                  </a:lnTo>
                  <a:lnTo>
                    <a:pt x="3132" y="862"/>
                  </a:lnTo>
                  <a:lnTo>
                    <a:pt x="3140" y="862"/>
                  </a:lnTo>
                  <a:lnTo>
                    <a:pt x="3144" y="851"/>
                  </a:lnTo>
                  <a:lnTo>
                    <a:pt x="3178" y="851"/>
                  </a:lnTo>
                  <a:lnTo>
                    <a:pt x="3178" y="849"/>
                  </a:lnTo>
                  <a:lnTo>
                    <a:pt x="3184" y="847"/>
                  </a:lnTo>
                  <a:lnTo>
                    <a:pt x="3186" y="847"/>
                  </a:lnTo>
                  <a:lnTo>
                    <a:pt x="3182" y="835"/>
                  </a:lnTo>
                  <a:lnTo>
                    <a:pt x="3167" y="835"/>
                  </a:lnTo>
                  <a:lnTo>
                    <a:pt x="3167" y="839"/>
                  </a:lnTo>
                  <a:lnTo>
                    <a:pt x="3159" y="839"/>
                  </a:lnTo>
                  <a:lnTo>
                    <a:pt x="3161" y="822"/>
                  </a:lnTo>
                  <a:lnTo>
                    <a:pt x="3159" y="812"/>
                  </a:lnTo>
                  <a:lnTo>
                    <a:pt x="3163" y="814"/>
                  </a:lnTo>
                  <a:lnTo>
                    <a:pt x="3165" y="816"/>
                  </a:lnTo>
                  <a:lnTo>
                    <a:pt x="3167" y="816"/>
                  </a:lnTo>
                  <a:lnTo>
                    <a:pt x="3169" y="810"/>
                  </a:lnTo>
                  <a:lnTo>
                    <a:pt x="3169" y="803"/>
                  </a:lnTo>
                  <a:lnTo>
                    <a:pt x="3171" y="797"/>
                  </a:lnTo>
                  <a:lnTo>
                    <a:pt x="3198" y="785"/>
                  </a:lnTo>
                  <a:lnTo>
                    <a:pt x="3211" y="778"/>
                  </a:lnTo>
                  <a:lnTo>
                    <a:pt x="3211" y="766"/>
                  </a:lnTo>
                  <a:lnTo>
                    <a:pt x="3213" y="766"/>
                  </a:lnTo>
                  <a:lnTo>
                    <a:pt x="3219" y="762"/>
                  </a:lnTo>
                  <a:lnTo>
                    <a:pt x="3224" y="755"/>
                  </a:lnTo>
                  <a:lnTo>
                    <a:pt x="3224" y="751"/>
                  </a:lnTo>
                  <a:lnTo>
                    <a:pt x="3238" y="747"/>
                  </a:lnTo>
                  <a:lnTo>
                    <a:pt x="3249" y="745"/>
                  </a:lnTo>
                  <a:lnTo>
                    <a:pt x="3265" y="743"/>
                  </a:lnTo>
                  <a:lnTo>
                    <a:pt x="3271" y="741"/>
                  </a:lnTo>
                  <a:lnTo>
                    <a:pt x="3278" y="737"/>
                  </a:lnTo>
                  <a:lnTo>
                    <a:pt x="3286" y="736"/>
                  </a:lnTo>
                  <a:lnTo>
                    <a:pt x="3292" y="747"/>
                  </a:lnTo>
                  <a:lnTo>
                    <a:pt x="3294" y="749"/>
                  </a:lnTo>
                  <a:lnTo>
                    <a:pt x="3299" y="751"/>
                  </a:lnTo>
                  <a:lnTo>
                    <a:pt x="3301" y="751"/>
                  </a:lnTo>
                  <a:lnTo>
                    <a:pt x="3301" y="747"/>
                  </a:lnTo>
                  <a:lnTo>
                    <a:pt x="3313" y="743"/>
                  </a:lnTo>
                  <a:lnTo>
                    <a:pt x="3317" y="739"/>
                  </a:lnTo>
                  <a:lnTo>
                    <a:pt x="3309" y="762"/>
                  </a:lnTo>
                  <a:lnTo>
                    <a:pt x="3301" y="770"/>
                  </a:lnTo>
                  <a:lnTo>
                    <a:pt x="3301" y="772"/>
                  </a:lnTo>
                  <a:lnTo>
                    <a:pt x="3305" y="774"/>
                  </a:lnTo>
                  <a:lnTo>
                    <a:pt x="3305" y="778"/>
                  </a:lnTo>
                  <a:lnTo>
                    <a:pt x="3315" y="774"/>
                  </a:lnTo>
                  <a:lnTo>
                    <a:pt x="3317" y="774"/>
                  </a:lnTo>
                  <a:lnTo>
                    <a:pt x="3315" y="778"/>
                  </a:lnTo>
                  <a:lnTo>
                    <a:pt x="3315" y="787"/>
                  </a:lnTo>
                  <a:lnTo>
                    <a:pt x="3313" y="793"/>
                  </a:lnTo>
                  <a:lnTo>
                    <a:pt x="3324" y="782"/>
                  </a:lnTo>
                  <a:lnTo>
                    <a:pt x="3338" y="770"/>
                  </a:lnTo>
                  <a:lnTo>
                    <a:pt x="3349" y="757"/>
                  </a:lnTo>
                  <a:lnTo>
                    <a:pt x="3359" y="747"/>
                  </a:lnTo>
                  <a:lnTo>
                    <a:pt x="3374" y="745"/>
                  </a:lnTo>
                  <a:lnTo>
                    <a:pt x="3382" y="749"/>
                  </a:lnTo>
                  <a:lnTo>
                    <a:pt x="3382" y="751"/>
                  </a:lnTo>
                  <a:lnTo>
                    <a:pt x="3390" y="747"/>
                  </a:lnTo>
                  <a:lnTo>
                    <a:pt x="3395" y="747"/>
                  </a:lnTo>
                  <a:lnTo>
                    <a:pt x="3391" y="741"/>
                  </a:lnTo>
                  <a:lnTo>
                    <a:pt x="3390" y="734"/>
                  </a:lnTo>
                  <a:lnTo>
                    <a:pt x="3390" y="730"/>
                  </a:lnTo>
                  <a:lnTo>
                    <a:pt x="3388" y="730"/>
                  </a:lnTo>
                  <a:lnTo>
                    <a:pt x="3388" y="724"/>
                  </a:lnTo>
                  <a:lnTo>
                    <a:pt x="3386" y="720"/>
                  </a:lnTo>
                  <a:lnTo>
                    <a:pt x="3407" y="705"/>
                  </a:lnTo>
                  <a:lnTo>
                    <a:pt x="3416" y="705"/>
                  </a:lnTo>
                  <a:lnTo>
                    <a:pt x="3441" y="712"/>
                  </a:lnTo>
                  <a:lnTo>
                    <a:pt x="3441" y="716"/>
                  </a:lnTo>
                  <a:lnTo>
                    <a:pt x="3430" y="716"/>
                  </a:lnTo>
                  <a:lnTo>
                    <a:pt x="3430" y="714"/>
                  </a:lnTo>
                  <a:lnTo>
                    <a:pt x="3422" y="714"/>
                  </a:lnTo>
                  <a:lnTo>
                    <a:pt x="3416" y="712"/>
                  </a:lnTo>
                  <a:lnTo>
                    <a:pt x="3416" y="716"/>
                  </a:lnTo>
                  <a:lnTo>
                    <a:pt x="3413" y="720"/>
                  </a:lnTo>
                  <a:lnTo>
                    <a:pt x="3409" y="720"/>
                  </a:lnTo>
                  <a:lnTo>
                    <a:pt x="3409" y="736"/>
                  </a:lnTo>
                  <a:lnTo>
                    <a:pt x="3405" y="759"/>
                  </a:lnTo>
                  <a:lnTo>
                    <a:pt x="3397" y="782"/>
                  </a:lnTo>
                  <a:lnTo>
                    <a:pt x="3380" y="785"/>
                  </a:lnTo>
                  <a:lnTo>
                    <a:pt x="3351" y="789"/>
                  </a:lnTo>
                  <a:lnTo>
                    <a:pt x="3353" y="795"/>
                  </a:lnTo>
                  <a:lnTo>
                    <a:pt x="3353" y="801"/>
                  </a:lnTo>
                  <a:lnTo>
                    <a:pt x="3351" y="809"/>
                  </a:lnTo>
                  <a:lnTo>
                    <a:pt x="3349" y="810"/>
                  </a:lnTo>
                  <a:lnTo>
                    <a:pt x="3343" y="812"/>
                  </a:lnTo>
                  <a:lnTo>
                    <a:pt x="3340" y="812"/>
                  </a:lnTo>
                  <a:lnTo>
                    <a:pt x="3340" y="824"/>
                  </a:lnTo>
                  <a:lnTo>
                    <a:pt x="3332" y="832"/>
                  </a:lnTo>
                  <a:lnTo>
                    <a:pt x="3317" y="843"/>
                  </a:lnTo>
                  <a:lnTo>
                    <a:pt x="3305" y="851"/>
                  </a:lnTo>
                  <a:lnTo>
                    <a:pt x="3294" y="868"/>
                  </a:lnTo>
                  <a:lnTo>
                    <a:pt x="3284" y="884"/>
                  </a:lnTo>
                  <a:lnTo>
                    <a:pt x="3269" y="897"/>
                  </a:lnTo>
                  <a:lnTo>
                    <a:pt x="3269" y="901"/>
                  </a:lnTo>
                  <a:lnTo>
                    <a:pt x="3263" y="901"/>
                  </a:lnTo>
                  <a:lnTo>
                    <a:pt x="3259" y="899"/>
                  </a:lnTo>
                  <a:lnTo>
                    <a:pt x="3257" y="897"/>
                  </a:lnTo>
                  <a:lnTo>
                    <a:pt x="3253" y="901"/>
                  </a:lnTo>
                  <a:lnTo>
                    <a:pt x="3249" y="908"/>
                  </a:lnTo>
                  <a:lnTo>
                    <a:pt x="3224" y="908"/>
                  </a:lnTo>
                  <a:lnTo>
                    <a:pt x="3226" y="914"/>
                  </a:lnTo>
                  <a:lnTo>
                    <a:pt x="3228" y="914"/>
                  </a:lnTo>
                  <a:lnTo>
                    <a:pt x="3232" y="916"/>
                  </a:lnTo>
                  <a:lnTo>
                    <a:pt x="3230" y="930"/>
                  </a:lnTo>
                  <a:lnTo>
                    <a:pt x="3226" y="941"/>
                  </a:lnTo>
                  <a:lnTo>
                    <a:pt x="3217" y="947"/>
                  </a:lnTo>
                  <a:lnTo>
                    <a:pt x="3213" y="949"/>
                  </a:lnTo>
                  <a:lnTo>
                    <a:pt x="3209" y="949"/>
                  </a:lnTo>
                  <a:lnTo>
                    <a:pt x="3205" y="951"/>
                  </a:lnTo>
                  <a:lnTo>
                    <a:pt x="3198" y="1022"/>
                  </a:lnTo>
                  <a:lnTo>
                    <a:pt x="3211" y="1110"/>
                  </a:lnTo>
                  <a:lnTo>
                    <a:pt x="3224" y="1185"/>
                  </a:lnTo>
                  <a:lnTo>
                    <a:pt x="3240" y="1176"/>
                  </a:lnTo>
                  <a:lnTo>
                    <a:pt x="3257" y="1162"/>
                  </a:lnTo>
                  <a:lnTo>
                    <a:pt x="3269" y="1151"/>
                  </a:lnTo>
                  <a:lnTo>
                    <a:pt x="3271" y="1126"/>
                  </a:lnTo>
                  <a:lnTo>
                    <a:pt x="3272" y="1116"/>
                  </a:lnTo>
                  <a:lnTo>
                    <a:pt x="3297" y="1108"/>
                  </a:lnTo>
                  <a:lnTo>
                    <a:pt x="3296" y="1091"/>
                  </a:lnTo>
                  <a:lnTo>
                    <a:pt x="3297" y="1078"/>
                  </a:lnTo>
                  <a:lnTo>
                    <a:pt x="3305" y="1066"/>
                  </a:lnTo>
                  <a:lnTo>
                    <a:pt x="3313" y="1062"/>
                  </a:lnTo>
                  <a:lnTo>
                    <a:pt x="3313" y="1055"/>
                  </a:lnTo>
                  <a:lnTo>
                    <a:pt x="3328" y="1049"/>
                  </a:lnTo>
                  <a:lnTo>
                    <a:pt x="3336" y="1053"/>
                  </a:lnTo>
                  <a:lnTo>
                    <a:pt x="3343" y="1055"/>
                  </a:lnTo>
                  <a:lnTo>
                    <a:pt x="3347" y="1051"/>
                  </a:lnTo>
                  <a:lnTo>
                    <a:pt x="3355" y="1045"/>
                  </a:lnTo>
                  <a:lnTo>
                    <a:pt x="3359" y="1039"/>
                  </a:lnTo>
                  <a:lnTo>
                    <a:pt x="3345" y="1008"/>
                  </a:lnTo>
                  <a:lnTo>
                    <a:pt x="3353" y="982"/>
                  </a:lnTo>
                  <a:lnTo>
                    <a:pt x="3386" y="974"/>
                  </a:lnTo>
                  <a:lnTo>
                    <a:pt x="3386" y="958"/>
                  </a:lnTo>
                  <a:lnTo>
                    <a:pt x="3382" y="958"/>
                  </a:lnTo>
                  <a:lnTo>
                    <a:pt x="3370" y="962"/>
                  </a:lnTo>
                  <a:lnTo>
                    <a:pt x="3367" y="953"/>
                  </a:lnTo>
                  <a:lnTo>
                    <a:pt x="3365" y="945"/>
                  </a:lnTo>
                  <a:lnTo>
                    <a:pt x="3363" y="935"/>
                  </a:lnTo>
                  <a:lnTo>
                    <a:pt x="3367" y="935"/>
                  </a:lnTo>
                  <a:lnTo>
                    <a:pt x="3370" y="924"/>
                  </a:lnTo>
                  <a:lnTo>
                    <a:pt x="3378" y="924"/>
                  </a:lnTo>
                  <a:lnTo>
                    <a:pt x="3380" y="920"/>
                  </a:lnTo>
                  <a:lnTo>
                    <a:pt x="3378" y="916"/>
                  </a:lnTo>
                  <a:lnTo>
                    <a:pt x="3378" y="912"/>
                  </a:lnTo>
                  <a:lnTo>
                    <a:pt x="3382" y="912"/>
                  </a:lnTo>
                  <a:lnTo>
                    <a:pt x="3382" y="905"/>
                  </a:lnTo>
                  <a:lnTo>
                    <a:pt x="3370" y="905"/>
                  </a:lnTo>
                  <a:lnTo>
                    <a:pt x="3367" y="903"/>
                  </a:lnTo>
                  <a:lnTo>
                    <a:pt x="3361" y="903"/>
                  </a:lnTo>
                  <a:lnTo>
                    <a:pt x="3355" y="901"/>
                  </a:lnTo>
                  <a:lnTo>
                    <a:pt x="3355" y="874"/>
                  </a:lnTo>
                  <a:lnTo>
                    <a:pt x="3363" y="868"/>
                  </a:lnTo>
                  <a:lnTo>
                    <a:pt x="3376" y="857"/>
                  </a:lnTo>
                  <a:lnTo>
                    <a:pt x="3382" y="851"/>
                  </a:lnTo>
                  <a:lnTo>
                    <a:pt x="3384" y="847"/>
                  </a:lnTo>
                  <a:lnTo>
                    <a:pt x="3382" y="843"/>
                  </a:lnTo>
                  <a:lnTo>
                    <a:pt x="3382" y="839"/>
                  </a:lnTo>
                  <a:lnTo>
                    <a:pt x="3390" y="839"/>
                  </a:lnTo>
                  <a:lnTo>
                    <a:pt x="3390" y="834"/>
                  </a:lnTo>
                  <a:lnTo>
                    <a:pt x="3388" y="832"/>
                  </a:lnTo>
                  <a:lnTo>
                    <a:pt x="3386" y="828"/>
                  </a:lnTo>
                  <a:lnTo>
                    <a:pt x="3391" y="822"/>
                  </a:lnTo>
                  <a:lnTo>
                    <a:pt x="3395" y="816"/>
                  </a:lnTo>
                  <a:lnTo>
                    <a:pt x="3432" y="820"/>
                  </a:lnTo>
                  <a:lnTo>
                    <a:pt x="3434" y="818"/>
                  </a:lnTo>
                  <a:lnTo>
                    <a:pt x="3432" y="812"/>
                  </a:lnTo>
                  <a:lnTo>
                    <a:pt x="3432" y="809"/>
                  </a:lnTo>
                  <a:lnTo>
                    <a:pt x="3451" y="799"/>
                  </a:lnTo>
                  <a:lnTo>
                    <a:pt x="3459" y="793"/>
                  </a:lnTo>
                  <a:lnTo>
                    <a:pt x="3457" y="805"/>
                  </a:lnTo>
                  <a:lnTo>
                    <a:pt x="3455" y="818"/>
                  </a:lnTo>
                  <a:lnTo>
                    <a:pt x="3462" y="824"/>
                  </a:lnTo>
                  <a:lnTo>
                    <a:pt x="3466" y="820"/>
                  </a:lnTo>
                  <a:lnTo>
                    <a:pt x="3470" y="820"/>
                  </a:lnTo>
                  <a:lnTo>
                    <a:pt x="3476" y="812"/>
                  </a:lnTo>
                  <a:lnTo>
                    <a:pt x="3480" y="801"/>
                  </a:lnTo>
                  <a:lnTo>
                    <a:pt x="3486" y="793"/>
                  </a:lnTo>
                  <a:lnTo>
                    <a:pt x="3505" y="785"/>
                  </a:lnTo>
                  <a:lnTo>
                    <a:pt x="3522" y="787"/>
                  </a:lnTo>
                  <a:lnTo>
                    <a:pt x="3539" y="797"/>
                  </a:lnTo>
                  <a:lnTo>
                    <a:pt x="3539" y="809"/>
                  </a:lnTo>
                  <a:lnTo>
                    <a:pt x="3547" y="814"/>
                  </a:lnTo>
                  <a:lnTo>
                    <a:pt x="3555" y="816"/>
                  </a:lnTo>
                  <a:lnTo>
                    <a:pt x="3562" y="820"/>
                  </a:lnTo>
                  <a:lnTo>
                    <a:pt x="3576" y="795"/>
                  </a:lnTo>
                  <a:lnTo>
                    <a:pt x="3591" y="780"/>
                  </a:lnTo>
                  <a:lnTo>
                    <a:pt x="3616" y="766"/>
                  </a:lnTo>
                  <a:lnTo>
                    <a:pt x="3616" y="759"/>
                  </a:lnTo>
                  <a:lnTo>
                    <a:pt x="3614" y="759"/>
                  </a:lnTo>
                  <a:lnTo>
                    <a:pt x="3614" y="755"/>
                  </a:lnTo>
                  <a:lnTo>
                    <a:pt x="3626" y="759"/>
                  </a:lnTo>
                  <a:lnTo>
                    <a:pt x="3631" y="759"/>
                  </a:lnTo>
                  <a:lnTo>
                    <a:pt x="3635" y="755"/>
                  </a:lnTo>
                  <a:lnTo>
                    <a:pt x="3635" y="747"/>
                  </a:lnTo>
                  <a:lnTo>
                    <a:pt x="3631" y="743"/>
                  </a:lnTo>
                  <a:lnTo>
                    <a:pt x="3639" y="743"/>
                  </a:lnTo>
                  <a:lnTo>
                    <a:pt x="3641" y="747"/>
                  </a:lnTo>
                  <a:lnTo>
                    <a:pt x="3647" y="747"/>
                  </a:lnTo>
                  <a:lnTo>
                    <a:pt x="3651" y="745"/>
                  </a:lnTo>
                  <a:lnTo>
                    <a:pt x="3653" y="739"/>
                  </a:lnTo>
                  <a:lnTo>
                    <a:pt x="3654" y="736"/>
                  </a:lnTo>
                  <a:lnTo>
                    <a:pt x="3662" y="734"/>
                  </a:lnTo>
                  <a:lnTo>
                    <a:pt x="3670" y="734"/>
                  </a:lnTo>
                  <a:lnTo>
                    <a:pt x="3677" y="732"/>
                  </a:lnTo>
                  <a:lnTo>
                    <a:pt x="3689" y="726"/>
                  </a:lnTo>
                  <a:lnTo>
                    <a:pt x="3700" y="718"/>
                  </a:lnTo>
                  <a:lnTo>
                    <a:pt x="3714" y="712"/>
                  </a:lnTo>
                  <a:lnTo>
                    <a:pt x="3735" y="714"/>
                  </a:lnTo>
                  <a:lnTo>
                    <a:pt x="3754" y="720"/>
                  </a:lnTo>
                  <a:lnTo>
                    <a:pt x="3770" y="720"/>
                  </a:lnTo>
                  <a:lnTo>
                    <a:pt x="3775" y="716"/>
                  </a:lnTo>
                  <a:lnTo>
                    <a:pt x="3779" y="712"/>
                  </a:lnTo>
                  <a:lnTo>
                    <a:pt x="3781" y="709"/>
                  </a:lnTo>
                  <a:lnTo>
                    <a:pt x="3779" y="705"/>
                  </a:lnTo>
                  <a:lnTo>
                    <a:pt x="3779" y="699"/>
                  </a:lnTo>
                  <a:lnTo>
                    <a:pt x="3781" y="693"/>
                  </a:lnTo>
                  <a:lnTo>
                    <a:pt x="3777" y="691"/>
                  </a:lnTo>
                  <a:lnTo>
                    <a:pt x="3773" y="691"/>
                  </a:lnTo>
                  <a:lnTo>
                    <a:pt x="3770" y="689"/>
                  </a:lnTo>
                  <a:lnTo>
                    <a:pt x="3766" y="680"/>
                  </a:lnTo>
                  <a:lnTo>
                    <a:pt x="3760" y="661"/>
                  </a:lnTo>
                  <a:lnTo>
                    <a:pt x="3754" y="647"/>
                  </a:lnTo>
                  <a:lnTo>
                    <a:pt x="3750" y="647"/>
                  </a:lnTo>
                  <a:lnTo>
                    <a:pt x="3750" y="639"/>
                  </a:lnTo>
                  <a:lnTo>
                    <a:pt x="3747" y="641"/>
                  </a:lnTo>
                  <a:lnTo>
                    <a:pt x="3745" y="641"/>
                  </a:lnTo>
                  <a:lnTo>
                    <a:pt x="3741" y="643"/>
                  </a:lnTo>
                  <a:lnTo>
                    <a:pt x="3741" y="645"/>
                  </a:lnTo>
                  <a:lnTo>
                    <a:pt x="3735" y="647"/>
                  </a:lnTo>
                  <a:lnTo>
                    <a:pt x="3731" y="647"/>
                  </a:lnTo>
                  <a:lnTo>
                    <a:pt x="3731" y="639"/>
                  </a:lnTo>
                  <a:lnTo>
                    <a:pt x="3737" y="636"/>
                  </a:lnTo>
                  <a:lnTo>
                    <a:pt x="3741" y="628"/>
                  </a:lnTo>
                  <a:lnTo>
                    <a:pt x="3704" y="628"/>
                  </a:lnTo>
                  <a:lnTo>
                    <a:pt x="3704" y="620"/>
                  </a:lnTo>
                  <a:lnTo>
                    <a:pt x="3716" y="620"/>
                  </a:lnTo>
                  <a:lnTo>
                    <a:pt x="3729" y="618"/>
                  </a:lnTo>
                  <a:lnTo>
                    <a:pt x="3737" y="616"/>
                  </a:lnTo>
                  <a:lnTo>
                    <a:pt x="3743" y="624"/>
                  </a:lnTo>
                  <a:lnTo>
                    <a:pt x="3758" y="628"/>
                  </a:lnTo>
                  <a:lnTo>
                    <a:pt x="3789" y="628"/>
                  </a:lnTo>
                  <a:lnTo>
                    <a:pt x="3804" y="616"/>
                  </a:lnTo>
                  <a:lnTo>
                    <a:pt x="3810" y="607"/>
                  </a:lnTo>
                  <a:lnTo>
                    <a:pt x="3812" y="597"/>
                  </a:lnTo>
                  <a:lnTo>
                    <a:pt x="3812" y="586"/>
                  </a:lnTo>
                  <a:lnTo>
                    <a:pt x="3810" y="586"/>
                  </a:lnTo>
                  <a:lnTo>
                    <a:pt x="3804" y="584"/>
                  </a:lnTo>
                  <a:lnTo>
                    <a:pt x="3800" y="584"/>
                  </a:lnTo>
                  <a:lnTo>
                    <a:pt x="3800" y="578"/>
                  </a:lnTo>
                  <a:lnTo>
                    <a:pt x="3802" y="572"/>
                  </a:lnTo>
                  <a:lnTo>
                    <a:pt x="3804" y="572"/>
                  </a:lnTo>
                  <a:lnTo>
                    <a:pt x="3806" y="566"/>
                  </a:lnTo>
                  <a:lnTo>
                    <a:pt x="3804" y="561"/>
                  </a:lnTo>
                  <a:lnTo>
                    <a:pt x="3804" y="555"/>
                  </a:lnTo>
                  <a:lnTo>
                    <a:pt x="3808" y="555"/>
                  </a:lnTo>
                  <a:lnTo>
                    <a:pt x="3816" y="553"/>
                  </a:lnTo>
                  <a:lnTo>
                    <a:pt x="3819" y="553"/>
                  </a:lnTo>
                  <a:lnTo>
                    <a:pt x="3816" y="565"/>
                  </a:lnTo>
                  <a:lnTo>
                    <a:pt x="3819" y="563"/>
                  </a:lnTo>
                  <a:lnTo>
                    <a:pt x="3823" y="566"/>
                  </a:lnTo>
                  <a:lnTo>
                    <a:pt x="3816" y="580"/>
                  </a:lnTo>
                  <a:lnTo>
                    <a:pt x="3827" y="593"/>
                  </a:lnTo>
                  <a:lnTo>
                    <a:pt x="3839" y="601"/>
                  </a:lnTo>
                  <a:lnTo>
                    <a:pt x="3843" y="599"/>
                  </a:lnTo>
                  <a:lnTo>
                    <a:pt x="3843" y="597"/>
                  </a:lnTo>
                  <a:lnTo>
                    <a:pt x="3839" y="593"/>
                  </a:lnTo>
                  <a:lnTo>
                    <a:pt x="3860" y="586"/>
                  </a:lnTo>
                  <a:lnTo>
                    <a:pt x="3875" y="586"/>
                  </a:lnTo>
                  <a:lnTo>
                    <a:pt x="3889" y="599"/>
                  </a:lnTo>
                  <a:lnTo>
                    <a:pt x="3892" y="601"/>
                  </a:lnTo>
                  <a:lnTo>
                    <a:pt x="3898" y="603"/>
                  </a:lnTo>
                  <a:lnTo>
                    <a:pt x="3900" y="607"/>
                  </a:lnTo>
                  <a:lnTo>
                    <a:pt x="3900" y="613"/>
                  </a:lnTo>
                  <a:lnTo>
                    <a:pt x="3898" y="618"/>
                  </a:lnTo>
                  <a:lnTo>
                    <a:pt x="3896" y="620"/>
                  </a:lnTo>
                  <a:lnTo>
                    <a:pt x="3910" y="628"/>
                  </a:lnTo>
                  <a:lnTo>
                    <a:pt x="3933" y="634"/>
                  </a:lnTo>
                  <a:lnTo>
                    <a:pt x="3950" y="639"/>
                  </a:lnTo>
                  <a:lnTo>
                    <a:pt x="3950" y="647"/>
                  </a:lnTo>
                  <a:lnTo>
                    <a:pt x="3958" y="645"/>
                  </a:lnTo>
                  <a:lnTo>
                    <a:pt x="3963" y="641"/>
                  </a:lnTo>
                  <a:lnTo>
                    <a:pt x="3969" y="639"/>
                  </a:lnTo>
                  <a:lnTo>
                    <a:pt x="3969" y="647"/>
                  </a:lnTo>
                  <a:lnTo>
                    <a:pt x="3988" y="647"/>
                  </a:lnTo>
                  <a:lnTo>
                    <a:pt x="3992" y="645"/>
                  </a:lnTo>
                  <a:lnTo>
                    <a:pt x="3981" y="628"/>
                  </a:lnTo>
                  <a:lnTo>
                    <a:pt x="3981" y="620"/>
                  </a:lnTo>
                  <a:lnTo>
                    <a:pt x="3996" y="620"/>
                  </a:lnTo>
                  <a:lnTo>
                    <a:pt x="3996" y="607"/>
                  </a:lnTo>
                  <a:lnTo>
                    <a:pt x="3992" y="607"/>
                  </a:lnTo>
                  <a:lnTo>
                    <a:pt x="3988" y="609"/>
                  </a:lnTo>
                  <a:lnTo>
                    <a:pt x="3985" y="609"/>
                  </a:lnTo>
                  <a:lnTo>
                    <a:pt x="3985" y="599"/>
                  </a:lnTo>
                  <a:lnTo>
                    <a:pt x="3981" y="593"/>
                  </a:lnTo>
                  <a:lnTo>
                    <a:pt x="3986" y="595"/>
                  </a:lnTo>
                  <a:lnTo>
                    <a:pt x="3992" y="593"/>
                  </a:lnTo>
                  <a:lnTo>
                    <a:pt x="3996" y="593"/>
                  </a:lnTo>
                  <a:lnTo>
                    <a:pt x="3996" y="599"/>
                  </a:lnTo>
                  <a:lnTo>
                    <a:pt x="4000" y="599"/>
                  </a:lnTo>
                  <a:lnTo>
                    <a:pt x="4002" y="597"/>
                  </a:lnTo>
                  <a:lnTo>
                    <a:pt x="4010" y="599"/>
                  </a:lnTo>
                  <a:lnTo>
                    <a:pt x="4023" y="601"/>
                  </a:lnTo>
                  <a:lnTo>
                    <a:pt x="4023" y="605"/>
                  </a:lnTo>
                  <a:lnTo>
                    <a:pt x="4025" y="607"/>
                  </a:lnTo>
                  <a:lnTo>
                    <a:pt x="4027" y="607"/>
                  </a:lnTo>
                  <a:lnTo>
                    <a:pt x="4027" y="601"/>
                  </a:lnTo>
                  <a:lnTo>
                    <a:pt x="4025" y="595"/>
                  </a:lnTo>
                  <a:lnTo>
                    <a:pt x="4023" y="591"/>
                  </a:lnTo>
                  <a:lnTo>
                    <a:pt x="4031" y="591"/>
                  </a:lnTo>
                  <a:lnTo>
                    <a:pt x="4034" y="580"/>
                  </a:lnTo>
                  <a:lnTo>
                    <a:pt x="4034" y="574"/>
                  </a:lnTo>
                  <a:lnTo>
                    <a:pt x="4042" y="574"/>
                  </a:lnTo>
                  <a:lnTo>
                    <a:pt x="4023" y="566"/>
                  </a:lnTo>
                  <a:lnTo>
                    <a:pt x="4011" y="559"/>
                  </a:lnTo>
                  <a:lnTo>
                    <a:pt x="4002" y="547"/>
                  </a:lnTo>
                  <a:lnTo>
                    <a:pt x="3990" y="534"/>
                  </a:lnTo>
                  <a:lnTo>
                    <a:pt x="3977" y="524"/>
                  </a:lnTo>
                  <a:lnTo>
                    <a:pt x="3935" y="524"/>
                  </a:lnTo>
                  <a:lnTo>
                    <a:pt x="3935" y="528"/>
                  </a:lnTo>
                  <a:lnTo>
                    <a:pt x="3931" y="532"/>
                  </a:lnTo>
                  <a:lnTo>
                    <a:pt x="3927" y="532"/>
                  </a:lnTo>
                  <a:lnTo>
                    <a:pt x="3933" y="536"/>
                  </a:lnTo>
                  <a:lnTo>
                    <a:pt x="3933" y="538"/>
                  </a:lnTo>
                  <a:lnTo>
                    <a:pt x="3931" y="545"/>
                  </a:lnTo>
                  <a:lnTo>
                    <a:pt x="3935" y="545"/>
                  </a:lnTo>
                  <a:lnTo>
                    <a:pt x="3921" y="545"/>
                  </a:lnTo>
                  <a:lnTo>
                    <a:pt x="3925" y="532"/>
                  </a:lnTo>
                  <a:lnTo>
                    <a:pt x="3915" y="511"/>
                  </a:lnTo>
                  <a:lnTo>
                    <a:pt x="3908" y="497"/>
                  </a:lnTo>
                  <a:lnTo>
                    <a:pt x="3904" y="501"/>
                  </a:lnTo>
                  <a:lnTo>
                    <a:pt x="3900" y="501"/>
                  </a:lnTo>
                  <a:lnTo>
                    <a:pt x="3898" y="499"/>
                  </a:lnTo>
                  <a:lnTo>
                    <a:pt x="3894" y="493"/>
                  </a:lnTo>
                  <a:lnTo>
                    <a:pt x="3892" y="491"/>
                  </a:lnTo>
                  <a:lnTo>
                    <a:pt x="3887" y="490"/>
                  </a:lnTo>
                  <a:lnTo>
                    <a:pt x="3877" y="491"/>
                  </a:lnTo>
                  <a:lnTo>
                    <a:pt x="3869" y="491"/>
                  </a:lnTo>
                  <a:lnTo>
                    <a:pt x="3869" y="480"/>
                  </a:lnTo>
                  <a:lnTo>
                    <a:pt x="3867" y="476"/>
                  </a:lnTo>
                  <a:lnTo>
                    <a:pt x="3860" y="476"/>
                  </a:lnTo>
                  <a:lnTo>
                    <a:pt x="3860" y="468"/>
                  </a:lnTo>
                  <a:lnTo>
                    <a:pt x="3852" y="466"/>
                  </a:lnTo>
                  <a:lnTo>
                    <a:pt x="3846" y="466"/>
                  </a:lnTo>
                  <a:lnTo>
                    <a:pt x="3839" y="465"/>
                  </a:lnTo>
                  <a:lnTo>
                    <a:pt x="3833" y="457"/>
                  </a:lnTo>
                  <a:lnTo>
                    <a:pt x="3827" y="447"/>
                  </a:lnTo>
                  <a:lnTo>
                    <a:pt x="3819" y="442"/>
                  </a:lnTo>
                  <a:lnTo>
                    <a:pt x="3804" y="442"/>
                  </a:lnTo>
                  <a:lnTo>
                    <a:pt x="3798" y="436"/>
                  </a:lnTo>
                  <a:lnTo>
                    <a:pt x="3785" y="424"/>
                  </a:lnTo>
                  <a:lnTo>
                    <a:pt x="3777" y="418"/>
                  </a:lnTo>
                  <a:lnTo>
                    <a:pt x="3777" y="415"/>
                  </a:lnTo>
                  <a:lnTo>
                    <a:pt x="3775" y="409"/>
                  </a:lnTo>
                  <a:lnTo>
                    <a:pt x="3773" y="407"/>
                  </a:lnTo>
                  <a:lnTo>
                    <a:pt x="3756" y="401"/>
                  </a:lnTo>
                  <a:lnTo>
                    <a:pt x="3743" y="403"/>
                  </a:lnTo>
                  <a:lnTo>
                    <a:pt x="3737" y="407"/>
                  </a:lnTo>
                  <a:lnTo>
                    <a:pt x="3727" y="401"/>
                  </a:lnTo>
                  <a:lnTo>
                    <a:pt x="3722" y="393"/>
                  </a:lnTo>
                  <a:lnTo>
                    <a:pt x="3716" y="388"/>
                  </a:lnTo>
                  <a:lnTo>
                    <a:pt x="3710" y="384"/>
                  </a:lnTo>
                  <a:lnTo>
                    <a:pt x="3702" y="384"/>
                  </a:lnTo>
                  <a:lnTo>
                    <a:pt x="3695" y="382"/>
                  </a:lnTo>
                  <a:lnTo>
                    <a:pt x="3691" y="380"/>
                  </a:lnTo>
                  <a:lnTo>
                    <a:pt x="3689" y="374"/>
                  </a:lnTo>
                  <a:lnTo>
                    <a:pt x="3687" y="372"/>
                  </a:lnTo>
                  <a:lnTo>
                    <a:pt x="3664" y="370"/>
                  </a:lnTo>
                  <a:lnTo>
                    <a:pt x="3641" y="374"/>
                  </a:lnTo>
                  <a:lnTo>
                    <a:pt x="3620" y="374"/>
                  </a:lnTo>
                  <a:lnTo>
                    <a:pt x="3616" y="368"/>
                  </a:lnTo>
                  <a:lnTo>
                    <a:pt x="3606" y="368"/>
                  </a:lnTo>
                  <a:lnTo>
                    <a:pt x="3595" y="372"/>
                  </a:lnTo>
                  <a:lnTo>
                    <a:pt x="3581" y="372"/>
                  </a:lnTo>
                  <a:lnTo>
                    <a:pt x="3580" y="368"/>
                  </a:lnTo>
                  <a:lnTo>
                    <a:pt x="3576" y="365"/>
                  </a:lnTo>
                  <a:lnTo>
                    <a:pt x="3570" y="363"/>
                  </a:lnTo>
                  <a:lnTo>
                    <a:pt x="3566" y="388"/>
                  </a:lnTo>
                  <a:lnTo>
                    <a:pt x="3570" y="392"/>
                  </a:lnTo>
                  <a:lnTo>
                    <a:pt x="3581" y="399"/>
                  </a:lnTo>
                  <a:lnTo>
                    <a:pt x="3580" y="401"/>
                  </a:lnTo>
                  <a:lnTo>
                    <a:pt x="3580" y="403"/>
                  </a:lnTo>
                  <a:lnTo>
                    <a:pt x="3578" y="407"/>
                  </a:lnTo>
                  <a:lnTo>
                    <a:pt x="3581" y="418"/>
                  </a:lnTo>
                  <a:lnTo>
                    <a:pt x="3576" y="418"/>
                  </a:lnTo>
                  <a:lnTo>
                    <a:pt x="3572" y="426"/>
                  </a:lnTo>
                  <a:lnTo>
                    <a:pt x="3562" y="436"/>
                  </a:lnTo>
                  <a:lnTo>
                    <a:pt x="3558" y="436"/>
                  </a:lnTo>
                  <a:lnTo>
                    <a:pt x="3555" y="434"/>
                  </a:lnTo>
                  <a:lnTo>
                    <a:pt x="3551" y="434"/>
                  </a:lnTo>
                  <a:lnTo>
                    <a:pt x="3547" y="442"/>
                  </a:lnTo>
                  <a:lnTo>
                    <a:pt x="3541" y="440"/>
                  </a:lnTo>
                  <a:lnTo>
                    <a:pt x="3535" y="440"/>
                  </a:lnTo>
                  <a:lnTo>
                    <a:pt x="3528" y="442"/>
                  </a:lnTo>
                  <a:lnTo>
                    <a:pt x="3526" y="432"/>
                  </a:lnTo>
                  <a:lnTo>
                    <a:pt x="3526" y="422"/>
                  </a:lnTo>
                  <a:lnTo>
                    <a:pt x="3524" y="415"/>
                  </a:lnTo>
                  <a:lnTo>
                    <a:pt x="3512" y="409"/>
                  </a:lnTo>
                  <a:lnTo>
                    <a:pt x="3516" y="405"/>
                  </a:lnTo>
                  <a:lnTo>
                    <a:pt x="3514" y="397"/>
                  </a:lnTo>
                  <a:lnTo>
                    <a:pt x="3512" y="392"/>
                  </a:lnTo>
                  <a:lnTo>
                    <a:pt x="3505" y="395"/>
                  </a:lnTo>
                  <a:lnTo>
                    <a:pt x="3493" y="403"/>
                  </a:lnTo>
                  <a:lnTo>
                    <a:pt x="3484" y="407"/>
                  </a:lnTo>
                  <a:lnTo>
                    <a:pt x="3474" y="405"/>
                  </a:lnTo>
                  <a:lnTo>
                    <a:pt x="3472" y="401"/>
                  </a:lnTo>
                  <a:lnTo>
                    <a:pt x="3476" y="399"/>
                  </a:lnTo>
                  <a:lnTo>
                    <a:pt x="3462" y="395"/>
                  </a:lnTo>
                  <a:lnTo>
                    <a:pt x="3449" y="393"/>
                  </a:lnTo>
                  <a:lnTo>
                    <a:pt x="3436" y="395"/>
                  </a:lnTo>
                  <a:lnTo>
                    <a:pt x="3430" y="401"/>
                  </a:lnTo>
                  <a:lnTo>
                    <a:pt x="3424" y="401"/>
                  </a:lnTo>
                  <a:lnTo>
                    <a:pt x="3422" y="399"/>
                  </a:lnTo>
                  <a:lnTo>
                    <a:pt x="3422" y="392"/>
                  </a:lnTo>
                  <a:lnTo>
                    <a:pt x="3376" y="392"/>
                  </a:lnTo>
                  <a:lnTo>
                    <a:pt x="3347" y="401"/>
                  </a:lnTo>
                  <a:lnTo>
                    <a:pt x="3332" y="434"/>
                  </a:lnTo>
                  <a:lnTo>
                    <a:pt x="3320" y="399"/>
                  </a:lnTo>
                  <a:lnTo>
                    <a:pt x="3315" y="397"/>
                  </a:lnTo>
                  <a:lnTo>
                    <a:pt x="3311" y="397"/>
                  </a:lnTo>
                  <a:lnTo>
                    <a:pt x="3305" y="395"/>
                  </a:lnTo>
                  <a:lnTo>
                    <a:pt x="3307" y="388"/>
                  </a:lnTo>
                  <a:lnTo>
                    <a:pt x="3309" y="382"/>
                  </a:lnTo>
                  <a:lnTo>
                    <a:pt x="3305" y="374"/>
                  </a:lnTo>
                  <a:lnTo>
                    <a:pt x="3313" y="374"/>
                  </a:lnTo>
                  <a:lnTo>
                    <a:pt x="3313" y="372"/>
                  </a:lnTo>
                  <a:lnTo>
                    <a:pt x="3305" y="367"/>
                  </a:lnTo>
                  <a:lnTo>
                    <a:pt x="3299" y="363"/>
                  </a:lnTo>
                  <a:lnTo>
                    <a:pt x="3292" y="357"/>
                  </a:lnTo>
                  <a:lnTo>
                    <a:pt x="3290" y="353"/>
                  </a:lnTo>
                  <a:lnTo>
                    <a:pt x="3288" y="347"/>
                  </a:lnTo>
                  <a:lnTo>
                    <a:pt x="3286" y="345"/>
                  </a:lnTo>
                  <a:lnTo>
                    <a:pt x="3278" y="344"/>
                  </a:lnTo>
                  <a:lnTo>
                    <a:pt x="3272" y="342"/>
                  </a:lnTo>
                  <a:lnTo>
                    <a:pt x="3265" y="342"/>
                  </a:lnTo>
                  <a:lnTo>
                    <a:pt x="3257" y="334"/>
                  </a:lnTo>
                  <a:lnTo>
                    <a:pt x="3248" y="336"/>
                  </a:lnTo>
                  <a:lnTo>
                    <a:pt x="3230" y="342"/>
                  </a:lnTo>
                  <a:lnTo>
                    <a:pt x="3217" y="345"/>
                  </a:lnTo>
                  <a:lnTo>
                    <a:pt x="3213" y="344"/>
                  </a:lnTo>
                  <a:lnTo>
                    <a:pt x="3211" y="340"/>
                  </a:lnTo>
                  <a:lnTo>
                    <a:pt x="3211" y="338"/>
                  </a:lnTo>
                  <a:lnTo>
                    <a:pt x="3201" y="336"/>
                  </a:lnTo>
                  <a:lnTo>
                    <a:pt x="3188" y="336"/>
                  </a:lnTo>
                  <a:lnTo>
                    <a:pt x="3177" y="338"/>
                  </a:lnTo>
                  <a:lnTo>
                    <a:pt x="3163" y="345"/>
                  </a:lnTo>
                  <a:lnTo>
                    <a:pt x="3152" y="345"/>
                  </a:lnTo>
                  <a:lnTo>
                    <a:pt x="3142" y="342"/>
                  </a:lnTo>
                  <a:lnTo>
                    <a:pt x="3129" y="342"/>
                  </a:lnTo>
                  <a:lnTo>
                    <a:pt x="3121" y="349"/>
                  </a:lnTo>
                  <a:lnTo>
                    <a:pt x="3084" y="353"/>
                  </a:lnTo>
                  <a:lnTo>
                    <a:pt x="3048" y="351"/>
                  </a:lnTo>
                  <a:lnTo>
                    <a:pt x="3023" y="349"/>
                  </a:lnTo>
                  <a:lnTo>
                    <a:pt x="3031" y="342"/>
                  </a:lnTo>
                  <a:lnTo>
                    <a:pt x="3033" y="342"/>
                  </a:lnTo>
                  <a:lnTo>
                    <a:pt x="3038" y="345"/>
                  </a:lnTo>
                  <a:lnTo>
                    <a:pt x="3046" y="345"/>
                  </a:lnTo>
                  <a:lnTo>
                    <a:pt x="3065" y="326"/>
                  </a:lnTo>
                  <a:lnTo>
                    <a:pt x="3071" y="319"/>
                  </a:lnTo>
                  <a:lnTo>
                    <a:pt x="3075" y="305"/>
                  </a:lnTo>
                  <a:lnTo>
                    <a:pt x="3058" y="322"/>
                  </a:lnTo>
                  <a:lnTo>
                    <a:pt x="3058" y="326"/>
                  </a:lnTo>
                  <a:lnTo>
                    <a:pt x="3054" y="326"/>
                  </a:lnTo>
                  <a:lnTo>
                    <a:pt x="3048" y="324"/>
                  </a:lnTo>
                  <a:lnTo>
                    <a:pt x="3046" y="326"/>
                  </a:lnTo>
                  <a:lnTo>
                    <a:pt x="3040" y="322"/>
                  </a:lnTo>
                  <a:lnTo>
                    <a:pt x="3036" y="320"/>
                  </a:lnTo>
                  <a:lnTo>
                    <a:pt x="3031" y="319"/>
                  </a:lnTo>
                  <a:lnTo>
                    <a:pt x="3029" y="315"/>
                  </a:lnTo>
                  <a:lnTo>
                    <a:pt x="3031" y="311"/>
                  </a:lnTo>
                  <a:lnTo>
                    <a:pt x="3040" y="311"/>
                  </a:lnTo>
                  <a:lnTo>
                    <a:pt x="3050" y="315"/>
                  </a:lnTo>
                  <a:lnTo>
                    <a:pt x="3052" y="309"/>
                  </a:lnTo>
                  <a:lnTo>
                    <a:pt x="3054" y="299"/>
                  </a:lnTo>
                  <a:lnTo>
                    <a:pt x="3058" y="295"/>
                  </a:lnTo>
                  <a:lnTo>
                    <a:pt x="3027" y="280"/>
                  </a:lnTo>
                  <a:lnTo>
                    <a:pt x="3011" y="276"/>
                  </a:lnTo>
                  <a:lnTo>
                    <a:pt x="3006" y="276"/>
                  </a:lnTo>
                  <a:lnTo>
                    <a:pt x="3002" y="278"/>
                  </a:lnTo>
                  <a:lnTo>
                    <a:pt x="3004" y="280"/>
                  </a:lnTo>
                  <a:lnTo>
                    <a:pt x="2992" y="278"/>
                  </a:lnTo>
                  <a:lnTo>
                    <a:pt x="2983" y="278"/>
                  </a:lnTo>
                  <a:lnTo>
                    <a:pt x="2971" y="284"/>
                  </a:lnTo>
                  <a:lnTo>
                    <a:pt x="2971" y="295"/>
                  </a:lnTo>
                  <a:lnTo>
                    <a:pt x="2967" y="307"/>
                  </a:lnTo>
                  <a:lnTo>
                    <a:pt x="2958" y="319"/>
                  </a:lnTo>
                  <a:lnTo>
                    <a:pt x="2944" y="326"/>
                  </a:lnTo>
                  <a:lnTo>
                    <a:pt x="2931" y="326"/>
                  </a:lnTo>
                  <a:lnTo>
                    <a:pt x="2933" y="320"/>
                  </a:lnTo>
                  <a:lnTo>
                    <a:pt x="2940" y="315"/>
                  </a:lnTo>
                  <a:lnTo>
                    <a:pt x="2940" y="311"/>
                  </a:lnTo>
                  <a:lnTo>
                    <a:pt x="2937" y="307"/>
                  </a:lnTo>
                  <a:lnTo>
                    <a:pt x="2933" y="307"/>
                  </a:lnTo>
                  <a:lnTo>
                    <a:pt x="2940" y="301"/>
                  </a:lnTo>
                  <a:lnTo>
                    <a:pt x="2946" y="295"/>
                  </a:lnTo>
                  <a:lnTo>
                    <a:pt x="2952" y="292"/>
                  </a:lnTo>
                  <a:lnTo>
                    <a:pt x="2952" y="288"/>
                  </a:lnTo>
                  <a:lnTo>
                    <a:pt x="2956" y="292"/>
                  </a:lnTo>
                  <a:lnTo>
                    <a:pt x="2958" y="295"/>
                  </a:lnTo>
                  <a:lnTo>
                    <a:pt x="2965" y="299"/>
                  </a:lnTo>
                  <a:lnTo>
                    <a:pt x="2963" y="294"/>
                  </a:lnTo>
                  <a:lnTo>
                    <a:pt x="2965" y="286"/>
                  </a:lnTo>
                  <a:lnTo>
                    <a:pt x="2967" y="284"/>
                  </a:lnTo>
                  <a:lnTo>
                    <a:pt x="2948" y="284"/>
                  </a:lnTo>
                  <a:lnTo>
                    <a:pt x="2914" y="288"/>
                  </a:lnTo>
                  <a:lnTo>
                    <a:pt x="2914" y="284"/>
                  </a:lnTo>
                  <a:lnTo>
                    <a:pt x="2910" y="272"/>
                  </a:lnTo>
                  <a:lnTo>
                    <a:pt x="2929" y="272"/>
                  </a:lnTo>
                  <a:lnTo>
                    <a:pt x="2940" y="270"/>
                  </a:lnTo>
                  <a:lnTo>
                    <a:pt x="2925" y="265"/>
                  </a:lnTo>
                  <a:lnTo>
                    <a:pt x="2896" y="259"/>
                  </a:lnTo>
                  <a:lnTo>
                    <a:pt x="2866" y="259"/>
                  </a:lnTo>
                  <a:lnTo>
                    <a:pt x="2839" y="253"/>
                  </a:lnTo>
                  <a:lnTo>
                    <a:pt x="2835" y="249"/>
                  </a:lnTo>
                  <a:lnTo>
                    <a:pt x="2833" y="244"/>
                  </a:lnTo>
                  <a:lnTo>
                    <a:pt x="2831" y="242"/>
                  </a:lnTo>
                  <a:lnTo>
                    <a:pt x="2814" y="242"/>
                  </a:lnTo>
                  <a:lnTo>
                    <a:pt x="2814" y="249"/>
                  </a:lnTo>
                  <a:lnTo>
                    <a:pt x="2823" y="249"/>
                  </a:lnTo>
                  <a:lnTo>
                    <a:pt x="2823" y="255"/>
                  </a:lnTo>
                  <a:lnTo>
                    <a:pt x="2827" y="261"/>
                  </a:lnTo>
                  <a:lnTo>
                    <a:pt x="2816" y="261"/>
                  </a:lnTo>
                  <a:lnTo>
                    <a:pt x="2808" y="259"/>
                  </a:lnTo>
                  <a:lnTo>
                    <a:pt x="2800" y="261"/>
                  </a:lnTo>
                  <a:lnTo>
                    <a:pt x="2795" y="272"/>
                  </a:lnTo>
                  <a:lnTo>
                    <a:pt x="2804" y="272"/>
                  </a:lnTo>
                  <a:lnTo>
                    <a:pt x="2806" y="278"/>
                  </a:lnTo>
                  <a:lnTo>
                    <a:pt x="2795" y="280"/>
                  </a:lnTo>
                  <a:lnTo>
                    <a:pt x="2795" y="286"/>
                  </a:lnTo>
                  <a:lnTo>
                    <a:pt x="2793" y="294"/>
                  </a:lnTo>
                  <a:lnTo>
                    <a:pt x="2795" y="295"/>
                  </a:lnTo>
                  <a:lnTo>
                    <a:pt x="2798" y="301"/>
                  </a:lnTo>
                  <a:lnTo>
                    <a:pt x="2800" y="307"/>
                  </a:lnTo>
                  <a:lnTo>
                    <a:pt x="2804" y="311"/>
                  </a:lnTo>
                  <a:lnTo>
                    <a:pt x="2804" y="313"/>
                  </a:lnTo>
                  <a:lnTo>
                    <a:pt x="2800" y="319"/>
                  </a:lnTo>
                  <a:lnTo>
                    <a:pt x="2787" y="322"/>
                  </a:lnTo>
                  <a:lnTo>
                    <a:pt x="2785" y="319"/>
                  </a:lnTo>
                  <a:lnTo>
                    <a:pt x="2785" y="320"/>
                  </a:lnTo>
                  <a:lnTo>
                    <a:pt x="2779" y="322"/>
                  </a:lnTo>
                  <a:lnTo>
                    <a:pt x="2777" y="322"/>
                  </a:lnTo>
                  <a:lnTo>
                    <a:pt x="2777" y="307"/>
                  </a:lnTo>
                  <a:lnTo>
                    <a:pt x="2762" y="311"/>
                  </a:lnTo>
                  <a:lnTo>
                    <a:pt x="2760" y="326"/>
                  </a:lnTo>
                  <a:lnTo>
                    <a:pt x="2741" y="334"/>
                  </a:lnTo>
                  <a:lnTo>
                    <a:pt x="2733" y="328"/>
                  </a:lnTo>
                  <a:lnTo>
                    <a:pt x="2724" y="320"/>
                  </a:lnTo>
                  <a:lnTo>
                    <a:pt x="2714" y="315"/>
                  </a:lnTo>
                  <a:lnTo>
                    <a:pt x="2706" y="311"/>
                  </a:lnTo>
                  <a:lnTo>
                    <a:pt x="2687" y="307"/>
                  </a:lnTo>
                  <a:lnTo>
                    <a:pt x="2687" y="305"/>
                  </a:lnTo>
                  <a:lnTo>
                    <a:pt x="2685" y="301"/>
                  </a:lnTo>
                  <a:lnTo>
                    <a:pt x="2685" y="299"/>
                  </a:lnTo>
                  <a:lnTo>
                    <a:pt x="2681" y="297"/>
                  </a:lnTo>
                  <a:lnTo>
                    <a:pt x="2676" y="299"/>
                  </a:lnTo>
                  <a:lnTo>
                    <a:pt x="2672" y="299"/>
                  </a:lnTo>
                  <a:lnTo>
                    <a:pt x="2662" y="309"/>
                  </a:lnTo>
                  <a:lnTo>
                    <a:pt x="2658" y="315"/>
                  </a:lnTo>
                  <a:lnTo>
                    <a:pt x="2639" y="319"/>
                  </a:lnTo>
                  <a:lnTo>
                    <a:pt x="2630" y="322"/>
                  </a:lnTo>
                  <a:lnTo>
                    <a:pt x="2631" y="315"/>
                  </a:lnTo>
                  <a:lnTo>
                    <a:pt x="2633" y="311"/>
                  </a:lnTo>
                  <a:lnTo>
                    <a:pt x="2633" y="303"/>
                  </a:lnTo>
                  <a:lnTo>
                    <a:pt x="2626" y="303"/>
                  </a:lnTo>
                  <a:lnTo>
                    <a:pt x="2624" y="295"/>
                  </a:lnTo>
                  <a:lnTo>
                    <a:pt x="2620" y="288"/>
                  </a:lnTo>
                  <a:lnTo>
                    <a:pt x="2614" y="313"/>
                  </a:lnTo>
                  <a:lnTo>
                    <a:pt x="2605" y="342"/>
                  </a:lnTo>
                  <a:lnTo>
                    <a:pt x="2593" y="361"/>
                  </a:lnTo>
                  <a:lnTo>
                    <a:pt x="2583" y="359"/>
                  </a:lnTo>
                  <a:lnTo>
                    <a:pt x="2583" y="351"/>
                  </a:lnTo>
                  <a:lnTo>
                    <a:pt x="2585" y="345"/>
                  </a:lnTo>
                  <a:lnTo>
                    <a:pt x="2589" y="345"/>
                  </a:lnTo>
                  <a:lnTo>
                    <a:pt x="2589" y="338"/>
                  </a:lnTo>
                  <a:lnTo>
                    <a:pt x="2585" y="338"/>
                  </a:lnTo>
                  <a:lnTo>
                    <a:pt x="2582" y="340"/>
                  </a:lnTo>
                  <a:lnTo>
                    <a:pt x="2576" y="342"/>
                  </a:lnTo>
                  <a:lnTo>
                    <a:pt x="2574" y="338"/>
                  </a:lnTo>
                  <a:lnTo>
                    <a:pt x="2566" y="330"/>
                  </a:lnTo>
                  <a:lnTo>
                    <a:pt x="2549" y="330"/>
                  </a:lnTo>
                  <a:lnTo>
                    <a:pt x="2541" y="320"/>
                  </a:lnTo>
                  <a:lnTo>
                    <a:pt x="2534" y="315"/>
                  </a:lnTo>
                  <a:lnTo>
                    <a:pt x="2532" y="317"/>
                  </a:lnTo>
                  <a:lnTo>
                    <a:pt x="2528" y="319"/>
                  </a:lnTo>
                  <a:lnTo>
                    <a:pt x="2522" y="319"/>
                  </a:lnTo>
                  <a:lnTo>
                    <a:pt x="2522" y="315"/>
                  </a:lnTo>
                  <a:lnTo>
                    <a:pt x="2524" y="309"/>
                  </a:lnTo>
                  <a:lnTo>
                    <a:pt x="2522" y="307"/>
                  </a:lnTo>
                  <a:lnTo>
                    <a:pt x="2534" y="307"/>
                  </a:lnTo>
                  <a:lnTo>
                    <a:pt x="2535" y="303"/>
                  </a:lnTo>
                  <a:lnTo>
                    <a:pt x="2534" y="299"/>
                  </a:lnTo>
                  <a:lnTo>
                    <a:pt x="2532" y="299"/>
                  </a:lnTo>
                  <a:lnTo>
                    <a:pt x="2522" y="301"/>
                  </a:lnTo>
                  <a:lnTo>
                    <a:pt x="2514" y="303"/>
                  </a:lnTo>
                  <a:lnTo>
                    <a:pt x="2514" y="299"/>
                  </a:lnTo>
                  <a:lnTo>
                    <a:pt x="2512" y="288"/>
                  </a:lnTo>
                  <a:lnTo>
                    <a:pt x="2501" y="282"/>
                  </a:lnTo>
                  <a:lnTo>
                    <a:pt x="2491" y="276"/>
                  </a:lnTo>
                  <a:lnTo>
                    <a:pt x="2480" y="272"/>
                  </a:lnTo>
                  <a:lnTo>
                    <a:pt x="2476" y="292"/>
                  </a:lnTo>
                  <a:lnTo>
                    <a:pt x="2472" y="286"/>
                  </a:lnTo>
                  <a:lnTo>
                    <a:pt x="2472" y="265"/>
                  </a:lnTo>
                  <a:lnTo>
                    <a:pt x="2468" y="265"/>
                  </a:lnTo>
                  <a:lnTo>
                    <a:pt x="2466" y="270"/>
                  </a:lnTo>
                  <a:lnTo>
                    <a:pt x="2466" y="276"/>
                  </a:lnTo>
                  <a:lnTo>
                    <a:pt x="2461" y="274"/>
                  </a:lnTo>
                  <a:lnTo>
                    <a:pt x="2455" y="274"/>
                  </a:lnTo>
                  <a:lnTo>
                    <a:pt x="2449" y="276"/>
                  </a:lnTo>
                  <a:lnTo>
                    <a:pt x="2457" y="270"/>
                  </a:lnTo>
                  <a:lnTo>
                    <a:pt x="2459" y="263"/>
                  </a:lnTo>
                  <a:lnTo>
                    <a:pt x="2449" y="261"/>
                  </a:lnTo>
                  <a:lnTo>
                    <a:pt x="2441" y="261"/>
                  </a:lnTo>
                  <a:lnTo>
                    <a:pt x="2438" y="265"/>
                  </a:lnTo>
                  <a:lnTo>
                    <a:pt x="2432" y="269"/>
                  </a:lnTo>
                  <a:lnTo>
                    <a:pt x="2424" y="257"/>
                  </a:lnTo>
                  <a:lnTo>
                    <a:pt x="2426" y="257"/>
                  </a:lnTo>
                  <a:lnTo>
                    <a:pt x="2424" y="253"/>
                  </a:lnTo>
                  <a:lnTo>
                    <a:pt x="2432" y="253"/>
                  </a:lnTo>
                  <a:lnTo>
                    <a:pt x="2422" y="251"/>
                  </a:lnTo>
                  <a:lnTo>
                    <a:pt x="2418" y="249"/>
                  </a:lnTo>
                  <a:lnTo>
                    <a:pt x="2422" y="245"/>
                  </a:lnTo>
                  <a:lnTo>
                    <a:pt x="2422" y="238"/>
                  </a:lnTo>
                  <a:lnTo>
                    <a:pt x="2441" y="234"/>
                  </a:lnTo>
                  <a:lnTo>
                    <a:pt x="2449" y="230"/>
                  </a:lnTo>
                  <a:lnTo>
                    <a:pt x="2457" y="222"/>
                  </a:lnTo>
                  <a:lnTo>
                    <a:pt x="2461" y="215"/>
                  </a:lnTo>
                  <a:lnTo>
                    <a:pt x="2466" y="207"/>
                  </a:lnTo>
                  <a:lnTo>
                    <a:pt x="2455" y="203"/>
                  </a:lnTo>
                  <a:lnTo>
                    <a:pt x="2447" y="203"/>
                  </a:lnTo>
                  <a:lnTo>
                    <a:pt x="2439" y="199"/>
                  </a:lnTo>
                  <a:lnTo>
                    <a:pt x="2432" y="194"/>
                  </a:lnTo>
                  <a:lnTo>
                    <a:pt x="2426" y="188"/>
                  </a:lnTo>
                  <a:lnTo>
                    <a:pt x="2418" y="184"/>
                  </a:lnTo>
                  <a:lnTo>
                    <a:pt x="2407" y="184"/>
                  </a:lnTo>
                  <a:lnTo>
                    <a:pt x="2397" y="188"/>
                  </a:lnTo>
                  <a:lnTo>
                    <a:pt x="2390" y="192"/>
                  </a:lnTo>
                  <a:lnTo>
                    <a:pt x="2378" y="192"/>
                  </a:lnTo>
                  <a:lnTo>
                    <a:pt x="2376" y="196"/>
                  </a:lnTo>
                  <a:lnTo>
                    <a:pt x="2374" y="203"/>
                  </a:lnTo>
                  <a:lnTo>
                    <a:pt x="2374" y="209"/>
                  </a:lnTo>
                  <a:lnTo>
                    <a:pt x="2378" y="213"/>
                  </a:lnTo>
                  <a:lnTo>
                    <a:pt x="2386" y="219"/>
                  </a:lnTo>
                  <a:lnTo>
                    <a:pt x="2386" y="226"/>
                  </a:lnTo>
                  <a:lnTo>
                    <a:pt x="2393" y="228"/>
                  </a:lnTo>
                  <a:lnTo>
                    <a:pt x="2403" y="228"/>
                  </a:lnTo>
                  <a:lnTo>
                    <a:pt x="2411" y="230"/>
                  </a:lnTo>
                  <a:lnTo>
                    <a:pt x="2411" y="238"/>
                  </a:lnTo>
                  <a:lnTo>
                    <a:pt x="2403" y="238"/>
                  </a:lnTo>
                  <a:lnTo>
                    <a:pt x="2407" y="245"/>
                  </a:lnTo>
                  <a:lnTo>
                    <a:pt x="2409" y="247"/>
                  </a:lnTo>
                  <a:lnTo>
                    <a:pt x="2403" y="247"/>
                  </a:lnTo>
                  <a:lnTo>
                    <a:pt x="2393" y="245"/>
                  </a:lnTo>
                  <a:lnTo>
                    <a:pt x="2397" y="257"/>
                  </a:lnTo>
                  <a:lnTo>
                    <a:pt x="2376" y="255"/>
                  </a:lnTo>
                  <a:lnTo>
                    <a:pt x="2359" y="247"/>
                  </a:lnTo>
                  <a:lnTo>
                    <a:pt x="2344" y="242"/>
                  </a:lnTo>
                  <a:lnTo>
                    <a:pt x="2328" y="242"/>
                  </a:lnTo>
                  <a:lnTo>
                    <a:pt x="2315" y="245"/>
                  </a:lnTo>
                  <a:lnTo>
                    <a:pt x="2297" y="245"/>
                  </a:lnTo>
                  <a:lnTo>
                    <a:pt x="2296" y="238"/>
                  </a:lnTo>
                  <a:lnTo>
                    <a:pt x="2288" y="236"/>
                  </a:lnTo>
                  <a:lnTo>
                    <a:pt x="2278" y="236"/>
                  </a:lnTo>
                  <a:lnTo>
                    <a:pt x="2269" y="234"/>
                  </a:lnTo>
                  <a:lnTo>
                    <a:pt x="2261" y="226"/>
                  </a:lnTo>
                  <a:lnTo>
                    <a:pt x="2263" y="222"/>
                  </a:lnTo>
                  <a:lnTo>
                    <a:pt x="2263" y="215"/>
                  </a:lnTo>
                  <a:lnTo>
                    <a:pt x="2267" y="213"/>
                  </a:lnTo>
                  <a:lnTo>
                    <a:pt x="2263" y="203"/>
                  </a:lnTo>
                  <a:lnTo>
                    <a:pt x="2261" y="199"/>
                  </a:lnTo>
                  <a:lnTo>
                    <a:pt x="2249" y="199"/>
                  </a:lnTo>
                  <a:lnTo>
                    <a:pt x="2236" y="203"/>
                  </a:lnTo>
                  <a:lnTo>
                    <a:pt x="2223" y="203"/>
                  </a:lnTo>
                  <a:lnTo>
                    <a:pt x="2217" y="196"/>
                  </a:lnTo>
                  <a:lnTo>
                    <a:pt x="2213" y="196"/>
                  </a:lnTo>
                  <a:lnTo>
                    <a:pt x="2209" y="197"/>
                  </a:lnTo>
                  <a:lnTo>
                    <a:pt x="2201" y="199"/>
                  </a:lnTo>
                  <a:lnTo>
                    <a:pt x="2190" y="192"/>
                  </a:lnTo>
                  <a:lnTo>
                    <a:pt x="2171" y="197"/>
                  </a:lnTo>
                  <a:lnTo>
                    <a:pt x="2150" y="211"/>
                  </a:lnTo>
                  <a:lnTo>
                    <a:pt x="2138" y="222"/>
                  </a:lnTo>
                  <a:lnTo>
                    <a:pt x="2138" y="234"/>
                  </a:lnTo>
                  <a:lnTo>
                    <a:pt x="2136" y="228"/>
                  </a:lnTo>
                  <a:lnTo>
                    <a:pt x="2134" y="215"/>
                  </a:lnTo>
                  <a:lnTo>
                    <a:pt x="2136" y="203"/>
                  </a:lnTo>
                  <a:lnTo>
                    <a:pt x="2130" y="203"/>
                  </a:lnTo>
                  <a:lnTo>
                    <a:pt x="2129" y="199"/>
                  </a:lnTo>
                  <a:lnTo>
                    <a:pt x="2125" y="199"/>
                  </a:lnTo>
                  <a:lnTo>
                    <a:pt x="2123" y="203"/>
                  </a:lnTo>
                  <a:lnTo>
                    <a:pt x="2123" y="211"/>
                  </a:lnTo>
                  <a:lnTo>
                    <a:pt x="2125" y="215"/>
                  </a:lnTo>
                  <a:lnTo>
                    <a:pt x="2102" y="213"/>
                  </a:lnTo>
                  <a:lnTo>
                    <a:pt x="2090" y="207"/>
                  </a:lnTo>
                  <a:lnTo>
                    <a:pt x="2081" y="192"/>
                  </a:lnTo>
                  <a:lnTo>
                    <a:pt x="2082" y="194"/>
                  </a:lnTo>
                  <a:lnTo>
                    <a:pt x="2079" y="199"/>
                  </a:lnTo>
                  <a:lnTo>
                    <a:pt x="2079" y="203"/>
                  </a:lnTo>
                  <a:lnTo>
                    <a:pt x="2067" y="197"/>
                  </a:lnTo>
                  <a:lnTo>
                    <a:pt x="2061" y="196"/>
                  </a:lnTo>
                  <a:lnTo>
                    <a:pt x="2054" y="207"/>
                  </a:lnTo>
                  <a:lnTo>
                    <a:pt x="2052" y="219"/>
                  </a:lnTo>
                  <a:lnTo>
                    <a:pt x="2061" y="226"/>
                  </a:lnTo>
                  <a:lnTo>
                    <a:pt x="2059" y="230"/>
                  </a:lnTo>
                  <a:lnTo>
                    <a:pt x="2059" y="234"/>
                  </a:lnTo>
                  <a:lnTo>
                    <a:pt x="2050" y="230"/>
                  </a:lnTo>
                  <a:lnTo>
                    <a:pt x="2046" y="228"/>
                  </a:lnTo>
                  <a:lnTo>
                    <a:pt x="2040" y="226"/>
                  </a:lnTo>
                  <a:lnTo>
                    <a:pt x="2040" y="230"/>
                  </a:lnTo>
                  <a:lnTo>
                    <a:pt x="2042" y="236"/>
                  </a:lnTo>
                  <a:lnTo>
                    <a:pt x="2040" y="242"/>
                  </a:lnTo>
                  <a:lnTo>
                    <a:pt x="2023" y="245"/>
                  </a:lnTo>
                  <a:lnTo>
                    <a:pt x="2004" y="245"/>
                  </a:lnTo>
                  <a:lnTo>
                    <a:pt x="1981" y="249"/>
                  </a:lnTo>
                  <a:lnTo>
                    <a:pt x="1979" y="261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4" name="Freeform 309"/>
            <p:cNvSpPr>
              <a:spLocks noEditPoints="1"/>
            </p:cNvSpPr>
            <p:nvPr/>
          </p:nvSpPr>
          <p:spPr bwMode="gray">
            <a:xfrm>
              <a:off x="1484" y="1968"/>
              <a:ext cx="712" cy="415"/>
            </a:xfrm>
            <a:custGeom>
              <a:avLst/>
              <a:gdLst>
                <a:gd name="T0" fmla="*/ 1040 w 1424"/>
                <a:gd name="T1" fmla="*/ 227 h 830"/>
                <a:gd name="T2" fmla="*/ 990 w 1424"/>
                <a:gd name="T3" fmla="*/ 140 h 830"/>
                <a:gd name="T4" fmla="*/ 948 w 1424"/>
                <a:gd name="T5" fmla="*/ 177 h 830"/>
                <a:gd name="T6" fmla="*/ 917 w 1424"/>
                <a:gd name="T7" fmla="*/ 273 h 830"/>
                <a:gd name="T8" fmla="*/ 913 w 1424"/>
                <a:gd name="T9" fmla="*/ 162 h 830"/>
                <a:gd name="T10" fmla="*/ 955 w 1424"/>
                <a:gd name="T11" fmla="*/ 125 h 830"/>
                <a:gd name="T12" fmla="*/ 994 w 1424"/>
                <a:gd name="T13" fmla="*/ 125 h 830"/>
                <a:gd name="T14" fmla="*/ 917 w 1424"/>
                <a:gd name="T15" fmla="*/ 100 h 830"/>
                <a:gd name="T16" fmla="*/ 902 w 1424"/>
                <a:gd name="T17" fmla="*/ 73 h 830"/>
                <a:gd name="T18" fmla="*/ 836 w 1424"/>
                <a:gd name="T19" fmla="*/ 90 h 830"/>
                <a:gd name="T20" fmla="*/ 863 w 1424"/>
                <a:gd name="T21" fmla="*/ 44 h 830"/>
                <a:gd name="T22" fmla="*/ 813 w 1424"/>
                <a:gd name="T23" fmla="*/ 35 h 830"/>
                <a:gd name="T24" fmla="*/ 754 w 1424"/>
                <a:gd name="T25" fmla="*/ 25 h 830"/>
                <a:gd name="T26" fmla="*/ 55 w 1424"/>
                <a:gd name="T27" fmla="*/ 25 h 830"/>
                <a:gd name="T28" fmla="*/ 21 w 1424"/>
                <a:gd name="T29" fmla="*/ 79 h 830"/>
                <a:gd name="T30" fmla="*/ 15 w 1424"/>
                <a:gd name="T31" fmla="*/ 263 h 830"/>
                <a:gd name="T32" fmla="*/ 26 w 1424"/>
                <a:gd name="T33" fmla="*/ 344 h 830"/>
                <a:gd name="T34" fmla="*/ 63 w 1424"/>
                <a:gd name="T35" fmla="*/ 402 h 830"/>
                <a:gd name="T36" fmla="*/ 96 w 1424"/>
                <a:gd name="T37" fmla="*/ 486 h 830"/>
                <a:gd name="T38" fmla="*/ 122 w 1424"/>
                <a:gd name="T39" fmla="*/ 534 h 830"/>
                <a:gd name="T40" fmla="*/ 182 w 1424"/>
                <a:gd name="T41" fmla="*/ 579 h 830"/>
                <a:gd name="T42" fmla="*/ 452 w 1424"/>
                <a:gd name="T43" fmla="*/ 621 h 830"/>
                <a:gd name="T44" fmla="*/ 489 w 1424"/>
                <a:gd name="T45" fmla="*/ 671 h 830"/>
                <a:gd name="T46" fmla="*/ 548 w 1424"/>
                <a:gd name="T47" fmla="*/ 677 h 830"/>
                <a:gd name="T48" fmla="*/ 598 w 1424"/>
                <a:gd name="T49" fmla="*/ 732 h 830"/>
                <a:gd name="T50" fmla="*/ 629 w 1424"/>
                <a:gd name="T51" fmla="*/ 792 h 830"/>
                <a:gd name="T52" fmla="*/ 662 w 1424"/>
                <a:gd name="T53" fmla="*/ 773 h 830"/>
                <a:gd name="T54" fmla="*/ 696 w 1424"/>
                <a:gd name="T55" fmla="*/ 727 h 830"/>
                <a:gd name="T56" fmla="*/ 754 w 1424"/>
                <a:gd name="T57" fmla="*/ 692 h 830"/>
                <a:gd name="T58" fmla="*/ 834 w 1424"/>
                <a:gd name="T59" fmla="*/ 702 h 830"/>
                <a:gd name="T60" fmla="*/ 875 w 1424"/>
                <a:gd name="T61" fmla="*/ 703 h 830"/>
                <a:gd name="T62" fmla="*/ 873 w 1424"/>
                <a:gd name="T63" fmla="*/ 675 h 830"/>
                <a:gd name="T64" fmla="*/ 890 w 1424"/>
                <a:gd name="T65" fmla="*/ 659 h 830"/>
                <a:gd name="T66" fmla="*/ 932 w 1424"/>
                <a:gd name="T67" fmla="*/ 659 h 830"/>
                <a:gd name="T68" fmla="*/ 969 w 1424"/>
                <a:gd name="T69" fmla="*/ 673 h 830"/>
                <a:gd name="T70" fmla="*/ 1005 w 1424"/>
                <a:gd name="T71" fmla="*/ 675 h 830"/>
                <a:gd name="T72" fmla="*/ 1038 w 1424"/>
                <a:gd name="T73" fmla="*/ 746 h 830"/>
                <a:gd name="T74" fmla="*/ 1067 w 1424"/>
                <a:gd name="T75" fmla="*/ 811 h 830"/>
                <a:gd name="T76" fmla="*/ 1086 w 1424"/>
                <a:gd name="T77" fmla="*/ 736 h 830"/>
                <a:gd name="T78" fmla="*/ 1055 w 1424"/>
                <a:gd name="T79" fmla="*/ 657 h 830"/>
                <a:gd name="T80" fmla="*/ 1078 w 1424"/>
                <a:gd name="T81" fmla="*/ 596 h 830"/>
                <a:gd name="T82" fmla="*/ 1124 w 1424"/>
                <a:gd name="T83" fmla="*/ 557 h 830"/>
                <a:gd name="T84" fmla="*/ 1172 w 1424"/>
                <a:gd name="T85" fmla="*/ 507 h 830"/>
                <a:gd name="T86" fmla="*/ 1182 w 1424"/>
                <a:gd name="T87" fmla="*/ 473 h 830"/>
                <a:gd name="T88" fmla="*/ 1178 w 1424"/>
                <a:gd name="T89" fmla="*/ 436 h 830"/>
                <a:gd name="T90" fmla="*/ 1170 w 1424"/>
                <a:gd name="T91" fmla="*/ 402 h 830"/>
                <a:gd name="T92" fmla="*/ 1197 w 1424"/>
                <a:gd name="T93" fmla="*/ 350 h 830"/>
                <a:gd name="T94" fmla="*/ 1205 w 1424"/>
                <a:gd name="T95" fmla="*/ 411 h 830"/>
                <a:gd name="T96" fmla="*/ 1259 w 1424"/>
                <a:gd name="T97" fmla="*/ 329 h 830"/>
                <a:gd name="T98" fmla="*/ 1301 w 1424"/>
                <a:gd name="T99" fmla="*/ 283 h 830"/>
                <a:gd name="T100" fmla="*/ 1332 w 1424"/>
                <a:gd name="T101" fmla="*/ 275 h 830"/>
                <a:gd name="T102" fmla="*/ 1332 w 1424"/>
                <a:gd name="T103" fmla="*/ 240 h 830"/>
                <a:gd name="T104" fmla="*/ 1397 w 1424"/>
                <a:gd name="T105" fmla="*/ 187 h 830"/>
                <a:gd name="T106" fmla="*/ 1422 w 1424"/>
                <a:gd name="T107" fmla="*/ 154 h 830"/>
                <a:gd name="T108" fmla="*/ 1397 w 1424"/>
                <a:gd name="T109" fmla="*/ 81 h 830"/>
                <a:gd name="T110" fmla="*/ 1351 w 1424"/>
                <a:gd name="T111" fmla="*/ 113 h 830"/>
                <a:gd name="T112" fmla="*/ 1243 w 1424"/>
                <a:gd name="T113" fmla="*/ 152 h 830"/>
                <a:gd name="T114" fmla="*/ 1120 w 1424"/>
                <a:gd name="T115" fmla="*/ 221 h 830"/>
                <a:gd name="T116" fmla="*/ 1063 w 1424"/>
                <a:gd name="T117" fmla="*/ 275 h 830"/>
                <a:gd name="T118" fmla="*/ 1026 w 1424"/>
                <a:gd name="T119" fmla="*/ 254 h 8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24"/>
                <a:gd name="T181" fmla="*/ 0 h 830"/>
                <a:gd name="T182" fmla="*/ 1424 w 1424"/>
                <a:gd name="T183" fmla="*/ 830 h 8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24" h="830">
                  <a:moveTo>
                    <a:pt x="1034" y="238"/>
                  </a:moveTo>
                  <a:lnTo>
                    <a:pt x="1036" y="236"/>
                  </a:lnTo>
                  <a:lnTo>
                    <a:pt x="1034" y="238"/>
                  </a:lnTo>
                  <a:close/>
                  <a:moveTo>
                    <a:pt x="1034" y="238"/>
                  </a:moveTo>
                  <a:lnTo>
                    <a:pt x="1034" y="246"/>
                  </a:lnTo>
                  <a:lnTo>
                    <a:pt x="1036" y="246"/>
                  </a:lnTo>
                  <a:lnTo>
                    <a:pt x="1036" y="240"/>
                  </a:lnTo>
                  <a:lnTo>
                    <a:pt x="1038" y="236"/>
                  </a:lnTo>
                  <a:lnTo>
                    <a:pt x="1038" y="231"/>
                  </a:lnTo>
                  <a:lnTo>
                    <a:pt x="1040" y="227"/>
                  </a:lnTo>
                  <a:lnTo>
                    <a:pt x="1036" y="215"/>
                  </a:lnTo>
                  <a:lnTo>
                    <a:pt x="1028" y="194"/>
                  </a:lnTo>
                  <a:lnTo>
                    <a:pt x="1017" y="194"/>
                  </a:lnTo>
                  <a:lnTo>
                    <a:pt x="1015" y="198"/>
                  </a:lnTo>
                  <a:lnTo>
                    <a:pt x="1013" y="200"/>
                  </a:lnTo>
                  <a:lnTo>
                    <a:pt x="1005" y="206"/>
                  </a:lnTo>
                  <a:lnTo>
                    <a:pt x="1013" y="181"/>
                  </a:lnTo>
                  <a:lnTo>
                    <a:pt x="1013" y="163"/>
                  </a:lnTo>
                  <a:lnTo>
                    <a:pt x="1005" y="140"/>
                  </a:lnTo>
                  <a:lnTo>
                    <a:pt x="990" y="140"/>
                  </a:lnTo>
                  <a:lnTo>
                    <a:pt x="986" y="133"/>
                  </a:lnTo>
                  <a:lnTo>
                    <a:pt x="982" y="129"/>
                  </a:lnTo>
                  <a:lnTo>
                    <a:pt x="976" y="135"/>
                  </a:lnTo>
                  <a:lnTo>
                    <a:pt x="973" y="142"/>
                  </a:lnTo>
                  <a:lnTo>
                    <a:pt x="967" y="148"/>
                  </a:lnTo>
                  <a:lnTo>
                    <a:pt x="963" y="148"/>
                  </a:lnTo>
                  <a:lnTo>
                    <a:pt x="963" y="160"/>
                  </a:lnTo>
                  <a:lnTo>
                    <a:pt x="948" y="160"/>
                  </a:lnTo>
                  <a:lnTo>
                    <a:pt x="946" y="167"/>
                  </a:lnTo>
                  <a:lnTo>
                    <a:pt x="948" y="177"/>
                  </a:lnTo>
                  <a:lnTo>
                    <a:pt x="948" y="187"/>
                  </a:lnTo>
                  <a:lnTo>
                    <a:pt x="940" y="187"/>
                  </a:lnTo>
                  <a:lnTo>
                    <a:pt x="942" y="206"/>
                  </a:lnTo>
                  <a:lnTo>
                    <a:pt x="946" y="225"/>
                  </a:lnTo>
                  <a:lnTo>
                    <a:pt x="944" y="244"/>
                  </a:lnTo>
                  <a:lnTo>
                    <a:pt x="940" y="250"/>
                  </a:lnTo>
                  <a:lnTo>
                    <a:pt x="930" y="263"/>
                  </a:lnTo>
                  <a:lnTo>
                    <a:pt x="925" y="275"/>
                  </a:lnTo>
                  <a:lnTo>
                    <a:pt x="921" y="275"/>
                  </a:lnTo>
                  <a:lnTo>
                    <a:pt x="917" y="273"/>
                  </a:lnTo>
                  <a:lnTo>
                    <a:pt x="913" y="275"/>
                  </a:lnTo>
                  <a:lnTo>
                    <a:pt x="904" y="244"/>
                  </a:lnTo>
                  <a:lnTo>
                    <a:pt x="902" y="215"/>
                  </a:lnTo>
                  <a:lnTo>
                    <a:pt x="909" y="183"/>
                  </a:lnTo>
                  <a:lnTo>
                    <a:pt x="917" y="183"/>
                  </a:lnTo>
                  <a:lnTo>
                    <a:pt x="919" y="179"/>
                  </a:lnTo>
                  <a:lnTo>
                    <a:pt x="921" y="173"/>
                  </a:lnTo>
                  <a:lnTo>
                    <a:pt x="921" y="156"/>
                  </a:lnTo>
                  <a:lnTo>
                    <a:pt x="917" y="158"/>
                  </a:lnTo>
                  <a:lnTo>
                    <a:pt x="913" y="162"/>
                  </a:lnTo>
                  <a:lnTo>
                    <a:pt x="909" y="163"/>
                  </a:lnTo>
                  <a:lnTo>
                    <a:pt x="909" y="175"/>
                  </a:lnTo>
                  <a:lnTo>
                    <a:pt x="905" y="175"/>
                  </a:lnTo>
                  <a:lnTo>
                    <a:pt x="902" y="173"/>
                  </a:lnTo>
                  <a:lnTo>
                    <a:pt x="898" y="175"/>
                  </a:lnTo>
                  <a:lnTo>
                    <a:pt x="915" y="140"/>
                  </a:lnTo>
                  <a:lnTo>
                    <a:pt x="925" y="129"/>
                  </a:lnTo>
                  <a:lnTo>
                    <a:pt x="930" y="129"/>
                  </a:lnTo>
                  <a:lnTo>
                    <a:pt x="942" y="127"/>
                  </a:lnTo>
                  <a:lnTo>
                    <a:pt x="955" y="125"/>
                  </a:lnTo>
                  <a:lnTo>
                    <a:pt x="955" y="123"/>
                  </a:lnTo>
                  <a:lnTo>
                    <a:pt x="959" y="117"/>
                  </a:lnTo>
                  <a:lnTo>
                    <a:pt x="965" y="117"/>
                  </a:lnTo>
                  <a:lnTo>
                    <a:pt x="969" y="119"/>
                  </a:lnTo>
                  <a:lnTo>
                    <a:pt x="975" y="121"/>
                  </a:lnTo>
                  <a:lnTo>
                    <a:pt x="982" y="123"/>
                  </a:lnTo>
                  <a:lnTo>
                    <a:pt x="986" y="125"/>
                  </a:lnTo>
                  <a:lnTo>
                    <a:pt x="986" y="117"/>
                  </a:lnTo>
                  <a:lnTo>
                    <a:pt x="990" y="117"/>
                  </a:lnTo>
                  <a:lnTo>
                    <a:pt x="994" y="125"/>
                  </a:lnTo>
                  <a:lnTo>
                    <a:pt x="998" y="125"/>
                  </a:lnTo>
                  <a:lnTo>
                    <a:pt x="1003" y="123"/>
                  </a:lnTo>
                  <a:lnTo>
                    <a:pt x="998" y="117"/>
                  </a:lnTo>
                  <a:lnTo>
                    <a:pt x="994" y="110"/>
                  </a:lnTo>
                  <a:lnTo>
                    <a:pt x="975" y="110"/>
                  </a:lnTo>
                  <a:lnTo>
                    <a:pt x="975" y="90"/>
                  </a:lnTo>
                  <a:lnTo>
                    <a:pt x="963" y="94"/>
                  </a:lnTo>
                  <a:lnTo>
                    <a:pt x="944" y="104"/>
                  </a:lnTo>
                  <a:lnTo>
                    <a:pt x="925" y="106"/>
                  </a:lnTo>
                  <a:lnTo>
                    <a:pt x="917" y="100"/>
                  </a:lnTo>
                  <a:lnTo>
                    <a:pt x="911" y="90"/>
                  </a:lnTo>
                  <a:lnTo>
                    <a:pt x="909" y="87"/>
                  </a:lnTo>
                  <a:lnTo>
                    <a:pt x="900" y="85"/>
                  </a:lnTo>
                  <a:lnTo>
                    <a:pt x="892" y="89"/>
                  </a:lnTo>
                  <a:lnTo>
                    <a:pt x="886" y="90"/>
                  </a:lnTo>
                  <a:lnTo>
                    <a:pt x="888" y="87"/>
                  </a:lnTo>
                  <a:lnTo>
                    <a:pt x="884" y="83"/>
                  </a:lnTo>
                  <a:lnTo>
                    <a:pt x="898" y="79"/>
                  </a:lnTo>
                  <a:lnTo>
                    <a:pt x="898" y="77"/>
                  </a:lnTo>
                  <a:lnTo>
                    <a:pt x="902" y="73"/>
                  </a:lnTo>
                  <a:lnTo>
                    <a:pt x="905" y="71"/>
                  </a:lnTo>
                  <a:lnTo>
                    <a:pt x="904" y="69"/>
                  </a:lnTo>
                  <a:lnTo>
                    <a:pt x="902" y="65"/>
                  </a:lnTo>
                  <a:lnTo>
                    <a:pt x="902" y="64"/>
                  </a:lnTo>
                  <a:lnTo>
                    <a:pt x="884" y="75"/>
                  </a:lnTo>
                  <a:lnTo>
                    <a:pt x="869" y="85"/>
                  </a:lnTo>
                  <a:lnTo>
                    <a:pt x="850" y="94"/>
                  </a:lnTo>
                  <a:lnTo>
                    <a:pt x="850" y="98"/>
                  </a:lnTo>
                  <a:lnTo>
                    <a:pt x="840" y="96"/>
                  </a:lnTo>
                  <a:lnTo>
                    <a:pt x="836" y="90"/>
                  </a:lnTo>
                  <a:lnTo>
                    <a:pt x="831" y="87"/>
                  </a:lnTo>
                  <a:lnTo>
                    <a:pt x="825" y="87"/>
                  </a:lnTo>
                  <a:lnTo>
                    <a:pt x="815" y="89"/>
                  </a:lnTo>
                  <a:lnTo>
                    <a:pt x="806" y="90"/>
                  </a:lnTo>
                  <a:lnTo>
                    <a:pt x="809" y="85"/>
                  </a:lnTo>
                  <a:lnTo>
                    <a:pt x="817" y="75"/>
                  </a:lnTo>
                  <a:lnTo>
                    <a:pt x="821" y="71"/>
                  </a:lnTo>
                  <a:lnTo>
                    <a:pt x="865" y="48"/>
                  </a:lnTo>
                  <a:lnTo>
                    <a:pt x="863" y="46"/>
                  </a:lnTo>
                  <a:lnTo>
                    <a:pt x="863" y="44"/>
                  </a:lnTo>
                  <a:lnTo>
                    <a:pt x="861" y="44"/>
                  </a:lnTo>
                  <a:lnTo>
                    <a:pt x="857" y="42"/>
                  </a:lnTo>
                  <a:lnTo>
                    <a:pt x="854" y="42"/>
                  </a:lnTo>
                  <a:lnTo>
                    <a:pt x="850" y="39"/>
                  </a:lnTo>
                  <a:lnTo>
                    <a:pt x="846" y="37"/>
                  </a:lnTo>
                  <a:lnTo>
                    <a:pt x="831" y="37"/>
                  </a:lnTo>
                  <a:lnTo>
                    <a:pt x="827" y="35"/>
                  </a:lnTo>
                  <a:lnTo>
                    <a:pt x="821" y="37"/>
                  </a:lnTo>
                  <a:lnTo>
                    <a:pt x="817" y="37"/>
                  </a:lnTo>
                  <a:lnTo>
                    <a:pt x="813" y="35"/>
                  </a:lnTo>
                  <a:lnTo>
                    <a:pt x="809" y="35"/>
                  </a:lnTo>
                  <a:lnTo>
                    <a:pt x="802" y="33"/>
                  </a:lnTo>
                  <a:lnTo>
                    <a:pt x="796" y="29"/>
                  </a:lnTo>
                  <a:lnTo>
                    <a:pt x="790" y="23"/>
                  </a:lnTo>
                  <a:lnTo>
                    <a:pt x="786" y="23"/>
                  </a:lnTo>
                  <a:lnTo>
                    <a:pt x="781" y="25"/>
                  </a:lnTo>
                  <a:lnTo>
                    <a:pt x="777" y="31"/>
                  </a:lnTo>
                  <a:lnTo>
                    <a:pt x="775" y="31"/>
                  </a:lnTo>
                  <a:lnTo>
                    <a:pt x="769" y="29"/>
                  </a:lnTo>
                  <a:lnTo>
                    <a:pt x="754" y="25"/>
                  </a:lnTo>
                  <a:lnTo>
                    <a:pt x="750" y="23"/>
                  </a:lnTo>
                  <a:lnTo>
                    <a:pt x="748" y="23"/>
                  </a:lnTo>
                  <a:lnTo>
                    <a:pt x="742" y="6"/>
                  </a:lnTo>
                  <a:lnTo>
                    <a:pt x="737" y="0"/>
                  </a:lnTo>
                  <a:lnTo>
                    <a:pt x="733" y="4"/>
                  </a:lnTo>
                  <a:lnTo>
                    <a:pt x="731" y="10"/>
                  </a:lnTo>
                  <a:lnTo>
                    <a:pt x="731" y="12"/>
                  </a:lnTo>
                  <a:lnTo>
                    <a:pt x="57" y="8"/>
                  </a:lnTo>
                  <a:lnTo>
                    <a:pt x="57" y="17"/>
                  </a:lnTo>
                  <a:lnTo>
                    <a:pt x="55" y="25"/>
                  </a:lnTo>
                  <a:lnTo>
                    <a:pt x="55" y="31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19" y="40"/>
                  </a:lnTo>
                  <a:lnTo>
                    <a:pt x="0" y="37"/>
                  </a:lnTo>
                  <a:lnTo>
                    <a:pt x="1" y="42"/>
                  </a:lnTo>
                  <a:lnTo>
                    <a:pt x="1" y="48"/>
                  </a:lnTo>
                  <a:lnTo>
                    <a:pt x="3" y="56"/>
                  </a:lnTo>
                  <a:lnTo>
                    <a:pt x="11" y="65"/>
                  </a:lnTo>
                  <a:lnTo>
                    <a:pt x="21" y="79"/>
                  </a:lnTo>
                  <a:lnTo>
                    <a:pt x="26" y="94"/>
                  </a:lnTo>
                  <a:lnTo>
                    <a:pt x="24" y="106"/>
                  </a:lnTo>
                  <a:lnTo>
                    <a:pt x="21" y="115"/>
                  </a:lnTo>
                  <a:lnTo>
                    <a:pt x="19" y="125"/>
                  </a:lnTo>
                  <a:lnTo>
                    <a:pt x="21" y="138"/>
                  </a:lnTo>
                  <a:lnTo>
                    <a:pt x="23" y="156"/>
                  </a:lnTo>
                  <a:lnTo>
                    <a:pt x="23" y="175"/>
                  </a:lnTo>
                  <a:lnTo>
                    <a:pt x="17" y="202"/>
                  </a:lnTo>
                  <a:lnTo>
                    <a:pt x="11" y="233"/>
                  </a:lnTo>
                  <a:lnTo>
                    <a:pt x="15" y="263"/>
                  </a:lnTo>
                  <a:lnTo>
                    <a:pt x="23" y="267"/>
                  </a:lnTo>
                  <a:lnTo>
                    <a:pt x="26" y="271"/>
                  </a:lnTo>
                  <a:lnTo>
                    <a:pt x="24" y="277"/>
                  </a:lnTo>
                  <a:lnTo>
                    <a:pt x="24" y="288"/>
                  </a:lnTo>
                  <a:lnTo>
                    <a:pt x="26" y="298"/>
                  </a:lnTo>
                  <a:lnTo>
                    <a:pt x="23" y="308"/>
                  </a:lnTo>
                  <a:lnTo>
                    <a:pt x="15" y="333"/>
                  </a:lnTo>
                  <a:lnTo>
                    <a:pt x="17" y="336"/>
                  </a:lnTo>
                  <a:lnTo>
                    <a:pt x="23" y="340"/>
                  </a:lnTo>
                  <a:lnTo>
                    <a:pt x="26" y="344"/>
                  </a:lnTo>
                  <a:lnTo>
                    <a:pt x="30" y="358"/>
                  </a:lnTo>
                  <a:lnTo>
                    <a:pt x="30" y="369"/>
                  </a:lnTo>
                  <a:lnTo>
                    <a:pt x="34" y="383"/>
                  </a:lnTo>
                  <a:lnTo>
                    <a:pt x="38" y="390"/>
                  </a:lnTo>
                  <a:lnTo>
                    <a:pt x="48" y="402"/>
                  </a:lnTo>
                  <a:lnTo>
                    <a:pt x="53" y="411"/>
                  </a:lnTo>
                  <a:lnTo>
                    <a:pt x="59" y="408"/>
                  </a:lnTo>
                  <a:lnTo>
                    <a:pt x="59" y="404"/>
                  </a:lnTo>
                  <a:lnTo>
                    <a:pt x="57" y="400"/>
                  </a:lnTo>
                  <a:lnTo>
                    <a:pt x="63" y="402"/>
                  </a:lnTo>
                  <a:lnTo>
                    <a:pt x="65" y="404"/>
                  </a:lnTo>
                  <a:lnTo>
                    <a:pt x="69" y="404"/>
                  </a:lnTo>
                  <a:lnTo>
                    <a:pt x="65" y="411"/>
                  </a:lnTo>
                  <a:lnTo>
                    <a:pt x="65" y="423"/>
                  </a:lnTo>
                  <a:lnTo>
                    <a:pt x="61" y="432"/>
                  </a:lnTo>
                  <a:lnTo>
                    <a:pt x="80" y="438"/>
                  </a:lnTo>
                  <a:lnTo>
                    <a:pt x="72" y="454"/>
                  </a:lnTo>
                  <a:lnTo>
                    <a:pt x="72" y="463"/>
                  </a:lnTo>
                  <a:lnTo>
                    <a:pt x="80" y="473"/>
                  </a:lnTo>
                  <a:lnTo>
                    <a:pt x="96" y="486"/>
                  </a:lnTo>
                  <a:lnTo>
                    <a:pt x="103" y="492"/>
                  </a:lnTo>
                  <a:lnTo>
                    <a:pt x="101" y="496"/>
                  </a:lnTo>
                  <a:lnTo>
                    <a:pt x="97" y="500"/>
                  </a:lnTo>
                  <a:lnTo>
                    <a:pt x="103" y="504"/>
                  </a:lnTo>
                  <a:lnTo>
                    <a:pt x="107" y="513"/>
                  </a:lnTo>
                  <a:lnTo>
                    <a:pt x="107" y="534"/>
                  </a:lnTo>
                  <a:lnTo>
                    <a:pt x="111" y="534"/>
                  </a:lnTo>
                  <a:lnTo>
                    <a:pt x="111" y="532"/>
                  </a:lnTo>
                  <a:lnTo>
                    <a:pt x="115" y="530"/>
                  </a:lnTo>
                  <a:lnTo>
                    <a:pt x="122" y="534"/>
                  </a:lnTo>
                  <a:lnTo>
                    <a:pt x="145" y="542"/>
                  </a:lnTo>
                  <a:lnTo>
                    <a:pt x="145" y="555"/>
                  </a:lnTo>
                  <a:lnTo>
                    <a:pt x="151" y="554"/>
                  </a:lnTo>
                  <a:lnTo>
                    <a:pt x="153" y="552"/>
                  </a:lnTo>
                  <a:lnTo>
                    <a:pt x="157" y="550"/>
                  </a:lnTo>
                  <a:lnTo>
                    <a:pt x="161" y="555"/>
                  </a:lnTo>
                  <a:lnTo>
                    <a:pt x="165" y="563"/>
                  </a:lnTo>
                  <a:lnTo>
                    <a:pt x="168" y="569"/>
                  </a:lnTo>
                  <a:lnTo>
                    <a:pt x="180" y="575"/>
                  </a:lnTo>
                  <a:lnTo>
                    <a:pt x="182" y="579"/>
                  </a:lnTo>
                  <a:lnTo>
                    <a:pt x="182" y="588"/>
                  </a:lnTo>
                  <a:lnTo>
                    <a:pt x="247" y="580"/>
                  </a:lnTo>
                  <a:lnTo>
                    <a:pt x="247" y="590"/>
                  </a:lnTo>
                  <a:lnTo>
                    <a:pt x="312" y="625"/>
                  </a:lnTo>
                  <a:lnTo>
                    <a:pt x="393" y="629"/>
                  </a:lnTo>
                  <a:lnTo>
                    <a:pt x="393" y="613"/>
                  </a:lnTo>
                  <a:lnTo>
                    <a:pt x="443" y="615"/>
                  </a:lnTo>
                  <a:lnTo>
                    <a:pt x="445" y="615"/>
                  </a:lnTo>
                  <a:lnTo>
                    <a:pt x="449" y="617"/>
                  </a:lnTo>
                  <a:lnTo>
                    <a:pt x="452" y="621"/>
                  </a:lnTo>
                  <a:lnTo>
                    <a:pt x="454" y="625"/>
                  </a:lnTo>
                  <a:lnTo>
                    <a:pt x="456" y="627"/>
                  </a:lnTo>
                  <a:lnTo>
                    <a:pt x="460" y="634"/>
                  </a:lnTo>
                  <a:lnTo>
                    <a:pt x="464" y="638"/>
                  </a:lnTo>
                  <a:lnTo>
                    <a:pt x="476" y="644"/>
                  </a:lnTo>
                  <a:lnTo>
                    <a:pt x="479" y="648"/>
                  </a:lnTo>
                  <a:lnTo>
                    <a:pt x="485" y="655"/>
                  </a:lnTo>
                  <a:lnTo>
                    <a:pt x="489" y="661"/>
                  </a:lnTo>
                  <a:lnTo>
                    <a:pt x="491" y="665"/>
                  </a:lnTo>
                  <a:lnTo>
                    <a:pt x="489" y="671"/>
                  </a:lnTo>
                  <a:lnTo>
                    <a:pt x="491" y="678"/>
                  </a:lnTo>
                  <a:lnTo>
                    <a:pt x="502" y="690"/>
                  </a:lnTo>
                  <a:lnTo>
                    <a:pt x="510" y="694"/>
                  </a:lnTo>
                  <a:lnTo>
                    <a:pt x="525" y="694"/>
                  </a:lnTo>
                  <a:lnTo>
                    <a:pt x="531" y="688"/>
                  </a:lnTo>
                  <a:lnTo>
                    <a:pt x="533" y="682"/>
                  </a:lnTo>
                  <a:lnTo>
                    <a:pt x="537" y="677"/>
                  </a:lnTo>
                  <a:lnTo>
                    <a:pt x="539" y="675"/>
                  </a:lnTo>
                  <a:lnTo>
                    <a:pt x="543" y="675"/>
                  </a:lnTo>
                  <a:lnTo>
                    <a:pt x="548" y="677"/>
                  </a:lnTo>
                  <a:lnTo>
                    <a:pt x="556" y="678"/>
                  </a:lnTo>
                  <a:lnTo>
                    <a:pt x="566" y="678"/>
                  </a:lnTo>
                  <a:lnTo>
                    <a:pt x="570" y="682"/>
                  </a:lnTo>
                  <a:lnTo>
                    <a:pt x="571" y="686"/>
                  </a:lnTo>
                  <a:lnTo>
                    <a:pt x="579" y="698"/>
                  </a:lnTo>
                  <a:lnTo>
                    <a:pt x="589" y="705"/>
                  </a:lnTo>
                  <a:lnTo>
                    <a:pt x="591" y="711"/>
                  </a:lnTo>
                  <a:lnTo>
                    <a:pt x="591" y="719"/>
                  </a:lnTo>
                  <a:lnTo>
                    <a:pt x="593" y="725"/>
                  </a:lnTo>
                  <a:lnTo>
                    <a:pt x="598" y="732"/>
                  </a:lnTo>
                  <a:lnTo>
                    <a:pt x="604" y="738"/>
                  </a:lnTo>
                  <a:lnTo>
                    <a:pt x="608" y="744"/>
                  </a:lnTo>
                  <a:lnTo>
                    <a:pt x="610" y="748"/>
                  </a:lnTo>
                  <a:lnTo>
                    <a:pt x="612" y="755"/>
                  </a:lnTo>
                  <a:lnTo>
                    <a:pt x="618" y="765"/>
                  </a:lnTo>
                  <a:lnTo>
                    <a:pt x="621" y="776"/>
                  </a:lnTo>
                  <a:lnTo>
                    <a:pt x="623" y="780"/>
                  </a:lnTo>
                  <a:lnTo>
                    <a:pt x="623" y="782"/>
                  </a:lnTo>
                  <a:lnTo>
                    <a:pt x="625" y="788"/>
                  </a:lnTo>
                  <a:lnTo>
                    <a:pt x="629" y="792"/>
                  </a:lnTo>
                  <a:lnTo>
                    <a:pt x="644" y="800"/>
                  </a:lnTo>
                  <a:lnTo>
                    <a:pt x="660" y="803"/>
                  </a:lnTo>
                  <a:lnTo>
                    <a:pt x="664" y="807"/>
                  </a:lnTo>
                  <a:lnTo>
                    <a:pt x="666" y="811"/>
                  </a:lnTo>
                  <a:lnTo>
                    <a:pt x="671" y="809"/>
                  </a:lnTo>
                  <a:lnTo>
                    <a:pt x="666" y="801"/>
                  </a:lnTo>
                  <a:lnTo>
                    <a:pt x="662" y="794"/>
                  </a:lnTo>
                  <a:lnTo>
                    <a:pt x="660" y="788"/>
                  </a:lnTo>
                  <a:lnTo>
                    <a:pt x="662" y="782"/>
                  </a:lnTo>
                  <a:lnTo>
                    <a:pt x="662" y="773"/>
                  </a:lnTo>
                  <a:lnTo>
                    <a:pt x="660" y="765"/>
                  </a:lnTo>
                  <a:lnTo>
                    <a:pt x="667" y="765"/>
                  </a:lnTo>
                  <a:lnTo>
                    <a:pt x="667" y="759"/>
                  </a:lnTo>
                  <a:lnTo>
                    <a:pt x="666" y="753"/>
                  </a:lnTo>
                  <a:lnTo>
                    <a:pt x="667" y="750"/>
                  </a:lnTo>
                  <a:lnTo>
                    <a:pt x="675" y="746"/>
                  </a:lnTo>
                  <a:lnTo>
                    <a:pt x="687" y="742"/>
                  </a:lnTo>
                  <a:lnTo>
                    <a:pt x="694" y="738"/>
                  </a:lnTo>
                  <a:lnTo>
                    <a:pt x="696" y="732"/>
                  </a:lnTo>
                  <a:lnTo>
                    <a:pt x="696" y="727"/>
                  </a:lnTo>
                  <a:lnTo>
                    <a:pt x="698" y="723"/>
                  </a:lnTo>
                  <a:lnTo>
                    <a:pt x="706" y="721"/>
                  </a:lnTo>
                  <a:lnTo>
                    <a:pt x="712" y="721"/>
                  </a:lnTo>
                  <a:lnTo>
                    <a:pt x="717" y="719"/>
                  </a:lnTo>
                  <a:lnTo>
                    <a:pt x="727" y="700"/>
                  </a:lnTo>
                  <a:lnTo>
                    <a:pt x="729" y="692"/>
                  </a:lnTo>
                  <a:lnTo>
                    <a:pt x="733" y="694"/>
                  </a:lnTo>
                  <a:lnTo>
                    <a:pt x="738" y="696"/>
                  </a:lnTo>
                  <a:lnTo>
                    <a:pt x="744" y="696"/>
                  </a:lnTo>
                  <a:lnTo>
                    <a:pt x="754" y="692"/>
                  </a:lnTo>
                  <a:lnTo>
                    <a:pt x="763" y="682"/>
                  </a:lnTo>
                  <a:lnTo>
                    <a:pt x="771" y="677"/>
                  </a:lnTo>
                  <a:lnTo>
                    <a:pt x="788" y="680"/>
                  </a:lnTo>
                  <a:lnTo>
                    <a:pt x="809" y="686"/>
                  </a:lnTo>
                  <a:lnTo>
                    <a:pt x="821" y="692"/>
                  </a:lnTo>
                  <a:lnTo>
                    <a:pt x="821" y="696"/>
                  </a:lnTo>
                  <a:lnTo>
                    <a:pt x="821" y="702"/>
                  </a:lnTo>
                  <a:lnTo>
                    <a:pt x="823" y="703"/>
                  </a:lnTo>
                  <a:lnTo>
                    <a:pt x="831" y="703"/>
                  </a:lnTo>
                  <a:lnTo>
                    <a:pt x="834" y="702"/>
                  </a:lnTo>
                  <a:lnTo>
                    <a:pt x="842" y="700"/>
                  </a:lnTo>
                  <a:lnTo>
                    <a:pt x="838" y="692"/>
                  </a:lnTo>
                  <a:lnTo>
                    <a:pt x="838" y="688"/>
                  </a:lnTo>
                  <a:lnTo>
                    <a:pt x="846" y="684"/>
                  </a:lnTo>
                  <a:lnTo>
                    <a:pt x="850" y="680"/>
                  </a:lnTo>
                  <a:lnTo>
                    <a:pt x="861" y="696"/>
                  </a:lnTo>
                  <a:lnTo>
                    <a:pt x="865" y="698"/>
                  </a:lnTo>
                  <a:lnTo>
                    <a:pt x="871" y="696"/>
                  </a:lnTo>
                  <a:lnTo>
                    <a:pt x="875" y="696"/>
                  </a:lnTo>
                  <a:lnTo>
                    <a:pt x="875" y="703"/>
                  </a:lnTo>
                  <a:lnTo>
                    <a:pt x="881" y="703"/>
                  </a:lnTo>
                  <a:lnTo>
                    <a:pt x="884" y="700"/>
                  </a:lnTo>
                  <a:lnTo>
                    <a:pt x="882" y="696"/>
                  </a:lnTo>
                  <a:lnTo>
                    <a:pt x="873" y="692"/>
                  </a:lnTo>
                  <a:lnTo>
                    <a:pt x="873" y="688"/>
                  </a:lnTo>
                  <a:lnTo>
                    <a:pt x="875" y="684"/>
                  </a:lnTo>
                  <a:lnTo>
                    <a:pt x="875" y="682"/>
                  </a:lnTo>
                  <a:lnTo>
                    <a:pt x="877" y="678"/>
                  </a:lnTo>
                  <a:lnTo>
                    <a:pt x="879" y="677"/>
                  </a:lnTo>
                  <a:lnTo>
                    <a:pt x="873" y="675"/>
                  </a:lnTo>
                  <a:lnTo>
                    <a:pt x="867" y="671"/>
                  </a:lnTo>
                  <a:lnTo>
                    <a:pt x="861" y="669"/>
                  </a:lnTo>
                  <a:lnTo>
                    <a:pt x="857" y="669"/>
                  </a:lnTo>
                  <a:lnTo>
                    <a:pt x="854" y="661"/>
                  </a:lnTo>
                  <a:lnTo>
                    <a:pt x="857" y="663"/>
                  </a:lnTo>
                  <a:lnTo>
                    <a:pt x="863" y="665"/>
                  </a:lnTo>
                  <a:lnTo>
                    <a:pt x="873" y="665"/>
                  </a:lnTo>
                  <a:lnTo>
                    <a:pt x="873" y="657"/>
                  </a:lnTo>
                  <a:lnTo>
                    <a:pt x="882" y="659"/>
                  </a:lnTo>
                  <a:lnTo>
                    <a:pt x="890" y="659"/>
                  </a:lnTo>
                  <a:lnTo>
                    <a:pt x="902" y="661"/>
                  </a:lnTo>
                  <a:lnTo>
                    <a:pt x="900" y="657"/>
                  </a:lnTo>
                  <a:lnTo>
                    <a:pt x="904" y="655"/>
                  </a:lnTo>
                  <a:lnTo>
                    <a:pt x="905" y="653"/>
                  </a:lnTo>
                  <a:lnTo>
                    <a:pt x="907" y="659"/>
                  </a:lnTo>
                  <a:lnTo>
                    <a:pt x="909" y="663"/>
                  </a:lnTo>
                  <a:lnTo>
                    <a:pt x="917" y="665"/>
                  </a:lnTo>
                  <a:lnTo>
                    <a:pt x="925" y="653"/>
                  </a:lnTo>
                  <a:lnTo>
                    <a:pt x="927" y="655"/>
                  </a:lnTo>
                  <a:lnTo>
                    <a:pt x="932" y="659"/>
                  </a:lnTo>
                  <a:lnTo>
                    <a:pt x="936" y="661"/>
                  </a:lnTo>
                  <a:lnTo>
                    <a:pt x="938" y="659"/>
                  </a:lnTo>
                  <a:lnTo>
                    <a:pt x="940" y="655"/>
                  </a:lnTo>
                  <a:lnTo>
                    <a:pt x="944" y="653"/>
                  </a:lnTo>
                  <a:lnTo>
                    <a:pt x="948" y="657"/>
                  </a:lnTo>
                  <a:lnTo>
                    <a:pt x="948" y="665"/>
                  </a:lnTo>
                  <a:lnTo>
                    <a:pt x="953" y="667"/>
                  </a:lnTo>
                  <a:lnTo>
                    <a:pt x="959" y="667"/>
                  </a:lnTo>
                  <a:lnTo>
                    <a:pt x="967" y="669"/>
                  </a:lnTo>
                  <a:lnTo>
                    <a:pt x="969" y="673"/>
                  </a:lnTo>
                  <a:lnTo>
                    <a:pt x="969" y="677"/>
                  </a:lnTo>
                  <a:lnTo>
                    <a:pt x="971" y="680"/>
                  </a:lnTo>
                  <a:lnTo>
                    <a:pt x="976" y="680"/>
                  </a:lnTo>
                  <a:lnTo>
                    <a:pt x="982" y="682"/>
                  </a:lnTo>
                  <a:lnTo>
                    <a:pt x="990" y="684"/>
                  </a:lnTo>
                  <a:lnTo>
                    <a:pt x="992" y="682"/>
                  </a:lnTo>
                  <a:lnTo>
                    <a:pt x="996" y="677"/>
                  </a:lnTo>
                  <a:lnTo>
                    <a:pt x="998" y="673"/>
                  </a:lnTo>
                  <a:lnTo>
                    <a:pt x="1001" y="673"/>
                  </a:lnTo>
                  <a:lnTo>
                    <a:pt x="1005" y="675"/>
                  </a:lnTo>
                  <a:lnTo>
                    <a:pt x="1009" y="673"/>
                  </a:lnTo>
                  <a:lnTo>
                    <a:pt x="1011" y="678"/>
                  </a:lnTo>
                  <a:lnTo>
                    <a:pt x="1013" y="686"/>
                  </a:lnTo>
                  <a:lnTo>
                    <a:pt x="1017" y="692"/>
                  </a:lnTo>
                  <a:lnTo>
                    <a:pt x="1028" y="696"/>
                  </a:lnTo>
                  <a:lnTo>
                    <a:pt x="1030" y="713"/>
                  </a:lnTo>
                  <a:lnTo>
                    <a:pt x="1030" y="732"/>
                  </a:lnTo>
                  <a:lnTo>
                    <a:pt x="1028" y="750"/>
                  </a:lnTo>
                  <a:lnTo>
                    <a:pt x="1034" y="748"/>
                  </a:lnTo>
                  <a:lnTo>
                    <a:pt x="1038" y="746"/>
                  </a:lnTo>
                  <a:lnTo>
                    <a:pt x="1044" y="746"/>
                  </a:lnTo>
                  <a:lnTo>
                    <a:pt x="1036" y="761"/>
                  </a:lnTo>
                  <a:lnTo>
                    <a:pt x="1036" y="773"/>
                  </a:lnTo>
                  <a:lnTo>
                    <a:pt x="1051" y="780"/>
                  </a:lnTo>
                  <a:lnTo>
                    <a:pt x="1053" y="786"/>
                  </a:lnTo>
                  <a:lnTo>
                    <a:pt x="1053" y="794"/>
                  </a:lnTo>
                  <a:lnTo>
                    <a:pt x="1055" y="800"/>
                  </a:lnTo>
                  <a:lnTo>
                    <a:pt x="1059" y="803"/>
                  </a:lnTo>
                  <a:lnTo>
                    <a:pt x="1063" y="809"/>
                  </a:lnTo>
                  <a:lnTo>
                    <a:pt x="1067" y="811"/>
                  </a:lnTo>
                  <a:lnTo>
                    <a:pt x="1067" y="815"/>
                  </a:lnTo>
                  <a:lnTo>
                    <a:pt x="1065" y="819"/>
                  </a:lnTo>
                  <a:lnTo>
                    <a:pt x="1067" y="823"/>
                  </a:lnTo>
                  <a:lnTo>
                    <a:pt x="1072" y="826"/>
                  </a:lnTo>
                  <a:lnTo>
                    <a:pt x="1080" y="828"/>
                  </a:lnTo>
                  <a:lnTo>
                    <a:pt x="1086" y="830"/>
                  </a:lnTo>
                  <a:lnTo>
                    <a:pt x="1094" y="788"/>
                  </a:lnTo>
                  <a:lnTo>
                    <a:pt x="1094" y="765"/>
                  </a:lnTo>
                  <a:lnTo>
                    <a:pt x="1092" y="753"/>
                  </a:lnTo>
                  <a:lnTo>
                    <a:pt x="1086" y="736"/>
                  </a:lnTo>
                  <a:lnTo>
                    <a:pt x="1082" y="723"/>
                  </a:lnTo>
                  <a:lnTo>
                    <a:pt x="1074" y="719"/>
                  </a:lnTo>
                  <a:lnTo>
                    <a:pt x="1074" y="715"/>
                  </a:lnTo>
                  <a:lnTo>
                    <a:pt x="1078" y="713"/>
                  </a:lnTo>
                  <a:lnTo>
                    <a:pt x="1078" y="707"/>
                  </a:lnTo>
                  <a:lnTo>
                    <a:pt x="1069" y="698"/>
                  </a:lnTo>
                  <a:lnTo>
                    <a:pt x="1067" y="692"/>
                  </a:lnTo>
                  <a:lnTo>
                    <a:pt x="1067" y="665"/>
                  </a:lnTo>
                  <a:lnTo>
                    <a:pt x="1061" y="663"/>
                  </a:lnTo>
                  <a:lnTo>
                    <a:pt x="1055" y="657"/>
                  </a:lnTo>
                  <a:lnTo>
                    <a:pt x="1059" y="653"/>
                  </a:lnTo>
                  <a:lnTo>
                    <a:pt x="1063" y="653"/>
                  </a:lnTo>
                  <a:lnTo>
                    <a:pt x="1061" y="652"/>
                  </a:lnTo>
                  <a:lnTo>
                    <a:pt x="1063" y="650"/>
                  </a:lnTo>
                  <a:lnTo>
                    <a:pt x="1067" y="650"/>
                  </a:lnTo>
                  <a:lnTo>
                    <a:pt x="1071" y="648"/>
                  </a:lnTo>
                  <a:lnTo>
                    <a:pt x="1067" y="646"/>
                  </a:lnTo>
                  <a:lnTo>
                    <a:pt x="1065" y="638"/>
                  </a:lnTo>
                  <a:lnTo>
                    <a:pt x="1078" y="611"/>
                  </a:lnTo>
                  <a:lnTo>
                    <a:pt x="1078" y="596"/>
                  </a:lnTo>
                  <a:lnTo>
                    <a:pt x="1090" y="596"/>
                  </a:lnTo>
                  <a:lnTo>
                    <a:pt x="1092" y="594"/>
                  </a:lnTo>
                  <a:lnTo>
                    <a:pt x="1092" y="588"/>
                  </a:lnTo>
                  <a:lnTo>
                    <a:pt x="1094" y="584"/>
                  </a:lnTo>
                  <a:lnTo>
                    <a:pt x="1101" y="582"/>
                  </a:lnTo>
                  <a:lnTo>
                    <a:pt x="1113" y="579"/>
                  </a:lnTo>
                  <a:lnTo>
                    <a:pt x="1120" y="575"/>
                  </a:lnTo>
                  <a:lnTo>
                    <a:pt x="1122" y="569"/>
                  </a:lnTo>
                  <a:lnTo>
                    <a:pt x="1122" y="563"/>
                  </a:lnTo>
                  <a:lnTo>
                    <a:pt x="1124" y="557"/>
                  </a:lnTo>
                  <a:lnTo>
                    <a:pt x="1134" y="555"/>
                  </a:lnTo>
                  <a:lnTo>
                    <a:pt x="1142" y="554"/>
                  </a:lnTo>
                  <a:lnTo>
                    <a:pt x="1151" y="550"/>
                  </a:lnTo>
                  <a:lnTo>
                    <a:pt x="1155" y="544"/>
                  </a:lnTo>
                  <a:lnTo>
                    <a:pt x="1159" y="534"/>
                  </a:lnTo>
                  <a:lnTo>
                    <a:pt x="1163" y="527"/>
                  </a:lnTo>
                  <a:lnTo>
                    <a:pt x="1166" y="527"/>
                  </a:lnTo>
                  <a:lnTo>
                    <a:pt x="1174" y="523"/>
                  </a:lnTo>
                  <a:lnTo>
                    <a:pt x="1166" y="507"/>
                  </a:lnTo>
                  <a:lnTo>
                    <a:pt x="1172" y="507"/>
                  </a:lnTo>
                  <a:lnTo>
                    <a:pt x="1178" y="506"/>
                  </a:lnTo>
                  <a:lnTo>
                    <a:pt x="1182" y="504"/>
                  </a:lnTo>
                  <a:lnTo>
                    <a:pt x="1178" y="496"/>
                  </a:lnTo>
                  <a:lnTo>
                    <a:pt x="1180" y="496"/>
                  </a:lnTo>
                  <a:lnTo>
                    <a:pt x="1193" y="494"/>
                  </a:lnTo>
                  <a:lnTo>
                    <a:pt x="1205" y="492"/>
                  </a:lnTo>
                  <a:lnTo>
                    <a:pt x="1201" y="488"/>
                  </a:lnTo>
                  <a:lnTo>
                    <a:pt x="1197" y="481"/>
                  </a:lnTo>
                  <a:lnTo>
                    <a:pt x="1182" y="481"/>
                  </a:lnTo>
                  <a:lnTo>
                    <a:pt x="1182" y="473"/>
                  </a:lnTo>
                  <a:lnTo>
                    <a:pt x="1193" y="473"/>
                  </a:lnTo>
                  <a:lnTo>
                    <a:pt x="1197" y="471"/>
                  </a:lnTo>
                  <a:lnTo>
                    <a:pt x="1197" y="456"/>
                  </a:lnTo>
                  <a:lnTo>
                    <a:pt x="1193" y="454"/>
                  </a:lnTo>
                  <a:lnTo>
                    <a:pt x="1188" y="452"/>
                  </a:lnTo>
                  <a:lnTo>
                    <a:pt x="1182" y="452"/>
                  </a:lnTo>
                  <a:lnTo>
                    <a:pt x="1178" y="448"/>
                  </a:lnTo>
                  <a:lnTo>
                    <a:pt x="1178" y="444"/>
                  </a:lnTo>
                  <a:lnTo>
                    <a:pt x="1174" y="438"/>
                  </a:lnTo>
                  <a:lnTo>
                    <a:pt x="1178" y="436"/>
                  </a:lnTo>
                  <a:lnTo>
                    <a:pt x="1184" y="429"/>
                  </a:lnTo>
                  <a:lnTo>
                    <a:pt x="1186" y="425"/>
                  </a:lnTo>
                  <a:lnTo>
                    <a:pt x="1180" y="421"/>
                  </a:lnTo>
                  <a:lnTo>
                    <a:pt x="1182" y="417"/>
                  </a:lnTo>
                  <a:lnTo>
                    <a:pt x="1182" y="411"/>
                  </a:lnTo>
                  <a:lnTo>
                    <a:pt x="1178" y="409"/>
                  </a:lnTo>
                  <a:lnTo>
                    <a:pt x="1172" y="408"/>
                  </a:lnTo>
                  <a:lnTo>
                    <a:pt x="1166" y="404"/>
                  </a:lnTo>
                  <a:lnTo>
                    <a:pt x="1168" y="402"/>
                  </a:lnTo>
                  <a:lnTo>
                    <a:pt x="1170" y="402"/>
                  </a:lnTo>
                  <a:lnTo>
                    <a:pt x="1174" y="400"/>
                  </a:lnTo>
                  <a:lnTo>
                    <a:pt x="1174" y="396"/>
                  </a:lnTo>
                  <a:lnTo>
                    <a:pt x="1170" y="392"/>
                  </a:lnTo>
                  <a:lnTo>
                    <a:pt x="1170" y="390"/>
                  </a:lnTo>
                  <a:lnTo>
                    <a:pt x="1176" y="379"/>
                  </a:lnTo>
                  <a:lnTo>
                    <a:pt x="1180" y="369"/>
                  </a:lnTo>
                  <a:lnTo>
                    <a:pt x="1182" y="356"/>
                  </a:lnTo>
                  <a:lnTo>
                    <a:pt x="1188" y="354"/>
                  </a:lnTo>
                  <a:lnTo>
                    <a:pt x="1191" y="352"/>
                  </a:lnTo>
                  <a:lnTo>
                    <a:pt x="1197" y="350"/>
                  </a:lnTo>
                  <a:lnTo>
                    <a:pt x="1201" y="358"/>
                  </a:lnTo>
                  <a:lnTo>
                    <a:pt x="1191" y="373"/>
                  </a:lnTo>
                  <a:lnTo>
                    <a:pt x="1188" y="392"/>
                  </a:lnTo>
                  <a:lnTo>
                    <a:pt x="1186" y="400"/>
                  </a:lnTo>
                  <a:lnTo>
                    <a:pt x="1188" y="404"/>
                  </a:lnTo>
                  <a:lnTo>
                    <a:pt x="1190" y="406"/>
                  </a:lnTo>
                  <a:lnTo>
                    <a:pt x="1190" y="409"/>
                  </a:lnTo>
                  <a:lnTo>
                    <a:pt x="1197" y="406"/>
                  </a:lnTo>
                  <a:lnTo>
                    <a:pt x="1205" y="404"/>
                  </a:lnTo>
                  <a:lnTo>
                    <a:pt x="1205" y="411"/>
                  </a:lnTo>
                  <a:lnTo>
                    <a:pt x="1216" y="411"/>
                  </a:lnTo>
                  <a:lnTo>
                    <a:pt x="1218" y="400"/>
                  </a:lnTo>
                  <a:lnTo>
                    <a:pt x="1222" y="388"/>
                  </a:lnTo>
                  <a:lnTo>
                    <a:pt x="1224" y="373"/>
                  </a:lnTo>
                  <a:lnTo>
                    <a:pt x="1214" y="373"/>
                  </a:lnTo>
                  <a:lnTo>
                    <a:pt x="1213" y="371"/>
                  </a:lnTo>
                  <a:lnTo>
                    <a:pt x="1213" y="358"/>
                  </a:lnTo>
                  <a:lnTo>
                    <a:pt x="1238" y="358"/>
                  </a:lnTo>
                  <a:lnTo>
                    <a:pt x="1247" y="350"/>
                  </a:lnTo>
                  <a:lnTo>
                    <a:pt x="1259" y="329"/>
                  </a:lnTo>
                  <a:lnTo>
                    <a:pt x="1247" y="321"/>
                  </a:lnTo>
                  <a:lnTo>
                    <a:pt x="1247" y="315"/>
                  </a:lnTo>
                  <a:lnTo>
                    <a:pt x="1251" y="313"/>
                  </a:lnTo>
                  <a:lnTo>
                    <a:pt x="1251" y="309"/>
                  </a:lnTo>
                  <a:lnTo>
                    <a:pt x="1266" y="294"/>
                  </a:lnTo>
                  <a:lnTo>
                    <a:pt x="1278" y="288"/>
                  </a:lnTo>
                  <a:lnTo>
                    <a:pt x="1284" y="290"/>
                  </a:lnTo>
                  <a:lnTo>
                    <a:pt x="1289" y="290"/>
                  </a:lnTo>
                  <a:lnTo>
                    <a:pt x="1293" y="283"/>
                  </a:lnTo>
                  <a:lnTo>
                    <a:pt x="1301" y="283"/>
                  </a:lnTo>
                  <a:lnTo>
                    <a:pt x="1305" y="285"/>
                  </a:lnTo>
                  <a:lnTo>
                    <a:pt x="1312" y="286"/>
                  </a:lnTo>
                  <a:lnTo>
                    <a:pt x="1312" y="279"/>
                  </a:lnTo>
                  <a:lnTo>
                    <a:pt x="1316" y="267"/>
                  </a:lnTo>
                  <a:lnTo>
                    <a:pt x="1320" y="269"/>
                  </a:lnTo>
                  <a:lnTo>
                    <a:pt x="1322" y="273"/>
                  </a:lnTo>
                  <a:lnTo>
                    <a:pt x="1324" y="279"/>
                  </a:lnTo>
                  <a:lnTo>
                    <a:pt x="1328" y="279"/>
                  </a:lnTo>
                  <a:lnTo>
                    <a:pt x="1332" y="277"/>
                  </a:lnTo>
                  <a:lnTo>
                    <a:pt x="1332" y="275"/>
                  </a:lnTo>
                  <a:lnTo>
                    <a:pt x="1335" y="273"/>
                  </a:lnTo>
                  <a:lnTo>
                    <a:pt x="1337" y="271"/>
                  </a:lnTo>
                  <a:lnTo>
                    <a:pt x="1343" y="271"/>
                  </a:lnTo>
                  <a:lnTo>
                    <a:pt x="1332" y="263"/>
                  </a:lnTo>
                  <a:lnTo>
                    <a:pt x="1324" y="260"/>
                  </a:lnTo>
                  <a:lnTo>
                    <a:pt x="1328" y="254"/>
                  </a:lnTo>
                  <a:lnTo>
                    <a:pt x="1332" y="250"/>
                  </a:lnTo>
                  <a:lnTo>
                    <a:pt x="1335" y="248"/>
                  </a:lnTo>
                  <a:lnTo>
                    <a:pt x="1335" y="242"/>
                  </a:lnTo>
                  <a:lnTo>
                    <a:pt x="1332" y="240"/>
                  </a:lnTo>
                  <a:lnTo>
                    <a:pt x="1332" y="236"/>
                  </a:lnTo>
                  <a:lnTo>
                    <a:pt x="1339" y="233"/>
                  </a:lnTo>
                  <a:lnTo>
                    <a:pt x="1343" y="223"/>
                  </a:lnTo>
                  <a:lnTo>
                    <a:pt x="1345" y="213"/>
                  </a:lnTo>
                  <a:lnTo>
                    <a:pt x="1347" y="206"/>
                  </a:lnTo>
                  <a:lnTo>
                    <a:pt x="1364" y="206"/>
                  </a:lnTo>
                  <a:lnTo>
                    <a:pt x="1374" y="200"/>
                  </a:lnTo>
                  <a:lnTo>
                    <a:pt x="1385" y="183"/>
                  </a:lnTo>
                  <a:lnTo>
                    <a:pt x="1385" y="194"/>
                  </a:lnTo>
                  <a:lnTo>
                    <a:pt x="1397" y="187"/>
                  </a:lnTo>
                  <a:lnTo>
                    <a:pt x="1397" y="188"/>
                  </a:lnTo>
                  <a:lnTo>
                    <a:pt x="1401" y="192"/>
                  </a:lnTo>
                  <a:lnTo>
                    <a:pt x="1404" y="194"/>
                  </a:lnTo>
                  <a:lnTo>
                    <a:pt x="1416" y="183"/>
                  </a:lnTo>
                  <a:lnTo>
                    <a:pt x="1424" y="179"/>
                  </a:lnTo>
                  <a:lnTo>
                    <a:pt x="1420" y="171"/>
                  </a:lnTo>
                  <a:lnTo>
                    <a:pt x="1416" y="156"/>
                  </a:lnTo>
                  <a:lnTo>
                    <a:pt x="1420" y="156"/>
                  </a:lnTo>
                  <a:lnTo>
                    <a:pt x="1422" y="158"/>
                  </a:lnTo>
                  <a:lnTo>
                    <a:pt x="1422" y="154"/>
                  </a:lnTo>
                  <a:lnTo>
                    <a:pt x="1420" y="152"/>
                  </a:lnTo>
                  <a:lnTo>
                    <a:pt x="1416" y="150"/>
                  </a:lnTo>
                  <a:lnTo>
                    <a:pt x="1414" y="148"/>
                  </a:lnTo>
                  <a:lnTo>
                    <a:pt x="1414" y="135"/>
                  </a:lnTo>
                  <a:lnTo>
                    <a:pt x="1412" y="131"/>
                  </a:lnTo>
                  <a:lnTo>
                    <a:pt x="1406" y="131"/>
                  </a:lnTo>
                  <a:lnTo>
                    <a:pt x="1404" y="133"/>
                  </a:lnTo>
                  <a:lnTo>
                    <a:pt x="1404" y="98"/>
                  </a:lnTo>
                  <a:lnTo>
                    <a:pt x="1403" y="87"/>
                  </a:lnTo>
                  <a:lnTo>
                    <a:pt x="1397" y="81"/>
                  </a:lnTo>
                  <a:lnTo>
                    <a:pt x="1387" y="77"/>
                  </a:lnTo>
                  <a:lnTo>
                    <a:pt x="1380" y="81"/>
                  </a:lnTo>
                  <a:lnTo>
                    <a:pt x="1376" y="87"/>
                  </a:lnTo>
                  <a:lnTo>
                    <a:pt x="1374" y="83"/>
                  </a:lnTo>
                  <a:lnTo>
                    <a:pt x="1370" y="77"/>
                  </a:lnTo>
                  <a:lnTo>
                    <a:pt x="1366" y="77"/>
                  </a:lnTo>
                  <a:lnTo>
                    <a:pt x="1364" y="79"/>
                  </a:lnTo>
                  <a:lnTo>
                    <a:pt x="1358" y="96"/>
                  </a:lnTo>
                  <a:lnTo>
                    <a:pt x="1355" y="98"/>
                  </a:lnTo>
                  <a:lnTo>
                    <a:pt x="1351" y="113"/>
                  </a:lnTo>
                  <a:lnTo>
                    <a:pt x="1347" y="121"/>
                  </a:lnTo>
                  <a:lnTo>
                    <a:pt x="1337" y="131"/>
                  </a:lnTo>
                  <a:lnTo>
                    <a:pt x="1328" y="137"/>
                  </a:lnTo>
                  <a:lnTo>
                    <a:pt x="1324" y="138"/>
                  </a:lnTo>
                  <a:lnTo>
                    <a:pt x="1322" y="142"/>
                  </a:lnTo>
                  <a:lnTo>
                    <a:pt x="1320" y="144"/>
                  </a:lnTo>
                  <a:lnTo>
                    <a:pt x="1303" y="148"/>
                  </a:lnTo>
                  <a:lnTo>
                    <a:pt x="1270" y="152"/>
                  </a:lnTo>
                  <a:lnTo>
                    <a:pt x="1249" y="154"/>
                  </a:lnTo>
                  <a:lnTo>
                    <a:pt x="1243" y="152"/>
                  </a:lnTo>
                  <a:lnTo>
                    <a:pt x="1236" y="154"/>
                  </a:lnTo>
                  <a:lnTo>
                    <a:pt x="1222" y="162"/>
                  </a:lnTo>
                  <a:lnTo>
                    <a:pt x="1207" y="171"/>
                  </a:lnTo>
                  <a:lnTo>
                    <a:pt x="1199" y="179"/>
                  </a:lnTo>
                  <a:lnTo>
                    <a:pt x="1195" y="187"/>
                  </a:lnTo>
                  <a:lnTo>
                    <a:pt x="1201" y="181"/>
                  </a:lnTo>
                  <a:lnTo>
                    <a:pt x="1205" y="179"/>
                  </a:lnTo>
                  <a:lnTo>
                    <a:pt x="1188" y="211"/>
                  </a:lnTo>
                  <a:lnTo>
                    <a:pt x="1161" y="221"/>
                  </a:lnTo>
                  <a:lnTo>
                    <a:pt x="1120" y="221"/>
                  </a:lnTo>
                  <a:lnTo>
                    <a:pt x="1120" y="227"/>
                  </a:lnTo>
                  <a:lnTo>
                    <a:pt x="1122" y="231"/>
                  </a:lnTo>
                  <a:lnTo>
                    <a:pt x="1124" y="236"/>
                  </a:lnTo>
                  <a:lnTo>
                    <a:pt x="1113" y="248"/>
                  </a:lnTo>
                  <a:lnTo>
                    <a:pt x="1097" y="260"/>
                  </a:lnTo>
                  <a:lnTo>
                    <a:pt x="1082" y="267"/>
                  </a:lnTo>
                  <a:lnTo>
                    <a:pt x="1076" y="267"/>
                  </a:lnTo>
                  <a:lnTo>
                    <a:pt x="1069" y="265"/>
                  </a:lnTo>
                  <a:lnTo>
                    <a:pt x="1063" y="267"/>
                  </a:lnTo>
                  <a:lnTo>
                    <a:pt x="1063" y="275"/>
                  </a:lnTo>
                  <a:lnTo>
                    <a:pt x="1055" y="281"/>
                  </a:lnTo>
                  <a:lnTo>
                    <a:pt x="1042" y="288"/>
                  </a:lnTo>
                  <a:lnTo>
                    <a:pt x="1028" y="290"/>
                  </a:lnTo>
                  <a:lnTo>
                    <a:pt x="1024" y="283"/>
                  </a:lnTo>
                  <a:lnTo>
                    <a:pt x="1028" y="281"/>
                  </a:lnTo>
                  <a:lnTo>
                    <a:pt x="1026" y="277"/>
                  </a:lnTo>
                  <a:lnTo>
                    <a:pt x="1024" y="275"/>
                  </a:lnTo>
                  <a:lnTo>
                    <a:pt x="1009" y="275"/>
                  </a:lnTo>
                  <a:lnTo>
                    <a:pt x="1017" y="263"/>
                  </a:lnTo>
                  <a:lnTo>
                    <a:pt x="1026" y="254"/>
                  </a:lnTo>
                  <a:lnTo>
                    <a:pt x="1026" y="252"/>
                  </a:lnTo>
                  <a:lnTo>
                    <a:pt x="1028" y="252"/>
                  </a:lnTo>
                  <a:lnTo>
                    <a:pt x="1030" y="250"/>
                  </a:lnTo>
                  <a:lnTo>
                    <a:pt x="1030" y="246"/>
                  </a:lnTo>
                  <a:lnTo>
                    <a:pt x="1032" y="240"/>
                  </a:lnTo>
                  <a:lnTo>
                    <a:pt x="1034" y="238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5" name="Freeform 310"/>
            <p:cNvSpPr>
              <a:spLocks noEditPoints="1"/>
            </p:cNvSpPr>
            <p:nvPr/>
          </p:nvSpPr>
          <p:spPr bwMode="gray">
            <a:xfrm>
              <a:off x="2156" y="2945"/>
              <a:ext cx="151" cy="189"/>
            </a:xfrm>
            <a:custGeom>
              <a:avLst/>
              <a:gdLst>
                <a:gd name="T0" fmla="*/ 140 w 301"/>
                <a:gd name="T1" fmla="*/ 364 h 379"/>
                <a:gd name="T2" fmla="*/ 150 w 301"/>
                <a:gd name="T3" fmla="*/ 358 h 379"/>
                <a:gd name="T4" fmla="*/ 188 w 301"/>
                <a:gd name="T5" fmla="*/ 360 h 379"/>
                <a:gd name="T6" fmla="*/ 198 w 301"/>
                <a:gd name="T7" fmla="*/ 341 h 379"/>
                <a:gd name="T8" fmla="*/ 202 w 301"/>
                <a:gd name="T9" fmla="*/ 325 h 379"/>
                <a:gd name="T10" fmla="*/ 205 w 301"/>
                <a:gd name="T11" fmla="*/ 310 h 379"/>
                <a:gd name="T12" fmla="*/ 211 w 301"/>
                <a:gd name="T13" fmla="*/ 296 h 379"/>
                <a:gd name="T14" fmla="*/ 223 w 301"/>
                <a:gd name="T15" fmla="*/ 279 h 379"/>
                <a:gd name="T16" fmla="*/ 255 w 301"/>
                <a:gd name="T17" fmla="*/ 271 h 379"/>
                <a:gd name="T18" fmla="*/ 292 w 301"/>
                <a:gd name="T19" fmla="*/ 291 h 379"/>
                <a:gd name="T20" fmla="*/ 294 w 301"/>
                <a:gd name="T21" fmla="*/ 279 h 379"/>
                <a:gd name="T22" fmla="*/ 299 w 301"/>
                <a:gd name="T23" fmla="*/ 258 h 379"/>
                <a:gd name="T24" fmla="*/ 301 w 301"/>
                <a:gd name="T25" fmla="*/ 231 h 379"/>
                <a:gd name="T26" fmla="*/ 284 w 301"/>
                <a:gd name="T27" fmla="*/ 210 h 379"/>
                <a:gd name="T28" fmla="*/ 280 w 301"/>
                <a:gd name="T29" fmla="*/ 181 h 379"/>
                <a:gd name="T30" fmla="*/ 244 w 301"/>
                <a:gd name="T31" fmla="*/ 181 h 379"/>
                <a:gd name="T32" fmla="*/ 242 w 301"/>
                <a:gd name="T33" fmla="*/ 173 h 379"/>
                <a:gd name="T34" fmla="*/ 236 w 301"/>
                <a:gd name="T35" fmla="*/ 158 h 379"/>
                <a:gd name="T36" fmla="*/ 234 w 301"/>
                <a:gd name="T37" fmla="*/ 147 h 379"/>
                <a:gd name="T38" fmla="*/ 244 w 301"/>
                <a:gd name="T39" fmla="*/ 133 h 379"/>
                <a:gd name="T40" fmla="*/ 240 w 301"/>
                <a:gd name="T41" fmla="*/ 123 h 379"/>
                <a:gd name="T42" fmla="*/ 234 w 301"/>
                <a:gd name="T43" fmla="*/ 110 h 379"/>
                <a:gd name="T44" fmla="*/ 230 w 301"/>
                <a:gd name="T45" fmla="*/ 97 h 379"/>
                <a:gd name="T46" fmla="*/ 213 w 301"/>
                <a:gd name="T47" fmla="*/ 97 h 379"/>
                <a:gd name="T48" fmla="*/ 202 w 301"/>
                <a:gd name="T49" fmla="*/ 91 h 379"/>
                <a:gd name="T50" fmla="*/ 186 w 301"/>
                <a:gd name="T51" fmla="*/ 89 h 379"/>
                <a:gd name="T52" fmla="*/ 163 w 301"/>
                <a:gd name="T53" fmla="*/ 68 h 379"/>
                <a:gd name="T54" fmla="*/ 150 w 301"/>
                <a:gd name="T55" fmla="*/ 60 h 379"/>
                <a:gd name="T56" fmla="*/ 136 w 301"/>
                <a:gd name="T57" fmla="*/ 49 h 379"/>
                <a:gd name="T58" fmla="*/ 127 w 301"/>
                <a:gd name="T59" fmla="*/ 54 h 379"/>
                <a:gd name="T60" fmla="*/ 117 w 301"/>
                <a:gd name="T61" fmla="*/ 50 h 379"/>
                <a:gd name="T62" fmla="*/ 106 w 301"/>
                <a:gd name="T63" fmla="*/ 41 h 379"/>
                <a:gd name="T64" fmla="*/ 104 w 301"/>
                <a:gd name="T65" fmla="*/ 24 h 379"/>
                <a:gd name="T66" fmla="*/ 111 w 301"/>
                <a:gd name="T67" fmla="*/ 8 h 379"/>
                <a:gd name="T68" fmla="*/ 96 w 301"/>
                <a:gd name="T69" fmla="*/ 0 h 379"/>
                <a:gd name="T70" fmla="*/ 77 w 301"/>
                <a:gd name="T71" fmla="*/ 6 h 379"/>
                <a:gd name="T72" fmla="*/ 54 w 301"/>
                <a:gd name="T73" fmla="*/ 18 h 379"/>
                <a:gd name="T74" fmla="*/ 38 w 301"/>
                <a:gd name="T75" fmla="*/ 39 h 379"/>
                <a:gd name="T76" fmla="*/ 27 w 301"/>
                <a:gd name="T77" fmla="*/ 45 h 379"/>
                <a:gd name="T78" fmla="*/ 25 w 301"/>
                <a:gd name="T79" fmla="*/ 52 h 379"/>
                <a:gd name="T80" fmla="*/ 12 w 301"/>
                <a:gd name="T81" fmla="*/ 54 h 379"/>
                <a:gd name="T82" fmla="*/ 0 w 301"/>
                <a:gd name="T83" fmla="*/ 52 h 379"/>
                <a:gd name="T84" fmla="*/ 8 w 301"/>
                <a:gd name="T85" fmla="*/ 104 h 379"/>
                <a:gd name="T86" fmla="*/ 6 w 301"/>
                <a:gd name="T87" fmla="*/ 116 h 379"/>
                <a:gd name="T88" fmla="*/ 10 w 301"/>
                <a:gd name="T89" fmla="*/ 131 h 379"/>
                <a:gd name="T90" fmla="*/ 13 w 301"/>
                <a:gd name="T91" fmla="*/ 139 h 379"/>
                <a:gd name="T92" fmla="*/ 12 w 301"/>
                <a:gd name="T93" fmla="*/ 148 h 379"/>
                <a:gd name="T94" fmla="*/ 13 w 301"/>
                <a:gd name="T95" fmla="*/ 158 h 379"/>
                <a:gd name="T96" fmla="*/ 19 w 301"/>
                <a:gd name="T97" fmla="*/ 172 h 379"/>
                <a:gd name="T98" fmla="*/ 19 w 301"/>
                <a:gd name="T99" fmla="*/ 183 h 379"/>
                <a:gd name="T100" fmla="*/ 8 w 301"/>
                <a:gd name="T101" fmla="*/ 225 h 379"/>
                <a:gd name="T102" fmla="*/ 15 w 301"/>
                <a:gd name="T103" fmla="*/ 243 h 379"/>
                <a:gd name="T104" fmla="*/ 27 w 301"/>
                <a:gd name="T105" fmla="*/ 258 h 379"/>
                <a:gd name="T106" fmla="*/ 35 w 301"/>
                <a:gd name="T107" fmla="*/ 268 h 379"/>
                <a:gd name="T108" fmla="*/ 38 w 301"/>
                <a:gd name="T109" fmla="*/ 291 h 379"/>
                <a:gd name="T110" fmla="*/ 44 w 301"/>
                <a:gd name="T111" fmla="*/ 308 h 379"/>
                <a:gd name="T112" fmla="*/ 48 w 301"/>
                <a:gd name="T113" fmla="*/ 341 h 379"/>
                <a:gd name="T114" fmla="*/ 65 w 301"/>
                <a:gd name="T115" fmla="*/ 369 h 379"/>
                <a:gd name="T116" fmla="*/ 88 w 301"/>
                <a:gd name="T117" fmla="*/ 356 h 379"/>
                <a:gd name="T118" fmla="*/ 107 w 301"/>
                <a:gd name="T119" fmla="*/ 360 h 379"/>
                <a:gd name="T120" fmla="*/ 129 w 301"/>
                <a:gd name="T121" fmla="*/ 369 h 379"/>
                <a:gd name="T122" fmla="*/ 134 w 301"/>
                <a:gd name="T123" fmla="*/ 377 h 379"/>
                <a:gd name="T124" fmla="*/ 134 w 301"/>
                <a:gd name="T125" fmla="*/ 379 h 37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01"/>
                <a:gd name="T190" fmla="*/ 0 h 379"/>
                <a:gd name="T191" fmla="*/ 301 w 301"/>
                <a:gd name="T192" fmla="*/ 379 h 37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01" h="379">
                  <a:moveTo>
                    <a:pt x="134" y="377"/>
                  </a:moveTo>
                  <a:lnTo>
                    <a:pt x="140" y="364"/>
                  </a:lnTo>
                  <a:lnTo>
                    <a:pt x="146" y="356"/>
                  </a:lnTo>
                  <a:lnTo>
                    <a:pt x="150" y="358"/>
                  </a:lnTo>
                  <a:lnTo>
                    <a:pt x="150" y="360"/>
                  </a:lnTo>
                  <a:lnTo>
                    <a:pt x="188" y="360"/>
                  </a:lnTo>
                  <a:lnTo>
                    <a:pt x="196" y="341"/>
                  </a:lnTo>
                  <a:lnTo>
                    <a:pt x="198" y="341"/>
                  </a:lnTo>
                  <a:lnTo>
                    <a:pt x="198" y="335"/>
                  </a:lnTo>
                  <a:lnTo>
                    <a:pt x="202" y="325"/>
                  </a:lnTo>
                  <a:lnTo>
                    <a:pt x="202" y="314"/>
                  </a:lnTo>
                  <a:lnTo>
                    <a:pt x="205" y="310"/>
                  </a:lnTo>
                  <a:lnTo>
                    <a:pt x="209" y="304"/>
                  </a:lnTo>
                  <a:lnTo>
                    <a:pt x="211" y="296"/>
                  </a:lnTo>
                  <a:lnTo>
                    <a:pt x="215" y="289"/>
                  </a:lnTo>
                  <a:lnTo>
                    <a:pt x="223" y="279"/>
                  </a:lnTo>
                  <a:lnTo>
                    <a:pt x="226" y="273"/>
                  </a:lnTo>
                  <a:lnTo>
                    <a:pt x="255" y="271"/>
                  </a:lnTo>
                  <a:lnTo>
                    <a:pt x="278" y="277"/>
                  </a:lnTo>
                  <a:lnTo>
                    <a:pt x="292" y="291"/>
                  </a:lnTo>
                  <a:lnTo>
                    <a:pt x="299" y="287"/>
                  </a:lnTo>
                  <a:lnTo>
                    <a:pt x="294" y="279"/>
                  </a:lnTo>
                  <a:lnTo>
                    <a:pt x="294" y="271"/>
                  </a:lnTo>
                  <a:lnTo>
                    <a:pt x="299" y="258"/>
                  </a:lnTo>
                  <a:lnTo>
                    <a:pt x="301" y="246"/>
                  </a:lnTo>
                  <a:lnTo>
                    <a:pt x="301" y="231"/>
                  </a:lnTo>
                  <a:lnTo>
                    <a:pt x="297" y="225"/>
                  </a:lnTo>
                  <a:lnTo>
                    <a:pt x="284" y="210"/>
                  </a:lnTo>
                  <a:lnTo>
                    <a:pt x="280" y="204"/>
                  </a:lnTo>
                  <a:lnTo>
                    <a:pt x="280" y="181"/>
                  </a:lnTo>
                  <a:lnTo>
                    <a:pt x="282" y="177"/>
                  </a:lnTo>
                  <a:lnTo>
                    <a:pt x="244" y="181"/>
                  </a:lnTo>
                  <a:lnTo>
                    <a:pt x="244" y="179"/>
                  </a:lnTo>
                  <a:lnTo>
                    <a:pt x="242" y="173"/>
                  </a:lnTo>
                  <a:lnTo>
                    <a:pt x="240" y="166"/>
                  </a:lnTo>
                  <a:lnTo>
                    <a:pt x="236" y="158"/>
                  </a:lnTo>
                  <a:lnTo>
                    <a:pt x="232" y="152"/>
                  </a:lnTo>
                  <a:lnTo>
                    <a:pt x="234" y="147"/>
                  </a:lnTo>
                  <a:lnTo>
                    <a:pt x="242" y="135"/>
                  </a:lnTo>
                  <a:lnTo>
                    <a:pt x="244" y="133"/>
                  </a:lnTo>
                  <a:lnTo>
                    <a:pt x="242" y="131"/>
                  </a:lnTo>
                  <a:lnTo>
                    <a:pt x="240" y="123"/>
                  </a:lnTo>
                  <a:lnTo>
                    <a:pt x="238" y="118"/>
                  </a:lnTo>
                  <a:lnTo>
                    <a:pt x="234" y="110"/>
                  </a:lnTo>
                  <a:lnTo>
                    <a:pt x="232" y="102"/>
                  </a:lnTo>
                  <a:lnTo>
                    <a:pt x="230" y="97"/>
                  </a:lnTo>
                  <a:lnTo>
                    <a:pt x="225" y="93"/>
                  </a:lnTo>
                  <a:lnTo>
                    <a:pt x="213" y="97"/>
                  </a:lnTo>
                  <a:lnTo>
                    <a:pt x="207" y="95"/>
                  </a:lnTo>
                  <a:lnTo>
                    <a:pt x="202" y="91"/>
                  </a:lnTo>
                  <a:lnTo>
                    <a:pt x="194" y="91"/>
                  </a:lnTo>
                  <a:lnTo>
                    <a:pt x="186" y="89"/>
                  </a:lnTo>
                  <a:lnTo>
                    <a:pt x="175" y="79"/>
                  </a:lnTo>
                  <a:lnTo>
                    <a:pt x="163" y="68"/>
                  </a:lnTo>
                  <a:lnTo>
                    <a:pt x="155" y="64"/>
                  </a:lnTo>
                  <a:lnTo>
                    <a:pt x="150" y="60"/>
                  </a:lnTo>
                  <a:lnTo>
                    <a:pt x="144" y="52"/>
                  </a:lnTo>
                  <a:lnTo>
                    <a:pt x="136" y="49"/>
                  </a:lnTo>
                  <a:lnTo>
                    <a:pt x="132" y="52"/>
                  </a:lnTo>
                  <a:lnTo>
                    <a:pt x="127" y="54"/>
                  </a:lnTo>
                  <a:lnTo>
                    <a:pt x="123" y="52"/>
                  </a:lnTo>
                  <a:lnTo>
                    <a:pt x="117" y="50"/>
                  </a:lnTo>
                  <a:lnTo>
                    <a:pt x="109" y="47"/>
                  </a:lnTo>
                  <a:lnTo>
                    <a:pt x="106" y="41"/>
                  </a:lnTo>
                  <a:lnTo>
                    <a:pt x="104" y="35"/>
                  </a:lnTo>
                  <a:lnTo>
                    <a:pt x="104" y="24"/>
                  </a:lnTo>
                  <a:lnTo>
                    <a:pt x="109" y="14"/>
                  </a:lnTo>
                  <a:lnTo>
                    <a:pt x="111" y="8"/>
                  </a:lnTo>
                  <a:lnTo>
                    <a:pt x="107" y="0"/>
                  </a:lnTo>
                  <a:lnTo>
                    <a:pt x="96" y="0"/>
                  </a:lnTo>
                  <a:lnTo>
                    <a:pt x="86" y="2"/>
                  </a:lnTo>
                  <a:lnTo>
                    <a:pt x="77" y="6"/>
                  </a:lnTo>
                  <a:lnTo>
                    <a:pt x="65" y="10"/>
                  </a:lnTo>
                  <a:lnTo>
                    <a:pt x="54" y="18"/>
                  </a:lnTo>
                  <a:lnTo>
                    <a:pt x="44" y="31"/>
                  </a:lnTo>
                  <a:lnTo>
                    <a:pt x="38" y="39"/>
                  </a:lnTo>
                  <a:lnTo>
                    <a:pt x="31" y="41"/>
                  </a:lnTo>
                  <a:lnTo>
                    <a:pt x="27" y="45"/>
                  </a:lnTo>
                  <a:lnTo>
                    <a:pt x="27" y="49"/>
                  </a:lnTo>
                  <a:lnTo>
                    <a:pt x="25" y="52"/>
                  </a:lnTo>
                  <a:lnTo>
                    <a:pt x="19" y="56"/>
                  </a:lnTo>
                  <a:lnTo>
                    <a:pt x="12" y="54"/>
                  </a:lnTo>
                  <a:lnTo>
                    <a:pt x="6" y="52"/>
                  </a:lnTo>
                  <a:lnTo>
                    <a:pt x="0" y="52"/>
                  </a:lnTo>
                  <a:lnTo>
                    <a:pt x="15" y="85"/>
                  </a:lnTo>
                  <a:lnTo>
                    <a:pt x="8" y="104"/>
                  </a:lnTo>
                  <a:lnTo>
                    <a:pt x="8" y="106"/>
                  </a:lnTo>
                  <a:lnTo>
                    <a:pt x="6" y="116"/>
                  </a:lnTo>
                  <a:lnTo>
                    <a:pt x="6" y="123"/>
                  </a:lnTo>
                  <a:lnTo>
                    <a:pt x="10" y="131"/>
                  </a:lnTo>
                  <a:lnTo>
                    <a:pt x="12" y="137"/>
                  </a:lnTo>
                  <a:lnTo>
                    <a:pt x="13" y="139"/>
                  </a:lnTo>
                  <a:lnTo>
                    <a:pt x="12" y="141"/>
                  </a:lnTo>
                  <a:lnTo>
                    <a:pt x="12" y="148"/>
                  </a:lnTo>
                  <a:lnTo>
                    <a:pt x="13" y="152"/>
                  </a:lnTo>
                  <a:lnTo>
                    <a:pt x="13" y="158"/>
                  </a:lnTo>
                  <a:lnTo>
                    <a:pt x="17" y="170"/>
                  </a:lnTo>
                  <a:lnTo>
                    <a:pt x="19" y="172"/>
                  </a:lnTo>
                  <a:lnTo>
                    <a:pt x="21" y="177"/>
                  </a:lnTo>
                  <a:lnTo>
                    <a:pt x="19" y="183"/>
                  </a:lnTo>
                  <a:lnTo>
                    <a:pt x="4" y="208"/>
                  </a:lnTo>
                  <a:lnTo>
                    <a:pt x="8" y="225"/>
                  </a:lnTo>
                  <a:lnTo>
                    <a:pt x="10" y="231"/>
                  </a:lnTo>
                  <a:lnTo>
                    <a:pt x="15" y="243"/>
                  </a:lnTo>
                  <a:lnTo>
                    <a:pt x="21" y="252"/>
                  </a:lnTo>
                  <a:lnTo>
                    <a:pt x="27" y="258"/>
                  </a:lnTo>
                  <a:lnTo>
                    <a:pt x="31" y="264"/>
                  </a:lnTo>
                  <a:lnTo>
                    <a:pt x="35" y="268"/>
                  </a:lnTo>
                  <a:lnTo>
                    <a:pt x="35" y="271"/>
                  </a:lnTo>
                  <a:lnTo>
                    <a:pt x="38" y="291"/>
                  </a:lnTo>
                  <a:lnTo>
                    <a:pt x="42" y="298"/>
                  </a:lnTo>
                  <a:lnTo>
                    <a:pt x="44" y="308"/>
                  </a:lnTo>
                  <a:lnTo>
                    <a:pt x="48" y="323"/>
                  </a:lnTo>
                  <a:lnTo>
                    <a:pt x="48" y="341"/>
                  </a:lnTo>
                  <a:lnTo>
                    <a:pt x="52" y="362"/>
                  </a:lnTo>
                  <a:lnTo>
                    <a:pt x="65" y="369"/>
                  </a:lnTo>
                  <a:lnTo>
                    <a:pt x="84" y="354"/>
                  </a:lnTo>
                  <a:lnTo>
                    <a:pt x="88" y="356"/>
                  </a:lnTo>
                  <a:lnTo>
                    <a:pt x="96" y="358"/>
                  </a:lnTo>
                  <a:lnTo>
                    <a:pt x="107" y="360"/>
                  </a:lnTo>
                  <a:lnTo>
                    <a:pt x="123" y="360"/>
                  </a:lnTo>
                  <a:lnTo>
                    <a:pt x="129" y="369"/>
                  </a:lnTo>
                  <a:lnTo>
                    <a:pt x="132" y="377"/>
                  </a:lnTo>
                  <a:lnTo>
                    <a:pt x="134" y="377"/>
                  </a:lnTo>
                  <a:close/>
                  <a:moveTo>
                    <a:pt x="134" y="377"/>
                  </a:moveTo>
                  <a:lnTo>
                    <a:pt x="134" y="379"/>
                  </a:lnTo>
                  <a:lnTo>
                    <a:pt x="134" y="377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6" name="Freeform 311"/>
            <p:cNvSpPr>
              <a:spLocks/>
            </p:cNvSpPr>
            <p:nvPr/>
          </p:nvSpPr>
          <p:spPr bwMode="gray">
            <a:xfrm>
              <a:off x="2101" y="2704"/>
              <a:ext cx="496" cy="613"/>
            </a:xfrm>
            <a:custGeom>
              <a:avLst/>
              <a:gdLst>
                <a:gd name="T0" fmla="*/ 249 w 992"/>
                <a:gd name="T1" fmla="*/ 35 h 1226"/>
                <a:gd name="T2" fmla="*/ 240 w 992"/>
                <a:gd name="T3" fmla="*/ 54 h 1226"/>
                <a:gd name="T4" fmla="*/ 255 w 992"/>
                <a:gd name="T5" fmla="*/ 94 h 1226"/>
                <a:gd name="T6" fmla="*/ 257 w 992"/>
                <a:gd name="T7" fmla="*/ 114 h 1226"/>
                <a:gd name="T8" fmla="*/ 197 w 992"/>
                <a:gd name="T9" fmla="*/ 135 h 1226"/>
                <a:gd name="T10" fmla="*/ 151 w 992"/>
                <a:gd name="T11" fmla="*/ 140 h 1226"/>
                <a:gd name="T12" fmla="*/ 124 w 992"/>
                <a:gd name="T13" fmla="*/ 167 h 1226"/>
                <a:gd name="T14" fmla="*/ 123 w 992"/>
                <a:gd name="T15" fmla="*/ 215 h 1226"/>
                <a:gd name="T16" fmla="*/ 67 w 992"/>
                <a:gd name="T17" fmla="*/ 296 h 1226"/>
                <a:gd name="T18" fmla="*/ 15 w 992"/>
                <a:gd name="T19" fmla="*/ 350 h 1226"/>
                <a:gd name="T20" fmla="*/ 0 w 992"/>
                <a:gd name="T21" fmla="*/ 373 h 1226"/>
                <a:gd name="T22" fmla="*/ 15 w 992"/>
                <a:gd name="T23" fmla="*/ 423 h 1226"/>
                <a:gd name="T24" fmla="*/ 84 w 992"/>
                <a:gd name="T25" fmla="*/ 444 h 1226"/>
                <a:gd name="T26" fmla="*/ 136 w 992"/>
                <a:gd name="T27" fmla="*/ 534 h 1226"/>
                <a:gd name="T28" fmla="*/ 188 w 992"/>
                <a:gd name="T29" fmla="*/ 488 h 1226"/>
                <a:gd name="T30" fmla="*/ 217 w 992"/>
                <a:gd name="T31" fmla="*/ 523 h 1226"/>
                <a:gd name="T32" fmla="*/ 261 w 992"/>
                <a:gd name="T33" fmla="*/ 542 h 1226"/>
                <a:gd name="T34" fmla="*/ 324 w 992"/>
                <a:gd name="T35" fmla="*/ 579 h 1226"/>
                <a:gd name="T36" fmla="*/ 355 w 992"/>
                <a:gd name="T37" fmla="*/ 615 h 1226"/>
                <a:gd name="T38" fmla="*/ 355 w 992"/>
                <a:gd name="T39" fmla="*/ 663 h 1226"/>
                <a:gd name="T40" fmla="*/ 410 w 992"/>
                <a:gd name="T41" fmla="*/ 740 h 1226"/>
                <a:gd name="T42" fmla="*/ 412 w 992"/>
                <a:gd name="T43" fmla="*/ 790 h 1226"/>
                <a:gd name="T44" fmla="*/ 453 w 992"/>
                <a:gd name="T45" fmla="*/ 836 h 1226"/>
                <a:gd name="T46" fmla="*/ 478 w 992"/>
                <a:gd name="T47" fmla="*/ 905 h 1226"/>
                <a:gd name="T48" fmla="*/ 489 w 992"/>
                <a:gd name="T49" fmla="*/ 959 h 1226"/>
                <a:gd name="T50" fmla="*/ 514 w 992"/>
                <a:gd name="T51" fmla="*/ 1011 h 1226"/>
                <a:gd name="T52" fmla="*/ 472 w 992"/>
                <a:gd name="T53" fmla="*/ 1046 h 1226"/>
                <a:gd name="T54" fmla="*/ 439 w 992"/>
                <a:gd name="T55" fmla="*/ 1084 h 1226"/>
                <a:gd name="T56" fmla="*/ 458 w 992"/>
                <a:gd name="T57" fmla="*/ 1128 h 1226"/>
                <a:gd name="T58" fmla="*/ 503 w 992"/>
                <a:gd name="T59" fmla="*/ 1167 h 1226"/>
                <a:gd name="T60" fmla="*/ 522 w 992"/>
                <a:gd name="T61" fmla="*/ 1217 h 1226"/>
                <a:gd name="T62" fmla="*/ 549 w 992"/>
                <a:gd name="T63" fmla="*/ 1170 h 1226"/>
                <a:gd name="T64" fmla="*/ 593 w 992"/>
                <a:gd name="T65" fmla="*/ 1124 h 1226"/>
                <a:gd name="T66" fmla="*/ 602 w 992"/>
                <a:gd name="T67" fmla="*/ 1128 h 1226"/>
                <a:gd name="T68" fmla="*/ 643 w 992"/>
                <a:gd name="T69" fmla="*/ 967 h 1226"/>
                <a:gd name="T70" fmla="*/ 670 w 992"/>
                <a:gd name="T71" fmla="*/ 940 h 1226"/>
                <a:gd name="T72" fmla="*/ 742 w 992"/>
                <a:gd name="T73" fmla="*/ 901 h 1226"/>
                <a:gd name="T74" fmla="*/ 789 w 992"/>
                <a:gd name="T75" fmla="*/ 869 h 1226"/>
                <a:gd name="T76" fmla="*/ 854 w 992"/>
                <a:gd name="T77" fmla="*/ 777 h 1226"/>
                <a:gd name="T78" fmla="*/ 875 w 992"/>
                <a:gd name="T79" fmla="*/ 698 h 1226"/>
                <a:gd name="T80" fmla="*/ 873 w 992"/>
                <a:gd name="T81" fmla="*/ 592 h 1226"/>
                <a:gd name="T82" fmla="*/ 888 w 992"/>
                <a:gd name="T83" fmla="*/ 544 h 1226"/>
                <a:gd name="T84" fmla="*/ 973 w 992"/>
                <a:gd name="T85" fmla="*/ 459 h 1226"/>
                <a:gd name="T86" fmla="*/ 967 w 992"/>
                <a:gd name="T87" fmla="*/ 325 h 1226"/>
                <a:gd name="T88" fmla="*/ 921 w 992"/>
                <a:gd name="T89" fmla="*/ 302 h 1226"/>
                <a:gd name="T90" fmla="*/ 819 w 992"/>
                <a:gd name="T91" fmla="*/ 248 h 1226"/>
                <a:gd name="T92" fmla="*/ 765 w 992"/>
                <a:gd name="T93" fmla="*/ 244 h 1226"/>
                <a:gd name="T94" fmla="*/ 750 w 992"/>
                <a:gd name="T95" fmla="*/ 217 h 1226"/>
                <a:gd name="T96" fmla="*/ 685 w 992"/>
                <a:gd name="T97" fmla="*/ 181 h 1226"/>
                <a:gd name="T98" fmla="*/ 643 w 992"/>
                <a:gd name="T99" fmla="*/ 210 h 1226"/>
                <a:gd name="T100" fmla="*/ 646 w 992"/>
                <a:gd name="T101" fmla="*/ 183 h 1226"/>
                <a:gd name="T102" fmla="*/ 604 w 992"/>
                <a:gd name="T103" fmla="*/ 148 h 1226"/>
                <a:gd name="T104" fmla="*/ 600 w 992"/>
                <a:gd name="T105" fmla="*/ 94 h 1226"/>
                <a:gd name="T106" fmla="*/ 564 w 992"/>
                <a:gd name="T107" fmla="*/ 39 h 1226"/>
                <a:gd name="T108" fmla="*/ 514 w 992"/>
                <a:gd name="T109" fmla="*/ 100 h 1226"/>
                <a:gd name="T110" fmla="*/ 470 w 992"/>
                <a:gd name="T111" fmla="*/ 87 h 1226"/>
                <a:gd name="T112" fmla="*/ 418 w 992"/>
                <a:gd name="T113" fmla="*/ 110 h 1226"/>
                <a:gd name="T114" fmla="*/ 389 w 992"/>
                <a:gd name="T115" fmla="*/ 121 h 1226"/>
                <a:gd name="T116" fmla="*/ 357 w 992"/>
                <a:gd name="T117" fmla="*/ 108 h 1226"/>
                <a:gd name="T118" fmla="*/ 372 w 992"/>
                <a:gd name="T119" fmla="*/ 39 h 1226"/>
                <a:gd name="T120" fmla="*/ 362 w 992"/>
                <a:gd name="T121" fmla="*/ 8 h 1226"/>
                <a:gd name="T122" fmla="*/ 324 w 992"/>
                <a:gd name="T123" fmla="*/ 17 h 1226"/>
                <a:gd name="T124" fmla="*/ 288 w 992"/>
                <a:gd name="T125" fmla="*/ 33 h 122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92"/>
                <a:gd name="T190" fmla="*/ 0 h 1226"/>
                <a:gd name="T191" fmla="*/ 992 w 992"/>
                <a:gd name="T192" fmla="*/ 1226 h 122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92" h="1226">
                  <a:moveTo>
                    <a:pt x="282" y="44"/>
                  </a:moveTo>
                  <a:lnTo>
                    <a:pt x="284" y="44"/>
                  </a:lnTo>
                  <a:lnTo>
                    <a:pt x="274" y="44"/>
                  </a:lnTo>
                  <a:lnTo>
                    <a:pt x="268" y="40"/>
                  </a:lnTo>
                  <a:lnTo>
                    <a:pt x="261" y="39"/>
                  </a:lnTo>
                  <a:lnTo>
                    <a:pt x="255" y="37"/>
                  </a:lnTo>
                  <a:lnTo>
                    <a:pt x="251" y="37"/>
                  </a:lnTo>
                  <a:lnTo>
                    <a:pt x="249" y="35"/>
                  </a:lnTo>
                  <a:lnTo>
                    <a:pt x="243" y="33"/>
                  </a:lnTo>
                  <a:lnTo>
                    <a:pt x="234" y="31"/>
                  </a:lnTo>
                  <a:lnTo>
                    <a:pt x="228" y="31"/>
                  </a:lnTo>
                  <a:lnTo>
                    <a:pt x="228" y="33"/>
                  </a:lnTo>
                  <a:lnTo>
                    <a:pt x="234" y="39"/>
                  </a:lnTo>
                  <a:lnTo>
                    <a:pt x="234" y="42"/>
                  </a:lnTo>
                  <a:lnTo>
                    <a:pt x="236" y="48"/>
                  </a:lnTo>
                  <a:lnTo>
                    <a:pt x="240" y="54"/>
                  </a:lnTo>
                  <a:lnTo>
                    <a:pt x="243" y="62"/>
                  </a:lnTo>
                  <a:lnTo>
                    <a:pt x="241" y="67"/>
                  </a:lnTo>
                  <a:lnTo>
                    <a:pt x="240" y="75"/>
                  </a:lnTo>
                  <a:lnTo>
                    <a:pt x="240" y="83"/>
                  </a:lnTo>
                  <a:lnTo>
                    <a:pt x="241" y="87"/>
                  </a:lnTo>
                  <a:lnTo>
                    <a:pt x="245" y="90"/>
                  </a:lnTo>
                  <a:lnTo>
                    <a:pt x="249" y="92"/>
                  </a:lnTo>
                  <a:lnTo>
                    <a:pt x="255" y="94"/>
                  </a:lnTo>
                  <a:lnTo>
                    <a:pt x="261" y="92"/>
                  </a:lnTo>
                  <a:lnTo>
                    <a:pt x="268" y="90"/>
                  </a:lnTo>
                  <a:lnTo>
                    <a:pt x="272" y="90"/>
                  </a:lnTo>
                  <a:lnTo>
                    <a:pt x="276" y="94"/>
                  </a:lnTo>
                  <a:lnTo>
                    <a:pt x="276" y="98"/>
                  </a:lnTo>
                  <a:lnTo>
                    <a:pt x="268" y="102"/>
                  </a:lnTo>
                  <a:lnTo>
                    <a:pt x="263" y="106"/>
                  </a:lnTo>
                  <a:lnTo>
                    <a:pt x="257" y="114"/>
                  </a:lnTo>
                  <a:lnTo>
                    <a:pt x="253" y="117"/>
                  </a:lnTo>
                  <a:lnTo>
                    <a:pt x="241" y="123"/>
                  </a:lnTo>
                  <a:lnTo>
                    <a:pt x="236" y="127"/>
                  </a:lnTo>
                  <a:lnTo>
                    <a:pt x="232" y="133"/>
                  </a:lnTo>
                  <a:lnTo>
                    <a:pt x="220" y="137"/>
                  </a:lnTo>
                  <a:lnTo>
                    <a:pt x="213" y="140"/>
                  </a:lnTo>
                  <a:lnTo>
                    <a:pt x="211" y="144"/>
                  </a:lnTo>
                  <a:lnTo>
                    <a:pt x="197" y="135"/>
                  </a:lnTo>
                  <a:lnTo>
                    <a:pt x="190" y="133"/>
                  </a:lnTo>
                  <a:lnTo>
                    <a:pt x="188" y="121"/>
                  </a:lnTo>
                  <a:lnTo>
                    <a:pt x="178" y="119"/>
                  </a:lnTo>
                  <a:lnTo>
                    <a:pt x="176" y="131"/>
                  </a:lnTo>
                  <a:lnTo>
                    <a:pt x="167" y="135"/>
                  </a:lnTo>
                  <a:lnTo>
                    <a:pt x="159" y="129"/>
                  </a:lnTo>
                  <a:lnTo>
                    <a:pt x="159" y="140"/>
                  </a:lnTo>
                  <a:lnTo>
                    <a:pt x="151" y="140"/>
                  </a:lnTo>
                  <a:lnTo>
                    <a:pt x="136" y="142"/>
                  </a:lnTo>
                  <a:lnTo>
                    <a:pt x="124" y="144"/>
                  </a:lnTo>
                  <a:lnTo>
                    <a:pt x="119" y="144"/>
                  </a:lnTo>
                  <a:lnTo>
                    <a:pt x="113" y="146"/>
                  </a:lnTo>
                  <a:lnTo>
                    <a:pt x="111" y="146"/>
                  </a:lnTo>
                  <a:lnTo>
                    <a:pt x="111" y="162"/>
                  </a:lnTo>
                  <a:lnTo>
                    <a:pt x="121" y="162"/>
                  </a:lnTo>
                  <a:lnTo>
                    <a:pt x="124" y="167"/>
                  </a:lnTo>
                  <a:lnTo>
                    <a:pt x="124" y="175"/>
                  </a:lnTo>
                  <a:lnTo>
                    <a:pt x="105" y="177"/>
                  </a:lnTo>
                  <a:lnTo>
                    <a:pt x="107" y="187"/>
                  </a:lnTo>
                  <a:lnTo>
                    <a:pt x="109" y="188"/>
                  </a:lnTo>
                  <a:lnTo>
                    <a:pt x="117" y="190"/>
                  </a:lnTo>
                  <a:lnTo>
                    <a:pt x="121" y="194"/>
                  </a:lnTo>
                  <a:lnTo>
                    <a:pt x="123" y="202"/>
                  </a:lnTo>
                  <a:lnTo>
                    <a:pt x="123" y="215"/>
                  </a:lnTo>
                  <a:lnTo>
                    <a:pt x="115" y="235"/>
                  </a:lnTo>
                  <a:lnTo>
                    <a:pt x="101" y="269"/>
                  </a:lnTo>
                  <a:lnTo>
                    <a:pt x="96" y="285"/>
                  </a:lnTo>
                  <a:lnTo>
                    <a:pt x="96" y="288"/>
                  </a:lnTo>
                  <a:lnTo>
                    <a:pt x="92" y="292"/>
                  </a:lnTo>
                  <a:lnTo>
                    <a:pt x="88" y="294"/>
                  </a:lnTo>
                  <a:lnTo>
                    <a:pt x="75" y="294"/>
                  </a:lnTo>
                  <a:lnTo>
                    <a:pt x="67" y="296"/>
                  </a:lnTo>
                  <a:lnTo>
                    <a:pt x="61" y="298"/>
                  </a:lnTo>
                  <a:lnTo>
                    <a:pt x="51" y="302"/>
                  </a:lnTo>
                  <a:lnTo>
                    <a:pt x="46" y="306"/>
                  </a:lnTo>
                  <a:lnTo>
                    <a:pt x="38" y="311"/>
                  </a:lnTo>
                  <a:lnTo>
                    <a:pt x="30" y="315"/>
                  </a:lnTo>
                  <a:lnTo>
                    <a:pt x="25" y="321"/>
                  </a:lnTo>
                  <a:lnTo>
                    <a:pt x="19" y="344"/>
                  </a:lnTo>
                  <a:lnTo>
                    <a:pt x="15" y="350"/>
                  </a:lnTo>
                  <a:lnTo>
                    <a:pt x="13" y="354"/>
                  </a:lnTo>
                  <a:lnTo>
                    <a:pt x="11" y="359"/>
                  </a:lnTo>
                  <a:lnTo>
                    <a:pt x="9" y="367"/>
                  </a:lnTo>
                  <a:lnTo>
                    <a:pt x="11" y="371"/>
                  </a:lnTo>
                  <a:lnTo>
                    <a:pt x="11" y="373"/>
                  </a:lnTo>
                  <a:lnTo>
                    <a:pt x="7" y="373"/>
                  </a:lnTo>
                  <a:lnTo>
                    <a:pt x="2" y="371"/>
                  </a:lnTo>
                  <a:lnTo>
                    <a:pt x="0" y="373"/>
                  </a:lnTo>
                  <a:lnTo>
                    <a:pt x="2" y="381"/>
                  </a:lnTo>
                  <a:lnTo>
                    <a:pt x="2" y="386"/>
                  </a:lnTo>
                  <a:lnTo>
                    <a:pt x="7" y="396"/>
                  </a:lnTo>
                  <a:lnTo>
                    <a:pt x="9" y="402"/>
                  </a:lnTo>
                  <a:lnTo>
                    <a:pt x="9" y="404"/>
                  </a:lnTo>
                  <a:lnTo>
                    <a:pt x="5" y="417"/>
                  </a:lnTo>
                  <a:lnTo>
                    <a:pt x="9" y="417"/>
                  </a:lnTo>
                  <a:lnTo>
                    <a:pt x="15" y="423"/>
                  </a:lnTo>
                  <a:lnTo>
                    <a:pt x="19" y="429"/>
                  </a:lnTo>
                  <a:lnTo>
                    <a:pt x="25" y="434"/>
                  </a:lnTo>
                  <a:lnTo>
                    <a:pt x="32" y="440"/>
                  </a:lnTo>
                  <a:lnTo>
                    <a:pt x="36" y="446"/>
                  </a:lnTo>
                  <a:lnTo>
                    <a:pt x="38" y="452"/>
                  </a:lnTo>
                  <a:lnTo>
                    <a:pt x="40" y="456"/>
                  </a:lnTo>
                  <a:lnTo>
                    <a:pt x="69" y="456"/>
                  </a:lnTo>
                  <a:lnTo>
                    <a:pt x="84" y="444"/>
                  </a:lnTo>
                  <a:lnTo>
                    <a:pt x="88" y="444"/>
                  </a:lnTo>
                  <a:lnTo>
                    <a:pt x="88" y="450"/>
                  </a:lnTo>
                  <a:lnTo>
                    <a:pt x="82" y="525"/>
                  </a:lnTo>
                  <a:lnTo>
                    <a:pt x="111" y="534"/>
                  </a:lnTo>
                  <a:lnTo>
                    <a:pt x="117" y="534"/>
                  </a:lnTo>
                  <a:lnTo>
                    <a:pt x="123" y="536"/>
                  </a:lnTo>
                  <a:lnTo>
                    <a:pt x="130" y="538"/>
                  </a:lnTo>
                  <a:lnTo>
                    <a:pt x="136" y="534"/>
                  </a:lnTo>
                  <a:lnTo>
                    <a:pt x="138" y="531"/>
                  </a:lnTo>
                  <a:lnTo>
                    <a:pt x="138" y="527"/>
                  </a:lnTo>
                  <a:lnTo>
                    <a:pt x="142" y="523"/>
                  </a:lnTo>
                  <a:lnTo>
                    <a:pt x="149" y="521"/>
                  </a:lnTo>
                  <a:lnTo>
                    <a:pt x="155" y="513"/>
                  </a:lnTo>
                  <a:lnTo>
                    <a:pt x="165" y="500"/>
                  </a:lnTo>
                  <a:lnTo>
                    <a:pt x="176" y="492"/>
                  </a:lnTo>
                  <a:lnTo>
                    <a:pt x="188" y="488"/>
                  </a:lnTo>
                  <a:lnTo>
                    <a:pt x="197" y="484"/>
                  </a:lnTo>
                  <a:lnTo>
                    <a:pt x="207" y="482"/>
                  </a:lnTo>
                  <a:lnTo>
                    <a:pt x="218" y="482"/>
                  </a:lnTo>
                  <a:lnTo>
                    <a:pt x="222" y="490"/>
                  </a:lnTo>
                  <a:lnTo>
                    <a:pt x="220" y="496"/>
                  </a:lnTo>
                  <a:lnTo>
                    <a:pt x="215" y="506"/>
                  </a:lnTo>
                  <a:lnTo>
                    <a:pt x="215" y="517"/>
                  </a:lnTo>
                  <a:lnTo>
                    <a:pt x="217" y="523"/>
                  </a:lnTo>
                  <a:lnTo>
                    <a:pt x="220" y="529"/>
                  </a:lnTo>
                  <a:lnTo>
                    <a:pt x="228" y="532"/>
                  </a:lnTo>
                  <a:lnTo>
                    <a:pt x="234" y="534"/>
                  </a:lnTo>
                  <a:lnTo>
                    <a:pt x="238" y="536"/>
                  </a:lnTo>
                  <a:lnTo>
                    <a:pt x="243" y="534"/>
                  </a:lnTo>
                  <a:lnTo>
                    <a:pt x="247" y="531"/>
                  </a:lnTo>
                  <a:lnTo>
                    <a:pt x="255" y="534"/>
                  </a:lnTo>
                  <a:lnTo>
                    <a:pt x="261" y="542"/>
                  </a:lnTo>
                  <a:lnTo>
                    <a:pt x="266" y="546"/>
                  </a:lnTo>
                  <a:lnTo>
                    <a:pt x="274" y="550"/>
                  </a:lnTo>
                  <a:lnTo>
                    <a:pt x="286" y="561"/>
                  </a:lnTo>
                  <a:lnTo>
                    <a:pt x="297" y="571"/>
                  </a:lnTo>
                  <a:lnTo>
                    <a:pt x="305" y="573"/>
                  </a:lnTo>
                  <a:lnTo>
                    <a:pt x="313" y="573"/>
                  </a:lnTo>
                  <a:lnTo>
                    <a:pt x="318" y="577"/>
                  </a:lnTo>
                  <a:lnTo>
                    <a:pt x="324" y="579"/>
                  </a:lnTo>
                  <a:lnTo>
                    <a:pt x="336" y="575"/>
                  </a:lnTo>
                  <a:lnTo>
                    <a:pt x="341" y="579"/>
                  </a:lnTo>
                  <a:lnTo>
                    <a:pt x="343" y="584"/>
                  </a:lnTo>
                  <a:lnTo>
                    <a:pt x="345" y="592"/>
                  </a:lnTo>
                  <a:lnTo>
                    <a:pt x="349" y="600"/>
                  </a:lnTo>
                  <a:lnTo>
                    <a:pt x="351" y="605"/>
                  </a:lnTo>
                  <a:lnTo>
                    <a:pt x="353" y="613"/>
                  </a:lnTo>
                  <a:lnTo>
                    <a:pt x="355" y="615"/>
                  </a:lnTo>
                  <a:lnTo>
                    <a:pt x="353" y="617"/>
                  </a:lnTo>
                  <a:lnTo>
                    <a:pt x="345" y="629"/>
                  </a:lnTo>
                  <a:lnTo>
                    <a:pt x="343" y="634"/>
                  </a:lnTo>
                  <a:lnTo>
                    <a:pt x="347" y="640"/>
                  </a:lnTo>
                  <a:lnTo>
                    <a:pt x="351" y="648"/>
                  </a:lnTo>
                  <a:lnTo>
                    <a:pt x="353" y="655"/>
                  </a:lnTo>
                  <a:lnTo>
                    <a:pt x="355" y="661"/>
                  </a:lnTo>
                  <a:lnTo>
                    <a:pt x="355" y="663"/>
                  </a:lnTo>
                  <a:lnTo>
                    <a:pt x="393" y="659"/>
                  </a:lnTo>
                  <a:lnTo>
                    <a:pt x="391" y="663"/>
                  </a:lnTo>
                  <a:lnTo>
                    <a:pt x="391" y="686"/>
                  </a:lnTo>
                  <a:lnTo>
                    <a:pt x="395" y="692"/>
                  </a:lnTo>
                  <a:lnTo>
                    <a:pt x="408" y="707"/>
                  </a:lnTo>
                  <a:lnTo>
                    <a:pt x="412" y="713"/>
                  </a:lnTo>
                  <a:lnTo>
                    <a:pt x="412" y="728"/>
                  </a:lnTo>
                  <a:lnTo>
                    <a:pt x="410" y="740"/>
                  </a:lnTo>
                  <a:lnTo>
                    <a:pt x="405" y="753"/>
                  </a:lnTo>
                  <a:lnTo>
                    <a:pt x="405" y="761"/>
                  </a:lnTo>
                  <a:lnTo>
                    <a:pt x="410" y="769"/>
                  </a:lnTo>
                  <a:lnTo>
                    <a:pt x="405" y="773"/>
                  </a:lnTo>
                  <a:lnTo>
                    <a:pt x="407" y="778"/>
                  </a:lnTo>
                  <a:lnTo>
                    <a:pt x="407" y="780"/>
                  </a:lnTo>
                  <a:lnTo>
                    <a:pt x="408" y="784"/>
                  </a:lnTo>
                  <a:lnTo>
                    <a:pt x="412" y="790"/>
                  </a:lnTo>
                  <a:lnTo>
                    <a:pt x="414" y="796"/>
                  </a:lnTo>
                  <a:lnTo>
                    <a:pt x="414" y="821"/>
                  </a:lnTo>
                  <a:lnTo>
                    <a:pt x="416" y="828"/>
                  </a:lnTo>
                  <a:lnTo>
                    <a:pt x="418" y="834"/>
                  </a:lnTo>
                  <a:lnTo>
                    <a:pt x="424" y="838"/>
                  </a:lnTo>
                  <a:lnTo>
                    <a:pt x="439" y="840"/>
                  </a:lnTo>
                  <a:lnTo>
                    <a:pt x="445" y="842"/>
                  </a:lnTo>
                  <a:lnTo>
                    <a:pt x="453" y="836"/>
                  </a:lnTo>
                  <a:lnTo>
                    <a:pt x="456" y="842"/>
                  </a:lnTo>
                  <a:lnTo>
                    <a:pt x="456" y="846"/>
                  </a:lnTo>
                  <a:lnTo>
                    <a:pt x="458" y="850"/>
                  </a:lnTo>
                  <a:lnTo>
                    <a:pt x="470" y="853"/>
                  </a:lnTo>
                  <a:lnTo>
                    <a:pt x="474" y="857"/>
                  </a:lnTo>
                  <a:lnTo>
                    <a:pt x="476" y="865"/>
                  </a:lnTo>
                  <a:lnTo>
                    <a:pt x="476" y="901"/>
                  </a:lnTo>
                  <a:lnTo>
                    <a:pt x="478" y="905"/>
                  </a:lnTo>
                  <a:lnTo>
                    <a:pt x="481" y="907"/>
                  </a:lnTo>
                  <a:lnTo>
                    <a:pt x="493" y="903"/>
                  </a:lnTo>
                  <a:lnTo>
                    <a:pt x="497" y="905"/>
                  </a:lnTo>
                  <a:lnTo>
                    <a:pt x="497" y="911"/>
                  </a:lnTo>
                  <a:lnTo>
                    <a:pt x="495" y="923"/>
                  </a:lnTo>
                  <a:lnTo>
                    <a:pt x="493" y="930"/>
                  </a:lnTo>
                  <a:lnTo>
                    <a:pt x="489" y="940"/>
                  </a:lnTo>
                  <a:lnTo>
                    <a:pt x="489" y="959"/>
                  </a:lnTo>
                  <a:lnTo>
                    <a:pt x="501" y="965"/>
                  </a:lnTo>
                  <a:lnTo>
                    <a:pt x="503" y="961"/>
                  </a:lnTo>
                  <a:lnTo>
                    <a:pt x="504" y="959"/>
                  </a:lnTo>
                  <a:lnTo>
                    <a:pt x="508" y="959"/>
                  </a:lnTo>
                  <a:lnTo>
                    <a:pt x="512" y="961"/>
                  </a:lnTo>
                  <a:lnTo>
                    <a:pt x="512" y="982"/>
                  </a:lnTo>
                  <a:lnTo>
                    <a:pt x="514" y="992"/>
                  </a:lnTo>
                  <a:lnTo>
                    <a:pt x="514" y="1011"/>
                  </a:lnTo>
                  <a:lnTo>
                    <a:pt x="508" y="1015"/>
                  </a:lnTo>
                  <a:lnTo>
                    <a:pt x="504" y="1019"/>
                  </a:lnTo>
                  <a:lnTo>
                    <a:pt x="499" y="1021"/>
                  </a:lnTo>
                  <a:lnTo>
                    <a:pt x="489" y="1024"/>
                  </a:lnTo>
                  <a:lnTo>
                    <a:pt x="483" y="1028"/>
                  </a:lnTo>
                  <a:lnTo>
                    <a:pt x="481" y="1034"/>
                  </a:lnTo>
                  <a:lnTo>
                    <a:pt x="478" y="1040"/>
                  </a:lnTo>
                  <a:lnTo>
                    <a:pt x="472" y="1046"/>
                  </a:lnTo>
                  <a:lnTo>
                    <a:pt x="466" y="1049"/>
                  </a:lnTo>
                  <a:lnTo>
                    <a:pt x="462" y="1051"/>
                  </a:lnTo>
                  <a:lnTo>
                    <a:pt x="460" y="1055"/>
                  </a:lnTo>
                  <a:lnTo>
                    <a:pt x="455" y="1061"/>
                  </a:lnTo>
                  <a:lnTo>
                    <a:pt x="447" y="1063"/>
                  </a:lnTo>
                  <a:lnTo>
                    <a:pt x="443" y="1069"/>
                  </a:lnTo>
                  <a:lnTo>
                    <a:pt x="443" y="1076"/>
                  </a:lnTo>
                  <a:lnTo>
                    <a:pt x="439" y="1084"/>
                  </a:lnTo>
                  <a:lnTo>
                    <a:pt x="430" y="1094"/>
                  </a:lnTo>
                  <a:lnTo>
                    <a:pt x="426" y="1096"/>
                  </a:lnTo>
                  <a:lnTo>
                    <a:pt x="422" y="1101"/>
                  </a:lnTo>
                  <a:lnTo>
                    <a:pt x="422" y="1107"/>
                  </a:lnTo>
                  <a:lnTo>
                    <a:pt x="420" y="1117"/>
                  </a:lnTo>
                  <a:lnTo>
                    <a:pt x="418" y="1120"/>
                  </a:lnTo>
                  <a:lnTo>
                    <a:pt x="437" y="1115"/>
                  </a:lnTo>
                  <a:lnTo>
                    <a:pt x="458" y="1128"/>
                  </a:lnTo>
                  <a:lnTo>
                    <a:pt x="460" y="1130"/>
                  </a:lnTo>
                  <a:lnTo>
                    <a:pt x="460" y="1134"/>
                  </a:lnTo>
                  <a:lnTo>
                    <a:pt x="464" y="1142"/>
                  </a:lnTo>
                  <a:lnTo>
                    <a:pt x="468" y="1145"/>
                  </a:lnTo>
                  <a:lnTo>
                    <a:pt x="474" y="1147"/>
                  </a:lnTo>
                  <a:lnTo>
                    <a:pt x="485" y="1155"/>
                  </a:lnTo>
                  <a:lnTo>
                    <a:pt x="495" y="1165"/>
                  </a:lnTo>
                  <a:lnTo>
                    <a:pt x="503" y="1167"/>
                  </a:lnTo>
                  <a:lnTo>
                    <a:pt x="508" y="1170"/>
                  </a:lnTo>
                  <a:lnTo>
                    <a:pt x="512" y="1174"/>
                  </a:lnTo>
                  <a:lnTo>
                    <a:pt x="514" y="1182"/>
                  </a:lnTo>
                  <a:lnTo>
                    <a:pt x="518" y="1188"/>
                  </a:lnTo>
                  <a:lnTo>
                    <a:pt x="529" y="1195"/>
                  </a:lnTo>
                  <a:lnTo>
                    <a:pt x="533" y="1197"/>
                  </a:lnTo>
                  <a:lnTo>
                    <a:pt x="533" y="1199"/>
                  </a:lnTo>
                  <a:lnTo>
                    <a:pt x="522" y="1217"/>
                  </a:lnTo>
                  <a:lnTo>
                    <a:pt x="527" y="1226"/>
                  </a:lnTo>
                  <a:lnTo>
                    <a:pt x="529" y="1224"/>
                  </a:lnTo>
                  <a:lnTo>
                    <a:pt x="541" y="1205"/>
                  </a:lnTo>
                  <a:lnTo>
                    <a:pt x="543" y="1201"/>
                  </a:lnTo>
                  <a:lnTo>
                    <a:pt x="543" y="1194"/>
                  </a:lnTo>
                  <a:lnTo>
                    <a:pt x="539" y="1188"/>
                  </a:lnTo>
                  <a:lnTo>
                    <a:pt x="539" y="1182"/>
                  </a:lnTo>
                  <a:lnTo>
                    <a:pt x="549" y="1170"/>
                  </a:lnTo>
                  <a:lnTo>
                    <a:pt x="564" y="1151"/>
                  </a:lnTo>
                  <a:lnTo>
                    <a:pt x="574" y="1140"/>
                  </a:lnTo>
                  <a:lnTo>
                    <a:pt x="574" y="1120"/>
                  </a:lnTo>
                  <a:lnTo>
                    <a:pt x="577" y="1122"/>
                  </a:lnTo>
                  <a:lnTo>
                    <a:pt x="583" y="1126"/>
                  </a:lnTo>
                  <a:lnTo>
                    <a:pt x="585" y="1128"/>
                  </a:lnTo>
                  <a:lnTo>
                    <a:pt x="591" y="1126"/>
                  </a:lnTo>
                  <a:lnTo>
                    <a:pt x="593" y="1124"/>
                  </a:lnTo>
                  <a:lnTo>
                    <a:pt x="597" y="1124"/>
                  </a:lnTo>
                  <a:lnTo>
                    <a:pt x="591" y="1138"/>
                  </a:lnTo>
                  <a:lnTo>
                    <a:pt x="587" y="1149"/>
                  </a:lnTo>
                  <a:lnTo>
                    <a:pt x="581" y="1163"/>
                  </a:lnTo>
                  <a:lnTo>
                    <a:pt x="585" y="1157"/>
                  </a:lnTo>
                  <a:lnTo>
                    <a:pt x="593" y="1151"/>
                  </a:lnTo>
                  <a:lnTo>
                    <a:pt x="597" y="1147"/>
                  </a:lnTo>
                  <a:lnTo>
                    <a:pt x="602" y="1128"/>
                  </a:lnTo>
                  <a:lnTo>
                    <a:pt x="606" y="1111"/>
                  </a:lnTo>
                  <a:lnTo>
                    <a:pt x="612" y="1094"/>
                  </a:lnTo>
                  <a:lnTo>
                    <a:pt x="622" y="1082"/>
                  </a:lnTo>
                  <a:lnTo>
                    <a:pt x="633" y="1071"/>
                  </a:lnTo>
                  <a:lnTo>
                    <a:pt x="643" y="1059"/>
                  </a:lnTo>
                  <a:lnTo>
                    <a:pt x="641" y="1026"/>
                  </a:lnTo>
                  <a:lnTo>
                    <a:pt x="635" y="990"/>
                  </a:lnTo>
                  <a:lnTo>
                    <a:pt x="643" y="967"/>
                  </a:lnTo>
                  <a:lnTo>
                    <a:pt x="643" y="965"/>
                  </a:lnTo>
                  <a:lnTo>
                    <a:pt x="639" y="963"/>
                  </a:lnTo>
                  <a:lnTo>
                    <a:pt x="639" y="959"/>
                  </a:lnTo>
                  <a:lnTo>
                    <a:pt x="643" y="957"/>
                  </a:lnTo>
                  <a:lnTo>
                    <a:pt x="648" y="957"/>
                  </a:lnTo>
                  <a:lnTo>
                    <a:pt x="654" y="955"/>
                  </a:lnTo>
                  <a:lnTo>
                    <a:pt x="654" y="948"/>
                  </a:lnTo>
                  <a:lnTo>
                    <a:pt x="670" y="940"/>
                  </a:lnTo>
                  <a:lnTo>
                    <a:pt x="687" y="930"/>
                  </a:lnTo>
                  <a:lnTo>
                    <a:pt x="700" y="921"/>
                  </a:lnTo>
                  <a:lnTo>
                    <a:pt x="700" y="917"/>
                  </a:lnTo>
                  <a:lnTo>
                    <a:pt x="702" y="911"/>
                  </a:lnTo>
                  <a:lnTo>
                    <a:pt x="704" y="909"/>
                  </a:lnTo>
                  <a:lnTo>
                    <a:pt x="716" y="905"/>
                  </a:lnTo>
                  <a:lnTo>
                    <a:pt x="731" y="903"/>
                  </a:lnTo>
                  <a:lnTo>
                    <a:pt x="742" y="901"/>
                  </a:lnTo>
                  <a:lnTo>
                    <a:pt x="739" y="886"/>
                  </a:lnTo>
                  <a:lnTo>
                    <a:pt x="744" y="886"/>
                  </a:lnTo>
                  <a:lnTo>
                    <a:pt x="746" y="882"/>
                  </a:lnTo>
                  <a:lnTo>
                    <a:pt x="760" y="880"/>
                  </a:lnTo>
                  <a:lnTo>
                    <a:pt x="771" y="880"/>
                  </a:lnTo>
                  <a:lnTo>
                    <a:pt x="785" y="878"/>
                  </a:lnTo>
                  <a:lnTo>
                    <a:pt x="785" y="867"/>
                  </a:lnTo>
                  <a:lnTo>
                    <a:pt x="789" y="869"/>
                  </a:lnTo>
                  <a:lnTo>
                    <a:pt x="798" y="873"/>
                  </a:lnTo>
                  <a:lnTo>
                    <a:pt x="812" y="871"/>
                  </a:lnTo>
                  <a:lnTo>
                    <a:pt x="812" y="859"/>
                  </a:lnTo>
                  <a:lnTo>
                    <a:pt x="827" y="851"/>
                  </a:lnTo>
                  <a:lnTo>
                    <a:pt x="823" y="832"/>
                  </a:lnTo>
                  <a:lnTo>
                    <a:pt x="823" y="821"/>
                  </a:lnTo>
                  <a:lnTo>
                    <a:pt x="835" y="800"/>
                  </a:lnTo>
                  <a:lnTo>
                    <a:pt x="854" y="777"/>
                  </a:lnTo>
                  <a:lnTo>
                    <a:pt x="865" y="759"/>
                  </a:lnTo>
                  <a:lnTo>
                    <a:pt x="865" y="750"/>
                  </a:lnTo>
                  <a:lnTo>
                    <a:pt x="863" y="738"/>
                  </a:lnTo>
                  <a:lnTo>
                    <a:pt x="865" y="728"/>
                  </a:lnTo>
                  <a:lnTo>
                    <a:pt x="869" y="725"/>
                  </a:lnTo>
                  <a:lnTo>
                    <a:pt x="877" y="721"/>
                  </a:lnTo>
                  <a:lnTo>
                    <a:pt x="881" y="717"/>
                  </a:lnTo>
                  <a:lnTo>
                    <a:pt x="875" y="698"/>
                  </a:lnTo>
                  <a:lnTo>
                    <a:pt x="873" y="682"/>
                  </a:lnTo>
                  <a:lnTo>
                    <a:pt x="881" y="679"/>
                  </a:lnTo>
                  <a:lnTo>
                    <a:pt x="881" y="652"/>
                  </a:lnTo>
                  <a:lnTo>
                    <a:pt x="884" y="652"/>
                  </a:lnTo>
                  <a:lnTo>
                    <a:pt x="881" y="609"/>
                  </a:lnTo>
                  <a:lnTo>
                    <a:pt x="881" y="594"/>
                  </a:lnTo>
                  <a:lnTo>
                    <a:pt x="877" y="592"/>
                  </a:lnTo>
                  <a:lnTo>
                    <a:pt x="873" y="592"/>
                  </a:lnTo>
                  <a:lnTo>
                    <a:pt x="873" y="586"/>
                  </a:lnTo>
                  <a:lnTo>
                    <a:pt x="881" y="586"/>
                  </a:lnTo>
                  <a:lnTo>
                    <a:pt x="883" y="577"/>
                  </a:lnTo>
                  <a:lnTo>
                    <a:pt x="883" y="567"/>
                  </a:lnTo>
                  <a:lnTo>
                    <a:pt x="892" y="556"/>
                  </a:lnTo>
                  <a:lnTo>
                    <a:pt x="892" y="554"/>
                  </a:lnTo>
                  <a:lnTo>
                    <a:pt x="888" y="550"/>
                  </a:lnTo>
                  <a:lnTo>
                    <a:pt x="888" y="544"/>
                  </a:lnTo>
                  <a:lnTo>
                    <a:pt x="896" y="548"/>
                  </a:lnTo>
                  <a:lnTo>
                    <a:pt x="908" y="556"/>
                  </a:lnTo>
                  <a:lnTo>
                    <a:pt x="917" y="532"/>
                  </a:lnTo>
                  <a:lnTo>
                    <a:pt x="923" y="511"/>
                  </a:lnTo>
                  <a:lnTo>
                    <a:pt x="934" y="490"/>
                  </a:lnTo>
                  <a:lnTo>
                    <a:pt x="946" y="481"/>
                  </a:lnTo>
                  <a:lnTo>
                    <a:pt x="961" y="471"/>
                  </a:lnTo>
                  <a:lnTo>
                    <a:pt x="973" y="459"/>
                  </a:lnTo>
                  <a:lnTo>
                    <a:pt x="986" y="431"/>
                  </a:lnTo>
                  <a:lnTo>
                    <a:pt x="992" y="392"/>
                  </a:lnTo>
                  <a:lnTo>
                    <a:pt x="988" y="352"/>
                  </a:lnTo>
                  <a:lnTo>
                    <a:pt x="984" y="350"/>
                  </a:lnTo>
                  <a:lnTo>
                    <a:pt x="979" y="346"/>
                  </a:lnTo>
                  <a:lnTo>
                    <a:pt x="977" y="344"/>
                  </a:lnTo>
                  <a:lnTo>
                    <a:pt x="971" y="335"/>
                  </a:lnTo>
                  <a:lnTo>
                    <a:pt x="967" y="325"/>
                  </a:lnTo>
                  <a:lnTo>
                    <a:pt x="965" y="313"/>
                  </a:lnTo>
                  <a:lnTo>
                    <a:pt x="950" y="317"/>
                  </a:lnTo>
                  <a:lnTo>
                    <a:pt x="946" y="319"/>
                  </a:lnTo>
                  <a:lnTo>
                    <a:pt x="946" y="306"/>
                  </a:lnTo>
                  <a:lnTo>
                    <a:pt x="938" y="308"/>
                  </a:lnTo>
                  <a:lnTo>
                    <a:pt x="932" y="311"/>
                  </a:lnTo>
                  <a:lnTo>
                    <a:pt x="927" y="310"/>
                  </a:lnTo>
                  <a:lnTo>
                    <a:pt x="921" y="302"/>
                  </a:lnTo>
                  <a:lnTo>
                    <a:pt x="911" y="286"/>
                  </a:lnTo>
                  <a:lnTo>
                    <a:pt x="904" y="275"/>
                  </a:lnTo>
                  <a:lnTo>
                    <a:pt x="890" y="265"/>
                  </a:lnTo>
                  <a:lnTo>
                    <a:pt x="871" y="256"/>
                  </a:lnTo>
                  <a:lnTo>
                    <a:pt x="858" y="248"/>
                  </a:lnTo>
                  <a:lnTo>
                    <a:pt x="846" y="248"/>
                  </a:lnTo>
                  <a:lnTo>
                    <a:pt x="835" y="250"/>
                  </a:lnTo>
                  <a:lnTo>
                    <a:pt x="819" y="248"/>
                  </a:lnTo>
                  <a:lnTo>
                    <a:pt x="815" y="240"/>
                  </a:lnTo>
                  <a:lnTo>
                    <a:pt x="808" y="242"/>
                  </a:lnTo>
                  <a:lnTo>
                    <a:pt x="804" y="244"/>
                  </a:lnTo>
                  <a:lnTo>
                    <a:pt x="800" y="244"/>
                  </a:lnTo>
                  <a:lnTo>
                    <a:pt x="785" y="233"/>
                  </a:lnTo>
                  <a:lnTo>
                    <a:pt x="769" y="233"/>
                  </a:lnTo>
                  <a:lnTo>
                    <a:pt x="767" y="237"/>
                  </a:lnTo>
                  <a:lnTo>
                    <a:pt x="765" y="244"/>
                  </a:lnTo>
                  <a:lnTo>
                    <a:pt x="765" y="248"/>
                  </a:lnTo>
                  <a:lnTo>
                    <a:pt x="754" y="248"/>
                  </a:lnTo>
                  <a:lnTo>
                    <a:pt x="752" y="240"/>
                  </a:lnTo>
                  <a:lnTo>
                    <a:pt x="752" y="238"/>
                  </a:lnTo>
                  <a:lnTo>
                    <a:pt x="746" y="233"/>
                  </a:lnTo>
                  <a:lnTo>
                    <a:pt x="748" y="229"/>
                  </a:lnTo>
                  <a:lnTo>
                    <a:pt x="750" y="223"/>
                  </a:lnTo>
                  <a:lnTo>
                    <a:pt x="750" y="217"/>
                  </a:lnTo>
                  <a:lnTo>
                    <a:pt x="742" y="217"/>
                  </a:lnTo>
                  <a:lnTo>
                    <a:pt x="739" y="202"/>
                  </a:lnTo>
                  <a:lnTo>
                    <a:pt x="735" y="204"/>
                  </a:lnTo>
                  <a:lnTo>
                    <a:pt x="729" y="206"/>
                  </a:lnTo>
                  <a:lnTo>
                    <a:pt x="727" y="208"/>
                  </a:lnTo>
                  <a:lnTo>
                    <a:pt x="727" y="200"/>
                  </a:lnTo>
                  <a:lnTo>
                    <a:pt x="710" y="190"/>
                  </a:lnTo>
                  <a:lnTo>
                    <a:pt x="685" y="181"/>
                  </a:lnTo>
                  <a:lnTo>
                    <a:pt x="662" y="181"/>
                  </a:lnTo>
                  <a:lnTo>
                    <a:pt x="658" y="190"/>
                  </a:lnTo>
                  <a:lnTo>
                    <a:pt x="650" y="190"/>
                  </a:lnTo>
                  <a:lnTo>
                    <a:pt x="650" y="200"/>
                  </a:lnTo>
                  <a:lnTo>
                    <a:pt x="648" y="200"/>
                  </a:lnTo>
                  <a:lnTo>
                    <a:pt x="646" y="202"/>
                  </a:lnTo>
                  <a:lnTo>
                    <a:pt x="643" y="202"/>
                  </a:lnTo>
                  <a:lnTo>
                    <a:pt x="643" y="210"/>
                  </a:lnTo>
                  <a:lnTo>
                    <a:pt x="635" y="217"/>
                  </a:lnTo>
                  <a:lnTo>
                    <a:pt x="629" y="215"/>
                  </a:lnTo>
                  <a:lnTo>
                    <a:pt x="635" y="208"/>
                  </a:lnTo>
                  <a:lnTo>
                    <a:pt x="643" y="202"/>
                  </a:lnTo>
                  <a:lnTo>
                    <a:pt x="645" y="198"/>
                  </a:lnTo>
                  <a:lnTo>
                    <a:pt x="645" y="192"/>
                  </a:lnTo>
                  <a:lnTo>
                    <a:pt x="650" y="190"/>
                  </a:lnTo>
                  <a:lnTo>
                    <a:pt x="646" y="183"/>
                  </a:lnTo>
                  <a:lnTo>
                    <a:pt x="650" y="171"/>
                  </a:lnTo>
                  <a:lnTo>
                    <a:pt x="650" y="163"/>
                  </a:lnTo>
                  <a:lnTo>
                    <a:pt x="627" y="163"/>
                  </a:lnTo>
                  <a:lnTo>
                    <a:pt x="631" y="154"/>
                  </a:lnTo>
                  <a:lnTo>
                    <a:pt x="623" y="154"/>
                  </a:lnTo>
                  <a:lnTo>
                    <a:pt x="618" y="156"/>
                  </a:lnTo>
                  <a:lnTo>
                    <a:pt x="612" y="156"/>
                  </a:lnTo>
                  <a:lnTo>
                    <a:pt x="604" y="148"/>
                  </a:lnTo>
                  <a:lnTo>
                    <a:pt x="614" y="131"/>
                  </a:lnTo>
                  <a:lnTo>
                    <a:pt x="610" y="127"/>
                  </a:lnTo>
                  <a:lnTo>
                    <a:pt x="593" y="117"/>
                  </a:lnTo>
                  <a:lnTo>
                    <a:pt x="604" y="110"/>
                  </a:lnTo>
                  <a:lnTo>
                    <a:pt x="612" y="108"/>
                  </a:lnTo>
                  <a:lnTo>
                    <a:pt x="612" y="96"/>
                  </a:lnTo>
                  <a:lnTo>
                    <a:pt x="608" y="94"/>
                  </a:lnTo>
                  <a:lnTo>
                    <a:pt x="600" y="94"/>
                  </a:lnTo>
                  <a:lnTo>
                    <a:pt x="597" y="96"/>
                  </a:lnTo>
                  <a:lnTo>
                    <a:pt x="593" y="77"/>
                  </a:lnTo>
                  <a:lnTo>
                    <a:pt x="585" y="42"/>
                  </a:lnTo>
                  <a:lnTo>
                    <a:pt x="583" y="39"/>
                  </a:lnTo>
                  <a:lnTo>
                    <a:pt x="581" y="33"/>
                  </a:lnTo>
                  <a:lnTo>
                    <a:pt x="577" y="25"/>
                  </a:lnTo>
                  <a:lnTo>
                    <a:pt x="568" y="27"/>
                  </a:lnTo>
                  <a:lnTo>
                    <a:pt x="564" y="39"/>
                  </a:lnTo>
                  <a:lnTo>
                    <a:pt x="558" y="54"/>
                  </a:lnTo>
                  <a:lnTo>
                    <a:pt x="554" y="81"/>
                  </a:lnTo>
                  <a:lnTo>
                    <a:pt x="551" y="89"/>
                  </a:lnTo>
                  <a:lnTo>
                    <a:pt x="543" y="98"/>
                  </a:lnTo>
                  <a:lnTo>
                    <a:pt x="539" y="102"/>
                  </a:lnTo>
                  <a:lnTo>
                    <a:pt x="529" y="96"/>
                  </a:lnTo>
                  <a:lnTo>
                    <a:pt x="516" y="98"/>
                  </a:lnTo>
                  <a:lnTo>
                    <a:pt x="514" y="100"/>
                  </a:lnTo>
                  <a:lnTo>
                    <a:pt x="508" y="102"/>
                  </a:lnTo>
                  <a:lnTo>
                    <a:pt x="501" y="102"/>
                  </a:lnTo>
                  <a:lnTo>
                    <a:pt x="497" y="98"/>
                  </a:lnTo>
                  <a:lnTo>
                    <a:pt x="493" y="92"/>
                  </a:lnTo>
                  <a:lnTo>
                    <a:pt x="493" y="89"/>
                  </a:lnTo>
                  <a:lnTo>
                    <a:pt x="481" y="89"/>
                  </a:lnTo>
                  <a:lnTo>
                    <a:pt x="478" y="83"/>
                  </a:lnTo>
                  <a:lnTo>
                    <a:pt x="470" y="87"/>
                  </a:lnTo>
                  <a:lnTo>
                    <a:pt x="453" y="81"/>
                  </a:lnTo>
                  <a:lnTo>
                    <a:pt x="449" y="96"/>
                  </a:lnTo>
                  <a:lnTo>
                    <a:pt x="458" y="102"/>
                  </a:lnTo>
                  <a:lnTo>
                    <a:pt x="453" y="112"/>
                  </a:lnTo>
                  <a:lnTo>
                    <a:pt x="435" y="106"/>
                  </a:lnTo>
                  <a:lnTo>
                    <a:pt x="424" y="108"/>
                  </a:lnTo>
                  <a:lnTo>
                    <a:pt x="422" y="110"/>
                  </a:lnTo>
                  <a:lnTo>
                    <a:pt x="418" y="110"/>
                  </a:lnTo>
                  <a:lnTo>
                    <a:pt x="412" y="108"/>
                  </a:lnTo>
                  <a:lnTo>
                    <a:pt x="407" y="108"/>
                  </a:lnTo>
                  <a:lnTo>
                    <a:pt x="405" y="110"/>
                  </a:lnTo>
                  <a:lnTo>
                    <a:pt x="401" y="112"/>
                  </a:lnTo>
                  <a:lnTo>
                    <a:pt x="399" y="114"/>
                  </a:lnTo>
                  <a:lnTo>
                    <a:pt x="397" y="119"/>
                  </a:lnTo>
                  <a:lnTo>
                    <a:pt x="393" y="121"/>
                  </a:lnTo>
                  <a:lnTo>
                    <a:pt x="389" y="121"/>
                  </a:lnTo>
                  <a:lnTo>
                    <a:pt x="385" y="127"/>
                  </a:lnTo>
                  <a:lnTo>
                    <a:pt x="384" y="129"/>
                  </a:lnTo>
                  <a:lnTo>
                    <a:pt x="378" y="129"/>
                  </a:lnTo>
                  <a:lnTo>
                    <a:pt x="374" y="125"/>
                  </a:lnTo>
                  <a:lnTo>
                    <a:pt x="370" y="117"/>
                  </a:lnTo>
                  <a:lnTo>
                    <a:pt x="364" y="114"/>
                  </a:lnTo>
                  <a:lnTo>
                    <a:pt x="360" y="112"/>
                  </a:lnTo>
                  <a:lnTo>
                    <a:pt x="357" y="108"/>
                  </a:lnTo>
                  <a:lnTo>
                    <a:pt x="353" y="102"/>
                  </a:lnTo>
                  <a:lnTo>
                    <a:pt x="353" y="96"/>
                  </a:lnTo>
                  <a:lnTo>
                    <a:pt x="355" y="83"/>
                  </a:lnTo>
                  <a:lnTo>
                    <a:pt x="355" y="56"/>
                  </a:lnTo>
                  <a:lnTo>
                    <a:pt x="357" y="56"/>
                  </a:lnTo>
                  <a:lnTo>
                    <a:pt x="362" y="52"/>
                  </a:lnTo>
                  <a:lnTo>
                    <a:pt x="372" y="42"/>
                  </a:lnTo>
                  <a:lnTo>
                    <a:pt x="372" y="39"/>
                  </a:lnTo>
                  <a:lnTo>
                    <a:pt x="368" y="35"/>
                  </a:lnTo>
                  <a:lnTo>
                    <a:pt x="368" y="31"/>
                  </a:lnTo>
                  <a:lnTo>
                    <a:pt x="370" y="27"/>
                  </a:lnTo>
                  <a:lnTo>
                    <a:pt x="368" y="25"/>
                  </a:lnTo>
                  <a:lnTo>
                    <a:pt x="364" y="23"/>
                  </a:lnTo>
                  <a:lnTo>
                    <a:pt x="355" y="17"/>
                  </a:lnTo>
                  <a:lnTo>
                    <a:pt x="364" y="10"/>
                  </a:lnTo>
                  <a:lnTo>
                    <a:pt x="362" y="8"/>
                  </a:lnTo>
                  <a:lnTo>
                    <a:pt x="360" y="4"/>
                  </a:lnTo>
                  <a:lnTo>
                    <a:pt x="351" y="4"/>
                  </a:lnTo>
                  <a:lnTo>
                    <a:pt x="343" y="0"/>
                  </a:lnTo>
                  <a:lnTo>
                    <a:pt x="337" y="0"/>
                  </a:lnTo>
                  <a:lnTo>
                    <a:pt x="339" y="8"/>
                  </a:lnTo>
                  <a:lnTo>
                    <a:pt x="337" y="16"/>
                  </a:lnTo>
                  <a:lnTo>
                    <a:pt x="330" y="17"/>
                  </a:lnTo>
                  <a:lnTo>
                    <a:pt x="324" y="17"/>
                  </a:lnTo>
                  <a:lnTo>
                    <a:pt x="320" y="19"/>
                  </a:lnTo>
                  <a:lnTo>
                    <a:pt x="318" y="25"/>
                  </a:lnTo>
                  <a:lnTo>
                    <a:pt x="313" y="29"/>
                  </a:lnTo>
                  <a:lnTo>
                    <a:pt x="309" y="31"/>
                  </a:lnTo>
                  <a:lnTo>
                    <a:pt x="307" y="35"/>
                  </a:lnTo>
                  <a:lnTo>
                    <a:pt x="289" y="35"/>
                  </a:lnTo>
                  <a:lnTo>
                    <a:pt x="289" y="33"/>
                  </a:lnTo>
                  <a:lnTo>
                    <a:pt x="288" y="33"/>
                  </a:lnTo>
                  <a:lnTo>
                    <a:pt x="284" y="35"/>
                  </a:lnTo>
                  <a:lnTo>
                    <a:pt x="280" y="39"/>
                  </a:lnTo>
                  <a:lnTo>
                    <a:pt x="280" y="42"/>
                  </a:lnTo>
                  <a:lnTo>
                    <a:pt x="282" y="44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7" name="Freeform 312"/>
            <p:cNvSpPr>
              <a:spLocks noEditPoints="1"/>
            </p:cNvSpPr>
            <p:nvPr/>
          </p:nvSpPr>
          <p:spPr bwMode="gray">
            <a:xfrm>
              <a:off x="2015" y="2784"/>
              <a:ext cx="152" cy="278"/>
            </a:xfrm>
            <a:custGeom>
              <a:avLst/>
              <a:gdLst>
                <a:gd name="T0" fmla="*/ 294 w 303"/>
                <a:gd name="T1" fmla="*/ 474 h 555"/>
                <a:gd name="T2" fmla="*/ 292 w 303"/>
                <a:gd name="T3" fmla="*/ 472 h 555"/>
                <a:gd name="T4" fmla="*/ 295 w 303"/>
                <a:gd name="T5" fmla="*/ 472 h 555"/>
                <a:gd name="T6" fmla="*/ 295 w 303"/>
                <a:gd name="T7" fmla="*/ 459 h 555"/>
                <a:gd name="T8" fmla="*/ 288 w 303"/>
                <a:gd name="T9" fmla="*/ 443 h 555"/>
                <a:gd name="T10" fmla="*/ 290 w 303"/>
                <a:gd name="T11" fmla="*/ 424 h 555"/>
                <a:gd name="T12" fmla="*/ 253 w 303"/>
                <a:gd name="T13" fmla="*/ 363 h 555"/>
                <a:gd name="T14" fmla="*/ 255 w 303"/>
                <a:gd name="T15" fmla="*/ 282 h 555"/>
                <a:gd name="T16" fmla="*/ 209 w 303"/>
                <a:gd name="T17" fmla="*/ 290 h 555"/>
                <a:gd name="T18" fmla="*/ 196 w 303"/>
                <a:gd name="T19" fmla="*/ 272 h 555"/>
                <a:gd name="T20" fmla="*/ 180 w 303"/>
                <a:gd name="T21" fmla="*/ 255 h 555"/>
                <a:gd name="T22" fmla="*/ 180 w 303"/>
                <a:gd name="T23" fmla="*/ 240 h 555"/>
                <a:gd name="T24" fmla="*/ 173 w 303"/>
                <a:gd name="T25" fmla="*/ 219 h 555"/>
                <a:gd name="T26" fmla="*/ 178 w 303"/>
                <a:gd name="T27" fmla="*/ 211 h 555"/>
                <a:gd name="T28" fmla="*/ 180 w 303"/>
                <a:gd name="T29" fmla="*/ 205 h 555"/>
                <a:gd name="T30" fmla="*/ 186 w 303"/>
                <a:gd name="T31" fmla="*/ 188 h 555"/>
                <a:gd name="T32" fmla="*/ 201 w 303"/>
                <a:gd name="T33" fmla="*/ 153 h 555"/>
                <a:gd name="T34" fmla="*/ 222 w 303"/>
                <a:gd name="T35" fmla="*/ 140 h 555"/>
                <a:gd name="T36" fmla="*/ 246 w 303"/>
                <a:gd name="T37" fmla="*/ 132 h 555"/>
                <a:gd name="T38" fmla="*/ 267 w 303"/>
                <a:gd name="T39" fmla="*/ 126 h 555"/>
                <a:gd name="T40" fmla="*/ 247 w 303"/>
                <a:gd name="T41" fmla="*/ 119 h 555"/>
                <a:gd name="T42" fmla="*/ 267 w 303"/>
                <a:gd name="T43" fmla="*/ 65 h 555"/>
                <a:gd name="T44" fmla="*/ 234 w 303"/>
                <a:gd name="T45" fmla="*/ 53 h 555"/>
                <a:gd name="T46" fmla="*/ 219 w 303"/>
                <a:gd name="T47" fmla="*/ 61 h 555"/>
                <a:gd name="T48" fmla="*/ 198 w 303"/>
                <a:gd name="T49" fmla="*/ 40 h 555"/>
                <a:gd name="T50" fmla="*/ 175 w 303"/>
                <a:gd name="T51" fmla="*/ 32 h 555"/>
                <a:gd name="T52" fmla="*/ 167 w 303"/>
                <a:gd name="T53" fmla="*/ 17 h 555"/>
                <a:gd name="T54" fmla="*/ 155 w 303"/>
                <a:gd name="T55" fmla="*/ 3 h 555"/>
                <a:gd name="T56" fmla="*/ 130 w 303"/>
                <a:gd name="T57" fmla="*/ 7 h 555"/>
                <a:gd name="T58" fmla="*/ 140 w 303"/>
                <a:gd name="T59" fmla="*/ 21 h 555"/>
                <a:gd name="T60" fmla="*/ 144 w 303"/>
                <a:gd name="T61" fmla="*/ 44 h 555"/>
                <a:gd name="T62" fmla="*/ 138 w 303"/>
                <a:gd name="T63" fmla="*/ 51 h 555"/>
                <a:gd name="T64" fmla="*/ 103 w 303"/>
                <a:gd name="T65" fmla="*/ 88 h 555"/>
                <a:gd name="T66" fmla="*/ 84 w 303"/>
                <a:gd name="T67" fmla="*/ 103 h 555"/>
                <a:gd name="T68" fmla="*/ 71 w 303"/>
                <a:gd name="T69" fmla="*/ 121 h 555"/>
                <a:gd name="T70" fmla="*/ 48 w 303"/>
                <a:gd name="T71" fmla="*/ 153 h 555"/>
                <a:gd name="T72" fmla="*/ 38 w 303"/>
                <a:gd name="T73" fmla="*/ 142 h 555"/>
                <a:gd name="T74" fmla="*/ 29 w 303"/>
                <a:gd name="T75" fmla="*/ 138 h 555"/>
                <a:gd name="T76" fmla="*/ 13 w 303"/>
                <a:gd name="T77" fmla="*/ 132 h 555"/>
                <a:gd name="T78" fmla="*/ 17 w 303"/>
                <a:gd name="T79" fmla="*/ 113 h 555"/>
                <a:gd name="T80" fmla="*/ 2 w 303"/>
                <a:gd name="T81" fmla="*/ 130 h 555"/>
                <a:gd name="T82" fmla="*/ 6 w 303"/>
                <a:gd name="T83" fmla="*/ 153 h 555"/>
                <a:gd name="T84" fmla="*/ 2 w 303"/>
                <a:gd name="T85" fmla="*/ 159 h 555"/>
                <a:gd name="T86" fmla="*/ 11 w 303"/>
                <a:gd name="T87" fmla="*/ 167 h 555"/>
                <a:gd name="T88" fmla="*/ 8 w 303"/>
                <a:gd name="T89" fmla="*/ 186 h 555"/>
                <a:gd name="T90" fmla="*/ 34 w 303"/>
                <a:gd name="T91" fmla="*/ 205 h 555"/>
                <a:gd name="T92" fmla="*/ 42 w 303"/>
                <a:gd name="T93" fmla="*/ 224 h 555"/>
                <a:gd name="T94" fmla="*/ 61 w 303"/>
                <a:gd name="T95" fmla="*/ 238 h 555"/>
                <a:gd name="T96" fmla="*/ 69 w 303"/>
                <a:gd name="T97" fmla="*/ 255 h 555"/>
                <a:gd name="T98" fmla="*/ 90 w 303"/>
                <a:gd name="T99" fmla="*/ 282 h 555"/>
                <a:gd name="T100" fmla="*/ 113 w 303"/>
                <a:gd name="T101" fmla="*/ 359 h 555"/>
                <a:gd name="T102" fmla="*/ 134 w 303"/>
                <a:gd name="T103" fmla="*/ 436 h 555"/>
                <a:gd name="T104" fmla="*/ 150 w 303"/>
                <a:gd name="T105" fmla="*/ 451 h 555"/>
                <a:gd name="T106" fmla="*/ 157 w 303"/>
                <a:gd name="T107" fmla="*/ 474 h 555"/>
                <a:gd name="T108" fmla="*/ 184 w 303"/>
                <a:gd name="T109" fmla="*/ 490 h 555"/>
                <a:gd name="T110" fmla="*/ 192 w 303"/>
                <a:gd name="T111" fmla="*/ 501 h 555"/>
                <a:gd name="T112" fmla="*/ 263 w 303"/>
                <a:gd name="T113" fmla="*/ 555 h 555"/>
                <a:gd name="T114" fmla="*/ 276 w 303"/>
                <a:gd name="T115" fmla="*/ 534 h 555"/>
                <a:gd name="T116" fmla="*/ 290 w 303"/>
                <a:gd name="T117" fmla="*/ 520 h 555"/>
                <a:gd name="T118" fmla="*/ 303 w 303"/>
                <a:gd name="T119" fmla="*/ 499 h 555"/>
                <a:gd name="T120" fmla="*/ 295 w 303"/>
                <a:gd name="T121" fmla="*/ 476 h 55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3"/>
                <a:gd name="T184" fmla="*/ 0 h 555"/>
                <a:gd name="T185" fmla="*/ 303 w 303"/>
                <a:gd name="T186" fmla="*/ 555 h 55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3" h="555">
                  <a:moveTo>
                    <a:pt x="294" y="474"/>
                  </a:moveTo>
                  <a:lnTo>
                    <a:pt x="292" y="474"/>
                  </a:lnTo>
                  <a:lnTo>
                    <a:pt x="294" y="474"/>
                  </a:lnTo>
                  <a:close/>
                  <a:moveTo>
                    <a:pt x="292" y="474"/>
                  </a:moveTo>
                  <a:lnTo>
                    <a:pt x="288" y="470"/>
                  </a:lnTo>
                  <a:lnTo>
                    <a:pt x="292" y="472"/>
                  </a:lnTo>
                  <a:lnTo>
                    <a:pt x="292" y="474"/>
                  </a:lnTo>
                  <a:close/>
                  <a:moveTo>
                    <a:pt x="295" y="476"/>
                  </a:moveTo>
                  <a:lnTo>
                    <a:pt x="295" y="472"/>
                  </a:lnTo>
                  <a:lnTo>
                    <a:pt x="294" y="468"/>
                  </a:lnTo>
                  <a:lnTo>
                    <a:pt x="294" y="461"/>
                  </a:lnTo>
                  <a:lnTo>
                    <a:pt x="295" y="459"/>
                  </a:lnTo>
                  <a:lnTo>
                    <a:pt x="294" y="457"/>
                  </a:lnTo>
                  <a:lnTo>
                    <a:pt x="292" y="451"/>
                  </a:lnTo>
                  <a:lnTo>
                    <a:pt x="288" y="443"/>
                  </a:lnTo>
                  <a:lnTo>
                    <a:pt x="288" y="436"/>
                  </a:lnTo>
                  <a:lnTo>
                    <a:pt x="290" y="426"/>
                  </a:lnTo>
                  <a:lnTo>
                    <a:pt x="290" y="424"/>
                  </a:lnTo>
                  <a:lnTo>
                    <a:pt x="297" y="405"/>
                  </a:lnTo>
                  <a:lnTo>
                    <a:pt x="282" y="372"/>
                  </a:lnTo>
                  <a:lnTo>
                    <a:pt x="253" y="363"/>
                  </a:lnTo>
                  <a:lnTo>
                    <a:pt x="259" y="288"/>
                  </a:lnTo>
                  <a:lnTo>
                    <a:pt x="259" y="282"/>
                  </a:lnTo>
                  <a:lnTo>
                    <a:pt x="255" y="282"/>
                  </a:lnTo>
                  <a:lnTo>
                    <a:pt x="240" y="294"/>
                  </a:lnTo>
                  <a:lnTo>
                    <a:pt x="211" y="294"/>
                  </a:lnTo>
                  <a:lnTo>
                    <a:pt x="209" y="290"/>
                  </a:lnTo>
                  <a:lnTo>
                    <a:pt x="207" y="284"/>
                  </a:lnTo>
                  <a:lnTo>
                    <a:pt x="203" y="278"/>
                  </a:lnTo>
                  <a:lnTo>
                    <a:pt x="196" y="272"/>
                  </a:lnTo>
                  <a:lnTo>
                    <a:pt x="190" y="267"/>
                  </a:lnTo>
                  <a:lnTo>
                    <a:pt x="186" y="261"/>
                  </a:lnTo>
                  <a:lnTo>
                    <a:pt x="180" y="255"/>
                  </a:lnTo>
                  <a:lnTo>
                    <a:pt x="176" y="255"/>
                  </a:lnTo>
                  <a:lnTo>
                    <a:pt x="180" y="242"/>
                  </a:lnTo>
                  <a:lnTo>
                    <a:pt x="180" y="240"/>
                  </a:lnTo>
                  <a:lnTo>
                    <a:pt x="178" y="234"/>
                  </a:lnTo>
                  <a:lnTo>
                    <a:pt x="173" y="224"/>
                  </a:lnTo>
                  <a:lnTo>
                    <a:pt x="173" y="219"/>
                  </a:lnTo>
                  <a:lnTo>
                    <a:pt x="171" y="211"/>
                  </a:lnTo>
                  <a:lnTo>
                    <a:pt x="173" y="209"/>
                  </a:lnTo>
                  <a:lnTo>
                    <a:pt x="178" y="211"/>
                  </a:lnTo>
                  <a:lnTo>
                    <a:pt x="182" y="211"/>
                  </a:lnTo>
                  <a:lnTo>
                    <a:pt x="182" y="209"/>
                  </a:lnTo>
                  <a:lnTo>
                    <a:pt x="180" y="205"/>
                  </a:lnTo>
                  <a:lnTo>
                    <a:pt x="182" y="197"/>
                  </a:lnTo>
                  <a:lnTo>
                    <a:pt x="184" y="192"/>
                  </a:lnTo>
                  <a:lnTo>
                    <a:pt x="186" y="188"/>
                  </a:lnTo>
                  <a:lnTo>
                    <a:pt x="190" y="182"/>
                  </a:lnTo>
                  <a:lnTo>
                    <a:pt x="196" y="159"/>
                  </a:lnTo>
                  <a:lnTo>
                    <a:pt x="201" y="153"/>
                  </a:lnTo>
                  <a:lnTo>
                    <a:pt x="209" y="149"/>
                  </a:lnTo>
                  <a:lnTo>
                    <a:pt x="217" y="144"/>
                  </a:lnTo>
                  <a:lnTo>
                    <a:pt x="222" y="140"/>
                  </a:lnTo>
                  <a:lnTo>
                    <a:pt x="232" y="136"/>
                  </a:lnTo>
                  <a:lnTo>
                    <a:pt x="238" y="134"/>
                  </a:lnTo>
                  <a:lnTo>
                    <a:pt x="246" y="132"/>
                  </a:lnTo>
                  <a:lnTo>
                    <a:pt x="259" y="132"/>
                  </a:lnTo>
                  <a:lnTo>
                    <a:pt x="263" y="130"/>
                  </a:lnTo>
                  <a:lnTo>
                    <a:pt x="267" y="126"/>
                  </a:lnTo>
                  <a:lnTo>
                    <a:pt x="267" y="123"/>
                  </a:lnTo>
                  <a:lnTo>
                    <a:pt x="259" y="119"/>
                  </a:lnTo>
                  <a:lnTo>
                    <a:pt x="247" y="119"/>
                  </a:lnTo>
                  <a:lnTo>
                    <a:pt x="270" y="71"/>
                  </a:lnTo>
                  <a:lnTo>
                    <a:pt x="270" y="69"/>
                  </a:lnTo>
                  <a:lnTo>
                    <a:pt x="267" y="65"/>
                  </a:lnTo>
                  <a:lnTo>
                    <a:pt x="251" y="61"/>
                  </a:lnTo>
                  <a:lnTo>
                    <a:pt x="240" y="57"/>
                  </a:lnTo>
                  <a:lnTo>
                    <a:pt x="234" y="53"/>
                  </a:lnTo>
                  <a:lnTo>
                    <a:pt x="222" y="53"/>
                  </a:lnTo>
                  <a:lnTo>
                    <a:pt x="221" y="61"/>
                  </a:lnTo>
                  <a:lnTo>
                    <a:pt x="219" y="61"/>
                  </a:lnTo>
                  <a:lnTo>
                    <a:pt x="201" y="55"/>
                  </a:lnTo>
                  <a:lnTo>
                    <a:pt x="198" y="48"/>
                  </a:lnTo>
                  <a:lnTo>
                    <a:pt x="198" y="40"/>
                  </a:lnTo>
                  <a:lnTo>
                    <a:pt x="184" y="38"/>
                  </a:lnTo>
                  <a:lnTo>
                    <a:pt x="180" y="36"/>
                  </a:lnTo>
                  <a:lnTo>
                    <a:pt x="175" y="32"/>
                  </a:lnTo>
                  <a:lnTo>
                    <a:pt x="173" y="26"/>
                  </a:lnTo>
                  <a:lnTo>
                    <a:pt x="171" y="23"/>
                  </a:lnTo>
                  <a:lnTo>
                    <a:pt x="167" y="17"/>
                  </a:lnTo>
                  <a:lnTo>
                    <a:pt x="161" y="13"/>
                  </a:lnTo>
                  <a:lnTo>
                    <a:pt x="157" y="11"/>
                  </a:lnTo>
                  <a:lnTo>
                    <a:pt x="155" y="3"/>
                  </a:lnTo>
                  <a:lnTo>
                    <a:pt x="155" y="0"/>
                  </a:lnTo>
                  <a:lnTo>
                    <a:pt x="140" y="0"/>
                  </a:lnTo>
                  <a:lnTo>
                    <a:pt x="130" y="7"/>
                  </a:lnTo>
                  <a:lnTo>
                    <a:pt x="138" y="13"/>
                  </a:lnTo>
                  <a:lnTo>
                    <a:pt x="138" y="15"/>
                  </a:lnTo>
                  <a:lnTo>
                    <a:pt x="140" y="21"/>
                  </a:lnTo>
                  <a:lnTo>
                    <a:pt x="142" y="28"/>
                  </a:lnTo>
                  <a:lnTo>
                    <a:pt x="142" y="38"/>
                  </a:lnTo>
                  <a:lnTo>
                    <a:pt x="144" y="44"/>
                  </a:lnTo>
                  <a:lnTo>
                    <a:pt x="142" y="48"/>
                  </a:lnTo>
                  <a:lnTo>
                    <a:pt x="138" y="48"/>
                  </a:lnTo>
                  <a:lnTo>
                    <a:pt x="138" y="51"/>
                  </a:lnTo>
                  <a:lnTo>
                    <a:pt x="132" y="63"/>
                  </a:lnTo>
                  <a:lnTo>
                    <a:pt x="119" y="76"/>
                  </a:lnTo>
                  <a:lnTo>
                    <a:pt x="103" y="88"/>
                  </a:lnTo>
                  <a:lnTo>
                    <a:pt x="94" y="94"/>
                  </a:lnTo>
                  <a:lnTo>
                    <a:pt x="88" y="98"/>
                  </a:lnTo>
                  <a:lnTo>
                    <a:pt x="84" y="103"/>
                  </a:lnTo>
                  <a:lnTo>
                    <a:pt x="82" y="107"/>
                  </a:lnTo>
                  <a:lnTo>
                    <a:pt x="77" y="113"/>
                  </a:lnTo>
                  <a:lnTo>
                    <a:pt x="71" y="121"/>
                  </a:lnTo>
                  <a:lnTo>
                    <a:pt x="57" y="148"/>
                  </a:lnTo>
                  <a:lnTo>
                    <a:pt x="50" y="151"/>
                  </a:lnTo>
                  <a:lnTo>
                    <a:pt x="48" y="153"/>
                  </a:lnTo>
                  <a:lnTo>
                    <a:pt x="44" y="153"/>
                  </a:lnTo>
                  <a:lnTo>
                    <a:pt x="40" y="149"/>
                  </a:lnTo>
                  <a:lnTo>
                    <a:pt x="38" y="142"/>
                  </a:lnTo>
                  <a:lnTo>
                    <a:pt x="34" y="136"/>
                  </a:lnTo>
                  <a:lnTo>
                    <a:pt x="34" y="134"/>
                  </a:lnTo>
                  <a:lnTo>
                    <a:pt x="29" y="138"/>
                  </a:lnTo>
                  <a:lnTo>
                    <a:pt x="23" y="140"/>
                  </a:lnTo>
                  <a:lnTo>
                    <a:pt x="19" y="138"/>
                  </a:lnTo>
                  <a:lnTo>
                    <a:pt x="13" y="132"/>
                  </a:lnTo>
                  <a:lnTo>
                    <a:pt x="23" y="124"/>
                  </a:lnTo>
                  <a:lnTo>
                    <a:pt x="21" y="119"/>
                  </a:lnTo>
                  <a:lnTo>
                    <a:pt x="17" y="113"/>
                  </a:lnTo>
                  <a:lnTo>
                    <a:pt x="15" y="115"/>
                  </a:lnTo>
                  <a:lnTo>
                    <a:pt x="9" y="123"/>
                  </a:lnTo>
                  <a:lnTo>
                    <a:pt x="2" y="130"/>
                  </a:lnTo>
                  <a:lnTo>
                    <a:pt x="0" y="136"/>
                  </a:lnTo>
                  <a:lnTo>
                    <a:pt x="2" y="144"/>
                  </a:lnTo>
                  <a:lnTo>
                    <a:pt x="6" y="153"/>
                  </a:lnTo>
                  <a:lnTo>
                    <a:pt x="8" y="157"/>
                  </a:lnTo>
                  <a:lnTo>
                    <a:pt x="4" y="157"/>
                  </a:lnTo>
                  <a:lnTo>
                    <a:pt x="2" y="159"/>
                  </a:lnTo>
                  <a:lnTo>
                    <a:pt x="4" y="163"/>
                  </a:lnTo>
                  <a:lnTo>
                    <a:pt x="6" y="165"/>
                  </a:lnTo>
                  <a:lnTo>
                    <a:pt x="11" y="167"/>
                  </a:lnTo>
                  <a:lnTo>
                    <a:pt x="9" y="174"/>
                  </a:lnTo>
                  <a:lnTo>
                    <a:pt x="8" y="180"/>
                  </a:lnTo>
                  <a:lnTo>
                    <a:pt x="8" y="186"/>
                  </a:lnTo>
                  <a:lnTo>
                    <a:pt x="15" y="192"/>
                  </a:lnTo>
                  <a:lnTo>
                    <a:pt x="27" y="199"/>
                  </a:lnTo>
                  <a:lnTo>
                    <a:pt x="34" y="205"/>
                  </a:lnTo>
                  <a:lnTo>
                    <a:pt x="36" y="211"/>
                  </a:lnTo>
                  <a:lnTo>
                    <a:pt x="38" y="219"/>
                  </a:lnTo>
                  <a:lnTo>
                    <a:pt x="42" y="224"/>
                  </a:lnTo>
                  <a:lnTo>
                    <a:pt x="46" y="228"/>
                  </a:lnTo>
                  <a:lnTo>
                    <a:pt x="57" y="232"/>
                  </a:lnTo>
                  <a:lnTo>
                    <a:pt x="61" y="238"/>
                  </a:lnTo>
                  <a:lnTo>
                    <a:pt x="63" y="246"/>
                  </a:lnTo>
                  <a:lnTo>
                    <a:pt x="65" y="251"/>
                  </a:lnTo>
                  <a:lnTo>
                    <a:pt x="69" y="255"/>
                  </a:lnTo>
                  <a:lnTo>
                    <a:pt x="77" y="259"/>
                  </a:lnTo>
                  <a:lnTo>
                    <a:pt x="80" y="263"/>
                  </a:lnTo>
                  <a:lnTo>
                    <a:pt x="90" y="282"/>
                  </a:lnTo>
                  <a:lnTo>
                    <a:pt x="94" y="303"/>
                  </a:lnTo>
                  <a:lnTo>
                    <a:pt x="100" y="328"/>
                  </a:lnTo>
                  <a:lnTo>
                    <a:pt x="113" y="359"/>
                  </a:lnTo>
                  <a:lnTo>
                    <a:pt x="132" y="399"/>
                  </a:lnTo>
                  <a:lnTo>
                    <a:pt x="138" y="428"/>
                  </a:lnTo>
                  <a:lnTo>
                    <a:pt x="134" y="436"/>
                  </a:lnTo>
                  <a:lnTo>
                    <a:pt x="138" y="442"/>
                  </a:lnTo>
                  <a:lnTo>
                    <a:pt x="146" y="445"/>
                  </a:lnTo>
                  <a:lnTo>
                    <a:pt x="150" y="451"/>
                  </a:lnTo>
                  <a:lnTo>
                    <a:pt x="153" y="459"/>
                  </a:lnTo>
                  <a:lnTo>
                    <a:pt x="153" y="467"/>
                  </a:lnTo>
                  <a:lnTo>
                    <a:pt x="157" y="474"/>
                  </a:lnTo>
                  <a:lnTo>
                    <a:pt x="165" y="480"/>
                  </a:lnTo>
                  <a:lnTo>
                    <a:pt x="176" y="484"/>
                  </a:lnTo>
                  <a:lnTo>
                    <a:pt x="184" y="490"/>
                  </a:lnTo>
                  <a:lnTo>
                    <a:pt x="186" y="493"/>
                  </a:lnTo>
                  <a:lnTo>
                    <a:pt x="190" y="497"/>
                  </a:lnTo>
                  <a:lnTo>
                    <a:pt x="192" y="501"/>
                  </a:lnTo>
                  <a:lnTo>
                    <a:pt x="242" y="534"/>
                  </a:lnTo>
                  <a:lnTo>
                    <a:pt x="263" y="553"/>
                  </a:lnTo>
                  <a:lnTo>
                    <a:pt x="263" y="555"/>
                  </a:lnTo>
                  <a:lnTo>
                    <a:pt x="269" y="549"/>
                  </a:lnTo>
                  <a:lnTo>
                    <a:pt x="272" y="543"/>
                  </a:lnTo>
                  <a:lnTo>
                    <a:pt x="276" y="534"/>
                  </a:lnTo>
                  <a:lnTo>
                    <a:pt x="282" y="530"/>
                  </a:lnTo>
                  <a:lnTo>
                    <a:pt x="286" y="528"/>
                  </a:lnTo>
                  <a:lnTo>
                    <a:pt x="290" y="520"/>
                  </a:lnTo>
                  <a:lnTo>
                    <a:pt x="295" y="511"/>
                  </a:lnTo>
                  <a:lnTo>
                    <a:pt x="301" y="503"/>
                  </a:lnTo>
                  <a:lnTo>
                    <a:pt x="303" y="499"/>
                  </a:lnTo>
                  <a:lnTo>
                    <a:pt x="301" y="495"/>
                  </a:lnTo>
                  <a:lnTo>
                    <a:pt x="301" y="492"/>
                  </a:lnTo>
                  <a:lnTo>
                    <a:pt x="295" y="47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8" name="Freeform 313"/>
            <p:cNvSpPr>
              <a:spLocks/>
            </p:cNvSpPr>
            <p:nvPr/>
          </p:nvSpPr>
          <p:spPr bwMode="gray">
            <a:xfrm>
              <a:off x="2161" y="3022"/>
              <a:ext cx="1" cy="1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09" name="Freeform 314"/>
            <p:cNvSpPr>
              <a:spLocks/>
            </p:cNvSpPr>
            <p:nvPr/>
          </p:nvSpPr>
          <p:spPr bwMode="gray">
            <a:xfrm>
              <a:off x="2159" y="3020"/>
              <a:ext cx="2" cy="2"/>
            </a:xfrm>
            <a:custGeom>
              <a:avLst/>
              <a:gdLst>
                <a:gd name="T0" fmla="*/ 4 w 4"/>
                <a:gd name="T1" fmla="*/ 4 h 4"/>
                <a:gd name="T2" fmla="*/ 0 w 4"/>
                <a:gd name="T3" fmla="*/ 0 h 4"/>
                <a:gd name="T4" fmla="*/ 4 w 4"/>
                <a:gd name="T5" fmla="*/ 2 h 4"/>
                <a:gd name="T6" fmla="*/ 0 60000 65536"/>
                <a:gd name="T7" fmla="*/ 0 60000 65536"/>
                <a:gd name="T8" fmla="*/ 0 60000 65536"/>
                <a:gd name="T9" fmla="*/ 0 w 4"/>
                <a:gd name="T10" fmla="*/ 0 h 4"/>
                <a:gd name="T11" fmla="*/ 4 w 4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4">
                  <a:moveTo>
                    <a:pt x="4" y="4"/>
                  </a:moveTo>
                  <a:lnTo>
                    <a:pt x="0" y="0"/>
                  </a:lnTo>
                  <a:lnTo>
                    <a:pt x="4" y="2"/>
                  </a:lnTo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0" name="Freeform 315"/>
            <p:cNvSpPr>
              <a:spLocks/>
            </p:cNvSpPr>
            <p:nvPr/>
          </p:nvSpPr>
          <p:spPr bwMode="gray">
            <a:xfrm>
              <a:off x="2015" y="2784"/>
              <a:ext cx="152" cy="278"/>
            </a:xfrm>
            <a:custGeom>
              <a:avLst/>
              <a:gdLst>
                <a:gd name="T0" fmla="*/ 294 w 303"/>
                <a:gd name="T1" fmla="*/ 468 h 555"/>
                <a:gd name="T2" fmla="*/ 294 w 303"/>
                <a:gd name="T3" fmla="*/ 457 h 555"/>
                <a:gd name="T4" fmla="*/ 288 w 303"/>
                <a:gd name="T5" fmla="*/ 436 h 555"/>
                <a:gd name="T6" fmla="*/ 297 w 303"/>
                <a:gd name="T7" fmla="*/ 405 h 555"/>
                <a:gd name="T8" fmla="*/ 259 w 303"/>
                <a:gd name="T9" fmla="*/ 288 h 555"/>
                <a:gd name="T10" fmla="*/ 240 w 303"/>
                <a:gd name="T11" fmla="*/ 294 h 555"/>
                <a:gd name="T12" fmla="*/ 207 w 303"/>
                <a:gd name="T13" fmla="*/ 284 h 555"/>
                <a:gd name="T14" fmla="*/ 190 w 303"/>
                <a:gd name="T15" fmla="*/ 267 h 555"/>
                <a:gd name="T16" fmla="*/ 176 w 303"/>
                <a:gd name="T17" fmla="*/ 255 h 555"/>
                <a:gd name="T18" fmla="*/ 178 w 303"/>
                <a:gd name="T19" fmla="*/ 234 h 555"/>
                <a:gd name="T20" fmla="*/ 171 w 303"/>
                <a:gd name="T21" fmla="*/ 211 h 555"/>
                <a:gd name="T22" fmla="*/ 182 w 303"/>
                <a:gd name="T23" fmla="*/ 211 h 555"/>
                <a:gd name="T24" fmla="*/ 182 w 303"/>
                <a:gd name="T25" fmla="*/ 197 h 555"/>
                <a:gd name="T26" fmla="*/ 190 w 303"/>
                <a:gd name="T27" fmla="*/ 182 h 555"/>
                <a:gd name="T28" fmla="*/ 209 w 303"/>
                <a:gd name="T29" fmla="*/ 149 h 555"/>
                <a:gd name="T30" fmla="*/ 232 w 303"/>
                <a:gd name="T31" fmla="*/ 136 h 555"/>
                <a:gd name="T32" fmla="*/ 259 w 303"/>
                <a:gd name="T33" fmla="*/ 132 h 555"/>
                <a:gd name="T34" fmla="*/ 267 w 303"/>
                <a:gd name="T35" fmla="*/ 123 h 555"/>
                <a:gd name="T36" fmla="*/ 270 w 303"/>
                <a:gd name="T37" fmla="*/ 71 h 555"/>
                <a:gd name="T38" fmla="*/ 251 w 303"/>
                <a:gd name="T39" fmla="*/ 61 h 555"/>
                <a:gd name="T40" fmla="*/ 222 w 303"/>
                <a:gd name="T41" fmla="*/ 53 h 555"/>
                <a:gd name="T42" fmla="*/ 201 w 303"/>
                <a:gd name="T43" fmla="*/ 55 h 555"/>
                <a:gd name="T44" fmla="*/ 184 w 303"/>
                <a:gd name="T45" fmla="*/ 38 h 555"/>
                <a:gd name="T46" fmla="*/ 173 w 303"/>
                <a:gd name="T47" fmla="*/ 26 h 555"/>
                <a:gd name="T48" fmla="*/ 161 w 303"/>
                <a:gd name="T49" fmla="*/ 13 h 555"/>
                <a:gd name="T50" fmla="*/ 155 w 303"/>
                <a:gd name="T51" fmla="*/ 0 h 555"/>
                <a:gd name="T52" fmla="*/ 138 w 303"/>
                <a:gd name="T53" fmla="*/ 13 h 555"/>
                <a:gd name="T54" fmla="*/ 142 w 303"/>
                <a:gd name="T55" fmla="*/ 28 h 555"/>
                <a:gd name="T56" fmla="*/ 142 w 303"/>
                <a:gd name="T57" fmla="*/ 48 h 555"/>
                <a:gd name="T58" fmla="*/ 132 w 303"/>
                <a:gd name="T59" fmla="*/ 63 h 555"/>
                <a:gd name="T60" fmla="*/ 94 w 303"/>
                <a:gd name="T61" fmla="*/ 94 h 555"/>
                <a:gd name="T62" fmla="*/ 82 w 303"/>
                <a:gd name="T63" fmla="*/ 107 h 555"/>
                <a:gd name="T64" fmla="*/ 57 w 303"/>
                <a:gd name="T65" fmla="*/ 148 h 555"/>
                <a:gd name="T66" fmla="*/ 44 w 303"/>
                <a:gd name="T67" fmla="*/ 153 h 555"/>
                <a:gd name="T68" fmla="*/ 34 w 303"/>
                <a:gd name="T69" fmla="*/ 136 h 555"/>
                <a:gd name="T70" fmla="*/ 23 w 303"/>
                <a:gd name="T71" fmla="*/ 140 h 555"/>
                <a:gd name="T72" fmla="*/ 23 w 303"/>
                <a:gd name="T73" fmla="*/ 124 h 555"/>
                <a:gd name="T74" fmla="*/ 15 w 303"/>
                <a:gd name="T75" fmla="*/ 115 h 555"/>
                <a:gd name="T76" fmla="*/ 0 w 303"/>
                <a:gd name="T77" fmla="*/ 136 h 555"/>
                <a:gd name="T78" fmla="*/ 8 w 303"/>
                <a:gd name="T79" fmla="*/ 157 h 555"/>
                <a:gd name="T80" fmla="*/ 4 w 303"/>
                <a:gd name="T81" fmla="*/ 163 h 555"/>
                <a:gd name="T82" fmla="*/ 9 w 303"/>
                <a:gd name="T83" fmla="*/ 174 h 555"/>
                <a:gd name="T84" fmla="*/ 15 w 303"/>
                <a:gd name="T85" fmla="*/ 192 h 555"/>
                <a:gd name="T86" fmla="*/ 36 w 303"/>
                <a:gd name="T87" fmla="*/ 211 h 555"/>
                <a:gd name="T88" fmla="*/ 46 w 303"/>
                <a:gd name="T89" fmla="*/ 228 h 555"/>
                <a:gd name="T90" fmla="*/ 63 w 303"/>
                <a:gd name="T91" fmla="*/ 246 h 555"/>
                <a:gd name="T92" fmla="*/ 77 w 303"/>
                <a:gd name="T93" fmla="*/ 259 h 555"/>
                <a:gd name="T94" fmla="*/ 94 w 303"/>
                <a:gd name="T95" fmla="*/ 303 h 555"/>
                <a:gd name="T96" fmla="*/ 132 w 303"/>
                <a:gd name="T97" fmla="*/ 399 h 555"/>
                <a:gd name="T98" fmla="*/ 138 w 303"/>
                <a:gd name="T99" fmla="*/ 442 h 555"/>
                <a:gd name="T100" fmla="*/ 153 w 303"/>
                <a:gd name="T101" fmla="*/ 459 h 555"/>
                <a:gd name="T102" fmla="*/ 165 w 303"/>
                <a:gd name="T103" fmla="*/ 480 h 555"/>
                <a:gd name="T104" fmla="*/ 186 w 303"/>
                <a:gd name="T105" fmla="*/ 493 h 555"/>
                <a:gd name="T106" fmla="*/ 242 w 303"/>
                <a:gd name="T107" fmla="*/ 534 h 555"/>
                <a:gd name="T108" fmla="*/ 269 w 303"/>
                <a:gd name="T109" fmla="*/ 549 h 555"/>
                <a:gd name="T110" fmla="*/ 282 w 303"/>
                <a:gd name="T111" fmla="*/ 530 h 555"/>
                <a:gd name="T112" fmla="*/ 295 w 303"/>
                <a:gd name="T113" fmla="*/ 511 h 555"/>
                <a:gd name="T114" fmla="*/ 301 w 303"/>
                <a:gd name="T115" fmla="*/ 495 h 55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3"/>
                <a:gd name="T175" fmla="*/ 0 h 555"/>
                <a:gd name="T176" fmla="*/ 303 w 303"/>
                <a:gd name="T177" fmla="*/ 555 h 55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3" h="555">
                  <a:moveTo>
                    <a:pt x="295" y="476"/>
                  </a:moveTo>
                  <a:lnTo>
                    <a:pt x="295" y="472"/>
                  </a:lnTo>
                  <a:lnTo>
                    <a:pt x="294" y="468"/>
                  </a:lnTo>
                  <a:lnTo>
                    <a:pt x="294" y="461"/>
                  </a:lnTo>
                  <a:lnTo>
                    <a:pt x="295" y="459"/>
                  </a:lnTo>
                  <a:lnTo>
                    <a:pt x="294" y="457"/>
                  </a:lnTo>
                  <a:lnTo>
                    <a:pt x="292" y="451"/>
                  </a:lnTo>
                  <a:lnTo>
                    <a:pt x="288" y="443"/>
                  </a:lnTo>
                  <a:lnTo>
                    <a:pt x="288" y="436"/>
                  </a:lnTo>
                  <a:lnTo>
                    <a:pt x="290" y="426"/>
                  </a:lnTo>
                  <a:lnTo>
                    <a:pt x="290" y="424"/>
                  </a:lnTo>
                  <a:lnTo>
                    <a:pt x="297" y="405"/>
                  </a:lnTo>
                  <a:lnTo>
                    <a:pt x="282" y="372"/>
                  </a:lnTo>
                  <a:lnTo>
                    <a:pt x="253" y="363"/>
                  </a:lnTo>
                  <a:lnTo>
                    <a:pt x="259" y="288"/>
                  </a:lnTo>
                  <a:lnTo>
                    <a:pt x="259" y="282"/>
                  </a:lnTo>
                  <a:lnTo>
                    <a:pt x="255" y="282"/>
                  </a:lnTo>
                  <a:lnTo>
                    <a:pt x="240" y="294"/>
                  </a:lnTo>
                  <a:lnTo>
                    <a:pt x="211" y="294"/>
                  </a:lnTo>
                  <a:lnTo>
                    <a:pt x="209" y="290"/>
                  </a:lnTo>
                  <a:lnTo>
                    <a:pt x="207" y="284"/>
                  </a:lnTo>
                  <a:lnTo>
                    <a:pt x="203" y="278"/>
                  </a:lnTo>
                  <a:lnTo>
                    <a:pt x="196" y="272"/>
                  </a:lnTo>
                  <a:lnTo>
                    <a:pt x="190" y="267"/>
                  </a:lnTo>
                  <a:lnTo>
                    <a:pt x="186" y="261"/>
                  </a:lnTo>
                  <a:lnTo>
                    <a:pt x="180" y="255"/>
                  </a:lnTo>
                  <a:lnTo>
                    <a:pt x="176" y="255"/>
                  </a:lnTo>
                  <a:lnTo>
                    <a:pt x="180" y="242"/>
                  </a:lnTo>
                  <a:lnTo>
                    <a:pt x="180" y="240"/>
                  </a:lnTo>
                  <a:lnTo>
                    <a:pt x="178" y="234"/>
                  </a:lnTo>
                  <a:lnTo>
                    <a:pt x="173" y="224"/>
                  </a:lnTo>
                  <a:lnTo>
                    <a:pt x="173" y="219"/>
                  </a:lnTo>
                  <a:lnTo>
                    <a:pt x="171" y="211"/>
                  </a:lnTo>
                  <a:lnTo>
                    <a:pt x="173" y="209"/>
                  </a:lnTo>
                  <a:lnTo>
                    <a:pt x="178" y="211"/>
                  </a:lnTo>
                  <a:lnTo>
                    <a:pt x="182" y="211"/>
                  </a:lnTo>
                  <a:lnTo>
                    <a:pt x="182" y="209"/>
                  </a:lnTo>
                  <a:lnTo>
                    <a:pt x="180" y="205"/>
                  </a:lnTo>
                  <a:lnTo>
                    <a:pt x="182" y="197"/>
                  </a:lnTo>
                  <a:lnTo>
                    <a:pt x="184" y="192"/>
                  </a:lnTo>
                  <a:lnTo>
                    <a:pt x="186" y="188"/>
                  </a:lnTo>
                  <a:lnTo>
                    <a:pt x="190" y="182"/>
                  </a:lnTo>
                  <a:lnTo>
                    <a:pt x="196" y="159"/>
                  </a:lnTo>
                  <a:lnTo>
                    <a:pt x="201" y="153"/>
                  </a:lnTo>
                  <a:lnTo>
                    <a:pt x="209" y="149"/>
                  </a:lnTo>
                  <a:lnTo>
                    <a:pt x="217" y="144"/>
                  </a:lnTo>
                  <a:lnTo>
                    <a:pt x="222" y="140"/>
                  </a:lnTo>
                  <a:lnTo>
                    <a:pt x="232" y="136"/>
                  </a:lnTo>
                  <a:lnTo>
                    <a:pt x="238" y="134"/>
                  </a:lnTo>
                  <a:lnTo>
                    <a:pt x="246" y="132"/>
                  </a:lnTo>
                  <a:lnTo>
                    <a:pt x="259" y="132"/>
                  </a:lnTo>
                  <a:lnTo>
                    <a:pt x="263" y="130"/>
                  </a:lnTo>
                  <a:lnTo>
                    <a:pt x="267" y="126"/>
                  </a:lnTo>
                  <a:lnTo>
                    <a:pt x="267" y="123"/>
                  </a:lnTo>
                  <a:lnTo>
                    <a:pt x="259" y="119"/>
                  </a:lnTo>
                  <a:lnTo>
                    <a:pt x="247" y="119"/>
                  </a:lnTo>
                  <a:lnTo>
                    <a:pt x="270" y="71"/>
                  </a:lnTo>
                  <a:lnTo>
                    <a:pt x="270" y="69"/>
                  </a:lnTo>
                  <a:lnTo>
                    <a:pt x="267" y="65"/>
                  </a:lnTo>
                  <a:lnTo>
                    <a:pt x="251" y="61"/>
                  </a:lnTo>
                  <a:lnTo>
                    <a:pt x="240" y="57"/>
                  </a:lnTo>
                  <a:lnTo>
                    <a:pt x="234" y="53"/>
                  </a:lnTo>
                  <a:lnTo>
                    <a:pt x="222" y="53"/>
                  </a:lnTo>
                  <a:lnTo>
                    <a:pt x="221" y="61"/>
                  </a:lnTo>
                  <a:lnTo>
                    <a:pt x="219" y="61"/>
                  </a:lnTo>
                  <a:lnTo>
                    <a:pt x="201" y="55"/>
                  </a:lnTo>
                  <a:lnTo>
                    <a:pt x="198" y="48"/>
                  </a:lnTo>
                  <a:lnTo>
                    <a:pt x="198" y="40"/>
                  </a:lnTo>
                  <a:lnTo>
                    <a:pt x="184" y="38"/>
                  </a:lnTo>
                  <a:lnTo>
                    <a:pt x="180" y="36"/>
                  </a:lnTo>
                  <a:lnTo>
                    <a:pt x="175" y="32"/>
                  </a:lnTo>
                  <a:lnTo>
                    <a:pt x="173" y="26"/>
                  </a:lnTo>
                  <a:lnTo>
                    <a:pt x="171" y="23"/>
                  </a:lnTo>
                  <a:lnTo>
                    <a:pt x="167" y="17"/>
                  </a:lnTo>
                  <a:lnTo>
                    <a:pt x="161" y="13"/>
                  </a:lnTo>
                  <a:lnTo>
                    <a:pt x="157" y="11"/>
                  </a:lnTo>
                  <a:lnTo>
                    <a:pt x="155" y="3"/>
                  </a:lnTo>
                  <a:lnTo>
                    <a:pt x="155" y="0"/>
                  </a:lnTo>
                  <a:lnTo>
                    <a:pt x="140" y="0"/>
                  </a:lnTo>
                  <a:lnTo>
                    <a:pt x="130" y="7"/>
                  </a:lnTo>
                  <a:lnTo>
                    <a:pt x="138" y="13"/>
                  </a:lnTo>
                  <a:lnTo>
                    <a:pt x="138" y="15"/>
                  </a:lnTo>
                  <a:lnTo>
                    <a:pt x="140" y="21"/>
                  </a:lnTo>
                  <a:lnTo>
                    <a:pt x="142" y="28"/>
                  </a:lnTo>
                  <a:lnTo>
                    <a:pt x="142" y="38"/>
                  </a:lnTo>
                  <a:lnTo>
                    <a:pt x="144" y="44"/>
                  </a:lnTo>
                  <a:lnTo>
                    <a:pt x="142" y="48"/>
                  </a:lnTo>
                  <a:lnTo>
                    <a:pt x="138" y="48"/>
                  </a:lnTo>
                  <a:lnTo>
                    <a:pt x="138" y="51"/>
                  </a:lnTo>
                  <a:lnTo>
                    <a:pt x="132" y="63"/>
                  </a:lnTo>
                  <a:lnTo>
                    <a:pt x="119" y="76"/>
                  </a:lnTo>
                  <a:lnTo>
                    <a:pt x="103" y="88"/>
                  </a:lnTo>
                  <a:lnTo>
                    <a:pt x="94" y="94"/>
                  </a:lnTo>
                  <a:lnTo>
                    <a:pt x="88" y="98"/>
                  </a:lnTo>
                  <a:lnTo>
                    <a:pt x="84" y="103"/>
                  </a:lnTo>
                  <a:lnTo>
                    <a:pt x="82" y="107"/>
                  </a:lnTo>
                  <a:lnTo>
                    <a:pt x="77" y="113"/>
                  </a:lnTo>
                  <a:lnTo>
                    <a:pt x="71" y="121"/>
                  </a:lnTo>
                  <a:lnTo>
                    <a:pt x="57" y="148"/>
                  </a:lnTo>
                  <a:lnTo>
                    <a:pt x="50" y="151"/>
                  </a:lnTo>
                  <a:lnTo>
                    <a:pt x="48" y="153"/>
                  </a:lnTo>
                  <a:lnTo>
                    <a:pt x="44" y="153"/>
                  </a:lnTo>
                  <a:lnTo>
                    <a:pt x="40" y="149"/>
                  </a:lnTo>
                  <a:lnTo>
                    <a:pt x="38" y="142"/>
                  </a:lnTo>
                  <a:lnTo>
                    <a:pt x="34" y="136"/>
                  </a:lnTo>
                  <a:lnTo>
                    <a:pt x="34" y="134"/>
                  </a:lnTo>
                  <a:lnTo>
                    <a:pt x="29" y="138"/>
                  </a:lnTo>
                  <a:lnTo>
                    <a:pt x="23" y="140"/>
                  </a:lnTo>
                  <a:lnTo>
                    <a:pt x="19" y="138"/>
                  </a:lnTo>
                  <a:lnTo>
                    <a:pt x="13" y="132"/>
                  </a:lnTo>
                  <a:lnTo>
                    <a:pt x="23" y="124"/>
                  </a:lnTo>
                  <a:lnTo>
                    <a:pt x="21" y="119"/>
                  </a:lnTo>
                  <a:lnTo>
                    <a:pt x="17" y="113"/>
                  </a:lnTo>
                  <a:lnTo>
                    <a:pt x="15" y="115"/>
                  </a:lnTo>
                  <a:lnTo>
                    <a:pt x="9" y="123"/>
                  </a:lnTo>
                  <a:lnTo>
                    <a:pt x="2" y="130"/>
                  </a:lnTo>
                  <a:lnTo>
                    <a:pt x="0" y="136"/>
                  </a:lnTo>
                  <a:lnTo>
                    <a:pt x="2" y="144"/>
                  </a:lnTo>
                  <a:lnTo>
                    <a:pt x="6" y="153"/>
                  </a:lnTo>
                  <a:lnTo>
                    <a:pt x="8" y="157"/>
                  </a:lnTo>
                  <a:lnTo>
                    <a:pt x="4" y="157"/>
                  </a:lnTo>
                  <a:lnTo>
                    <a:pt x="2" y="159"/>
                  </a:lnTo>
                  <a:lnTo>
                    <a:pt x="4" y="163"/>
                  </a:lnTo>
                  <a:lnTo>
                    <a:pt x="6" y="165"/>
                  </a:lnTo>
                  <a:lnTo>
                    <a:pt x="11" y="167"/>
                  </a:lnTo>
                  <a:lnTo>
                    <a:pt x="9" y="174"/>
                  </a:lnTo>
                  <a:lnTo>
                    <a:pt x="8" y="180"/>
                  </a:lnTo>
                  <a:lnTo>
                    <a:pt x="8" y="186"/>
                  </a:lnTo>
                  <a:lnTo>
                    <a:pt x="15" y="192"/>
                  </a:lnTo>
                  <a:lnTo>
                    <a:pt x="27" y="199"/>
                  </a:lnTo>
                  <a:lnTo>
                    <a:pt x="34" y="205"/>
                  </a:lnTo>
                  <a:lnTo>
                    <a:pt x="36" y="211"/>
                  </a:lnTo>
                  <a:lnTo>
                    <a:pt x="38" y="219"/>
                  </a:lnTo>
                  <a:lnTo>
                    <a:pt x="42" y="224"/>
                  </a:lnTo>
                  <a:lnTo>
                    <a:pt x="46" y="228"/>
                  </a:lnTo>
                  <a:lnTo>
                    <a:pt x="57" y="232"/>
                  </a:lnTo>
                  <a:lnTo>
                    <a:pt x="61" y="238"/>
                  </a:lnTo>
                  <a:lnTo>
                    <a:pt x="63" y="246"/>
                  </a:lnTo>
                  <a:lnTo>
                    <a:pt x="65" y="251"/>
                  </a:lnTo>
                  <a:lnTo>
                    <a:pt x="69" y="255"/>
                  </a:lnTo>
                  <a:lnTo>
                    <a:pt x="77" y="259"/>
                  </a:lnTo>
                  <a:lnTo>
                    <a:pt x="80" y="263"/>
                  </a:lnTo>
                  <a:lnTo>
                    <a:pt x="90" y="282"/>
                  </a:lnTo>
                  <a:lnTo>
                    <a:pt x="94" y="303"/>
                  </a:lnTo>
                  <a:lnTo>
                    <a:pt x="100" y="328"/>
                  </a:lnTo>
                  <a:lnTo>
                    <a:pt x="113" y="359"/>
                  </a:lnTo>
                  <a:lnTo>
                    <a:pt x="132" y="399"/>
                  </a:lnTo>
                  <a:lnTo>
                    <a:pt x="138" y="428"/>
                  </a:lnTo>
                  <a:lnTo>
                    <a:pt x="134" y="436"/>
                  </a:lnTo>
                  <a:lnTo>
                    <a:pt x="138" y="442"/>
                  </a:lnTo>
                  <a:lnTo>
                    <a:pt x="146" y="445"/>
                  </a:lnTo>
                  <a:lnTo>
                    <a:pt x="150" y="451"/>
                  </a:lnTo>
                  <a:lnTo>
                    <a:pt x="153" y="459"/>
                  </a:lnTo>
                  <a:lnTo>
                    <a:pt x="153" y="467"/>
                  </a:lnTo>
                  <a:lnTo>
                    <a:pt x="157" y="474"/>
                  </a:lnTo>
                  <a:lnTo>
                    <a:pt x="165" y="480"/>
                  </a:lnTo>
                  <a:lnTo>
                    <a:pt x="176" y="484"/>
                  </a:lnTo>
                  <a:lnTo>
                    <a:pt x="184" y="490"/>
                  </a:lnTo>
                  <a:lnTo>
                    <a:pt x="186" y="493"/>
                  </a:lnTo>
                  <a:lnTo>
                    <a:pt x="190" y="497"/>
                  </a:lnTo>
                  <a:lnTo>
                    <a:pt x="192" y="501"/>
                  </a:lnTo>
                  <a:lnTo>
                    <a:pt x="242" y="534"/>
                  </a:lnTo>
                  <a:lnTo>
                    <a:pt x="263" y="553"/>
                  </a:lnTo>
                  <a:lnTo>
                    <a:pt x="263" y="555"/>
                  </a:lnTo>
                  <a:lnTo>
                    <a:pt x="269" y="549"/>
                  </a:lnTo>
                  <a:lnTo>
                    <a:pt x="272" y="543"/>
                  </a:lnTo>
                  <a:lnTo>
                    <a:pt x="276" y="534"/>
                  </a:lnTo>
                  <a:lnTo>
                    <a:pt x="282" y="530"/>
                  </a:lnTo>
                  <a:lnTo>
                    <a:pt x="286" y="528"/>
                  </a:lnTo>
                  <a:lnTo>
                    <a:pt x="290" y="520"/>
                  </a:lnTo>
                  <a:lnTo>
                    <a:pt x="295" y="511"/>
                  </a:lnTo>
                  <a:lnTo>
                    <a:pt x="301" y="503"/>
                  </a:lnTo>
                  <a:lnTo>
                    <a:pt x="303" y="499"/>
                  </a:lnTo>
                  <a:lnTo>
                    <a:pt x="301" y="495"/>
                  </a:lnTo>
                  <a:lnTo>
                    <a:pt x="301" y="492"/>
                  </a:lnTo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1" name="Freeform 316"/>
            <p:cNvSpPr>
              <a:spLocks/>
            </p:cNvSpPr>
            <p:nvPr/>
          </p:nvSpPr>
          <p:spPr bwMode="gray">
            <a:xfrm>
              <a:off x="2021" y="2759"/>
              <a:ext cx="66" cy="102"/>
            </a:xfrm>
            <a:custGeom>
              <a:avLst/>
              <a:gdLst>
                <a:gd name="T0" fmla="*/ 20 w 133"/>
                <a:gd name="T1" fmla="*/ 144 h 203"/>
                <a:gd name="T2" fmla="*/ 20 w 133"/>
                <a:gd name="T3" fmla="*/ 151 h 203"/>
                <a:gd name="T4" fmla="*/ 6 w 133"/>
                <a:gd name="T5" fmla="*/ 163 h 203"/>
                <a:gd name="T6" fmla="*/ 12 w 133"/>
                <a:gd name="T7" fmla="*/ 174 h 203"/>
                <a:gd name="T8" fmla="*/ 8 w 133"/>
                <a:gd name="T9" fmla="*/ 188 h 203"/>
                <a:gd name="T10" fmla="*/ 18 w 133"/>
                <a:gd name="T11" fmla="*/ 188 h 203"/>
                <a:gd name="T12" fmla="*/ 23 w 133"/>
                <a:gd name="T13" fmla="*/ 186 h 203"/>
                <a:gd name="T14" fmla="*/ 29 w 133"/>
                <a:gd name="T15" fmla="*/ 199 h 203"/>
                <a:gd name="T16" fmla="*/ 37 w 133"/>
                <a:gd name="T17" fmla="*/ 203 h 203"/>
                <a:gd name="T18" fmla="*/ 46 w 133"/>
                <a:gd name="T19" fmla="*/ 198 h 203"/>
                <a:gd name="T20" fmla="*/ 66 w 133"/>
                <a:gd name="T21" fmla="*/ 163 h 203"/>
                <a:gd name="T22" fmla="*/ 73 w 133"/>
                <a:gd name="T23" fmla="*/ 153 h 203"/>
                <a:gd name="T24" fmla="*/ 83 w 133"/>
                <a:gd name="T25" fmla="*/ 144 h 203"/>
                <a:gd name="T26" fmla="*/ 108 w 133"/>
                <a:gd name="T27" fmla="*/ 126 h 203"/>
                <a:gd name="T28" fmla="*/ 127 w 133"/>
                <a:gd name="T29" fmla="*/ 101 h 203"/>
                <a:gd name="T30" fmla="*/ 131 w 133"/>
                <a:gd name="T31" fmla="*/ 98 h 203"/>
                <a:gd name="T32" fmla="*/ 131 w 133"/>
                <a:gd name="T33" fmla="*/ 88 h 203"/>
                <a:gd name="T34" fmla="*/ 129 w 133"/>
                <a:gd name="T35" fmla="*/ 71 h 203"/>
                <a:gd name="T36" fmla="*/ 127 w 133"/>
                <a:gd name="T37" fmla="*/ 63 h 203"/>
                <a:gd name="T38" fmla="*/ 129 w 133"/>
                <a:gd name="T39" fmla="*/ 50 h 203"/>
                <a:gd name="T40" fmla="*/ 112 w 133"/>
                <a:gd name="T41" fmla="*/ 40 h 203"/>
                <a:gd name="T42" fmla="*/ 104 w 133"/>
                <a:gd name="T43" fmla="*/ 42 h 203"/>
                <a:gd name="T44" fmla="*/ 77 w 133"/>
                <a:gd name="T45" fmla="*/ 32 h 203"/>
                <a:gd name="T46" fmla="*/ 73 w 133"/>
                <a:gd name="T47" fmla="*/ 23 h 203"/>
                <a:gd name="T48" fmla="*/ 69 w 133"/>
                <a:gd name="T49" fmla="*/ 17 h 203"/>
                <a:gd name="T50" fmla="*/ 60 w 133"/>
                <a:gd name="T51" fmla="*/ 13 h 203"/>
                <a:gd name="T52" fmla="*/ 48 w 133"/>
                <a:gd name="T53" fmla="*/ 5 h 203"/>
                <a:gd name="T54" fmla="*/ 46 w 133"/>
                <a:gd name="T55" fmla="*/ 0 h 203"/>
                <a:gd name="T56" fmla="*/ 29 w 133"/>
                <a:gd name="T57" fmla="*/ 11 h 203"/>
                <a:gd name="T58" fmla="*/ 25 w 133"/>
                <a:gd name="T59" fmla="*/ 32 h 203"/>
                <a:gd name="T60" fmla="*/ 12 w 133"/>
                <a:gd name="T61" fmla="*/ 51 h 203"/>
                <a:gd name="T62" fmla="*/ 16 w 133"/>
                <a:gd name="T63" fmla="*/ 69 h 203"/>
                <a:gd name="T64" fmla="*/ 12 w 133"/>
                <a:gd name="T65" fmla="*/ 78 h 203"/>
                <a:gd name="T66" fmla="*/ 0 w 133"/>
                <a:gd name="T67" fmla="*/ 88 h 203"/>
                <a:gd name="T68" fmla="*/ 4 w 133"/>
                <a:gd name="T69" fmla="*/ 92 h 203"/>
                <a:gd name="T70" fmla="*/ 4 w 133"/>
                <a:gd name="T71" fmla="*/ 103 h 203"/>
                <a:gd name="T72" fmla="*/ 2 w 133"/>
                <a:gd name="T73" fmla="*/ 115 h 203"/>
                <a:gd name="T74" fmla="*/ 6 w 133"/>
                <a:gd name="T75" fmla="*/ 123 h 203"/>
                <a:gd name="T76" fmla="*/ 0 w 133"/>
                <a:gd name="T77" fmla="*/ 132 h 203"/>
                <a:gd name="T78" fmla="*/ 14 w 133"/>
                <a:gd name="T79" fmla="*/ 138 h 20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33"/>
                <a:gd name="T121" fmla="*/ 0 h 203"/>
                <a:gd name="T122" fmla="*/ 133 w 133"/>
                <a:gd name="T123" fmla="*/ 203 h 20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33" h="203">
                  <a:moveTo>
                    <a:pt x="20" y="140"/>
                  </a:moveTo>
                  <a:lnTo>
                    <a:pt x="20" y="144"/>
                  </a:lnTo>
                  <a:lnTo>
                    <a:pt x="18" y="148"/>
                  </a:lnTo>
                  <a:lnTo>
                    <a:pt x="20" y="151"/>
                  </a:lnTo>
                  <a:lnTo>
                    <a:pt x="12" y="159"/>
                  </a:lnTo>
                  <a:lnTo>
                    <a:pt x="6" y="163"/>
                  </a:lnTo>
                  <a:lnTo>
                    <a:pt x="10" y="169"/>
                  </a:lnTo>
                  <a:lnTo>
                    <a:pt x="12" y="174"/>
                  </a:lnTo>
                  <a:lnTo>
                    <a:pt x="2" y="182"/>
                  </a:lnTo>
                  <a:lnTo>
                    <a:pt x="8" y="188"/>
                  </a:lnTo>
                  <a:lnTo>
                    <a:pt x="12" y="190"/>
                  </a:lnTo>
                  <a:lnTo>
                    <a:pt x="18" y="188"/>
                  </a:lnTo>
                  <a:lnTo>
                    <a:pt x="23" y="184"/>
                  </a:lnTo>
                  <a:lnTo>
                    <a:pt x="23" y="186"/>
                  </a:lnTo>
                  <a:lnTo>
                    <a:pt x="27" y="192"/>
                  </a:lnTo>
                  <a:lnTo>
                    <a:pt x="29" y="199"/>
                  </a:lnTo>
                  <a:lnTo>
                    <a:pt x="33" y="203"/>
                  </a:lnTo>
                  <a:lnTo>
                    <a:pt x="37" y="203"/>
                  </a:lnTo>
                  <a:lnTo>
                    <a:pt x="39" y="201"/>
                  </a:lnTo>
                  <a:lnTo>
                    <a:pt x="46" y="198"/>
                  </a:lnTo>
                  <a:lnTo>
                    <a:pt x="60" y="171"/>
                  </a:lnTo>
                  <a:lnTo>
                    <a:pt x="66" y="163"/>
                  </a:lnTo>
                  <a:lnTo>
                    <a:pt x="71" y="157"/>
                  </a:lnTo>
                  <a:lnTo>
                    <a:pt x="73" y="153"/>
                  </a:lnTo>
                  <a:lnTo>
                    <a:pt x="77" y="148"/>
                  </a:lnTo>
                  <a:lnTo>
                    <a:pt x="83" y="144"/>
                  </a:lnTo>
                  <a:lnTo>
                    <a:pt x="92" y="138"/>
                  </a:lnTo>
                  <a:lnTo>
                    <a:pt x="108" y="126"/>
                  </a:lnTo>
                  <a:lnTo>
                    <a:pt x="121" y="113"/>
                  </a:lnTo>
                  <a:lnTo>
                    <a:pt x="127" y="101"/>
                  </a:lnTo>
                  <a:lnTo>
                    <a:pt x="127" y="98"/>
                  </a:lnTo>
                  <a:lnTo>
                    <a:pt x="131" y="98"/>
                  </a:lnTo>
                  <a:lnTo>
                    <a:pt x="133" y="94"/>
                  </a:lnTo>
                  <a:lnTo>
                    <a:pt x="131" y="88"/>
                  </a:lnTo>
                  <a:lnTo>
                    <a:pt x="131" y="78"/>
                  </a:lnTo>
                  <a:lnTo>
                    <a:pt x="129" y="71"/>
                  </a:lnTo>
                  <a:lnTo>
                    <a:pt x="127" y="65"/>
                  </a:lnTo>
                  <a:lnTo>
                    <a:pt x="127" y="63"/>
                  </a:lnTo>
                  <a:lnTo>
                    <a:pt x="119" y="57"/>
                  </a:lnTo>
                  <a:lnTo>
                    <a:pt x="129" y="50"/>
                  </a:lnTo>
                  <a:lnTo>
                    <a:pt x="117" y="44"/>
                  </a:lnTo>
                  <a:lnTo>
                    <a:pt x="112" y="40"/>
                  </a:lnTo>
                  <a:lnTo>
                    <a:pt x="108" y="38"/>
                  </a:lnTo>
                  <a:lnTo>
                    <a:pt x="104" y="42"/>
                  </a:lnTo>
                  <a:lnTo>
                    <a:pt x="81" y="36"/>
                  </a:lnTo>
                  <a:lnTo>
                    <a:pt x="77" y="32"/>
                  </a:lnTo>
                  <a:lnTo>
                    <a:pt x="75" y="28"/>
                  </a:lnTo>
                  <a:lnTo>
                    <a:pt x="73" y="23"/>
                  </a:lnTo>
                  <a:lnTo>
                    <a:pt x="69" y="19"/>
                  </a:lnTo>
                  <a:lnTo>
                    <a:pt x="69" y="17"/>
                  </a:lnTo>
                  <a:lnTo>
                    <a:pt x="66" y="17"/>
                  </a:lnTo>
                  <a:lnTo>
                    <a:pt x="60" y="13"/>
                  </a:lnTo>
                  <a:lnTo>
                    <a:pt x="54" y="11"/>
                  </a:lnTo>
                  <a:lnTo>
                    <a:pt x="48" y="5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37" y="5"/>
                  </a:lnTo>
                  <a:lnTo>
                    <a:pt x="29" y="11"/>
                  </a:lnTo>
                  <a:lnTo>
                    <a:pt x="20" y="17"/>
                  </a:lnTo>
                  <a:lnTo>
                    <a:pt x="25" y="32"/>
                  </a:lnTo>
                  <a:lnTo>
                    <a:pt x="18" y="46"/>
                  </a:lnTo>
                  <a:lnTo>
                    <a:pt x="12" y="51"/>
                  </a:lnTo>
                  <a:lnTo>
                    <a:pt x="12" y="61"/>
                  </a:lnTo>
                  <a:lnTo>
                    <a:pt x="16" y="69"/>
                  </a:lnTo>
                  <a:lnTo>
                    <a:pt x="16" y="76"/>
                  </a:lnTo>
                  <a:lnTo>
                    <a:pt x="12" y="78"/>
                  </a:lnTo>
                  <a:lnTo>
                    <a:pt x="4" y="84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4" y="92"/>
                  </a:lnTo>
                  <a:lnTo>
                    <a:pt x="8" y="90"/>
                  </a:lnTo>
                  <a:lnTo>
                    <a:pt x="4" y="103"/>
                  </a:lnTo>
                  <a:lnTo>
                    <a:pt x="2" y="105"/>
                  </a:lnTo>
                  <a:lnTo>
                    <a:pt x="2" y="115"/>
                  </a:lnTo>
                  <a:lnTo>
                    <a:pt x="8" y="117"/>
                  </a:lnTo>
                  <a:lnTo>
                    <a:pt x="6" y="123"/>
                  </a:lnTo>
                  <a:lnTo>
                    <a:pt x="2" y="128"/>
                  </a:lnTo>
                  <a:lnTo>
                    <a:pt x="0" y="132"/>
                  </a:lnTo>
                  <a:lnTo>
                    <a:pt x="6" y="136"/>
                  </a:lnTo>
                  <a:lnTo>
                    <a:pt x="14" y="138"/>
                  </a:lnTo>
                  <a:lnTo>
                    <a:pt x="20" y="14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2" name="Freeform 317"/>
            <p:cNvSpPr>
              <a:spLocks/>
            </p:cNvSpPr>
            <p:nvPr/>
          </p:nvSpPr>
          <p:spPr bwMode="gray">
            <a:xfrm>
              <a:off x="4657" y="2120"/>
              <a:ext cx="136" cy="135"/>
            </a:xfrm>
            <a:custGeom>
              <a:avLst/>
              <a:gdLst>
                <a:gd name="T0" fmla="*/ 236 w 270"/>
                <a:gd name="T1" fmla="*/ 7 h 269"/>
                <a:gd name="T2" fmla="*/ 226 w 270"/>
                <a:gd name="T3" fmla="*/ 17 h 269"/>
                <a:gd name="T4" fmla="*/ 226 w 270"/>
                <a:gd name="T5" fmla="*/ 32 h 269"/>
                <a:gd name="T6" fmla="*/ 219 w 270"/>
                <a:gd name="T7" fmla="*/ 44 h 269"/>
                <a:gd name="T8" fmla="*/ 224 w 270"/>
                <a:gd name="T9" fmla="*/ 65 h 269"/>
                <a:gd name="T10" fmla="*/ 220 w 270"/>
                <a:gd name="T11" fmla="*/ 78 h 269"/>
                <a:gd name="T12" fmla="*/ 199 w 270"/>
                <a:gd name="T13" fmla="*/ 113 h 269"/>
                <a:gd name="T14" fmla="*/ 182 w 270"/>
                <a:gd name="T15" fmla="*/ 128 h 269"/>
                <a:gd name="T16" fmla="*/ 176 w 270"/>
                <a:gd name="T17" fmla="*/ 146 h 269"/>
                <a:gd name="T18" fmla="*/ 157 w 270"/>
                <a:gd name="T19" fmla="*/ 150 h 269"/>
                <a:gd name="T20" fmla="*/ 144 w 270"/>
                <a:gd name="T21" fmla="*/ 151 h 269"/>
                <a:gd name="T22" fmla="*/ 149 w 270"/>
                <a:gd name="T23" fmla="*/ 134 h 269"/>
                <a:gd name="T24" fmla="*/ 140 w 270"/>
                <a:gd name="T25" fmla="*/ 136 h 269"/>
                <a:gd name="T26" fmla="*/ 136 w 270"/>
                <a:gd name="T27" fmla="*/ 153 h 269"/>
                <a:gd name="T28" fmla="*/ 119 w 270"/>
                <a:gd name="T29" fmla="*/ 178 h 269"/>
                <a:gd name="T30" fmla="*/ 123 w 270"/>
                <a:gd name="T31" fmla="*/ 198 h 269"/>
                <a:gd name="T32" fmla="*/ 98 w 270"/>
                <a:gd name="T33" fmla="*/ 200 h 269"/>
                <a:gd name="T34" fmla="*/ 65 w 270"/>
                <a:gd name="T35" fmla="*/ 201 h 269"/>
                <a:gd name="T36" fmla="*/ 46 w 270"/>
                <a:gd name="T37" fmla="*/ 209 h 269"/>
                <a:gd name="T38" fmla="*/ 9 w 270"/>
                <a:gd name="T39" fmla="*/ 238 h 269"/>
                <a:gd name="T40" fmla="*/ 2 w 270"/>
                <a:gd name="T41" fmla="*/ 238 h 269"/>
                <a:gd name="T42" fmla="*/ 9 w 270"/>
                <a:gd name="T43" fmla="*/ 248 h 269"/>
                <a:gd name="T44" fmla="*/ 36 w 270"/>
                <a:gd name="T45" fmla="*/ 240 h 269"/>
                <a:gd name="T46" fmla="*/ 82 w 270"/>
                <a:gd name="T47" fmla="*/ 232 h 269"/>
                <a:gd name="T48" fmla="*/ 96 w 270"/>
                <a:gd name="T49" fmla="*/ 242 h 269"/>
                <a:gd name="T50" fmla="*/ 96 w 270"/>
                <a:gd name="T51" fmla="*/ 255 h 269"/>
                <a:gd name="T52" fmla="*/ 103 w 270"/>
                <a:gd name="T53" fmla="*/ 269 h 269"/>
                <a:gd name="T54" fmla="*/ 119 w 270"/>
                <a:gd name="T55" fmla="*/ 269 h 269"/>
                <a:gd name="T56" fmla="*/ 128 w 270"/>
                <a:gd name="T57" fmla="*/ 251 h 269"/>
                <a:gd name="T58" fmla="*/ 144 w 270"/>
                <a:gd name="T59" fmla="*/ 244 h 269"/>
                <a:gd name="T60" fmla="*/ 138 w 270"/>
                <a:gd name="T61" fmla="*/ 228 h 269"/>
                <a:gd name="T62" fmla="*/ 153 w 270"/>
                <a:gd name="T63" fmla="*/ 234 h 269"/>
                <a:gd name="T64" fmla="*/ 157 w 270"/>
                <a:gd name="T65" fmla="*/ 238 h 269"/>
                <a:gd name="T66" fmla="*/ 169 w 270"/>
                <a:gd name="T67" fmla="*/ 232 h 269"/>
                <a:gd name="T68" fmla="*/ 184 w 270"/>
                <a:gd name="T69" fmla="*/ 232 h 269"/>
                <a:gd name="T70" fmla="*/ 197 w 270"/>
                <a:gd name="T71" fmla="*/ 232 h 269"/>
                <a:gd name="T72" fmla="*/ 205 w 270"/>
                <a:gd name="T73" fmla="*/ 224 h 269"/>
                <a:gd name="T74" fmla="*/ 220 w 270"/>
                <a:gd name="T75" fmla="*/ 209 h 269"/>
                <a:gd name="T76" fmla="*/ 228 w 270"/>
                <a:gd name="T77" fmla="*/ 194 h 269"/>
                <a:gd name="T78" fmla="*/ 222 w 270"/>
                <a:gd name="T79" fmla="*/ 219 h 269"/>
                <a:gd name="T80" fmla="*/ 245 w 270"/>
                <a:gd name="T81" fmla="*/ 201 h 269"/>
                <a:gd name="T82" fmla="*/ 240 w 270"/>
                <a:gd name="T83" fmla="*/ 180 h 269"/>
                <a:gd name="T84" fmla="*/ 245 w 270"/>
                <a:gd name="T85" fmla="*/ 150 h 269"/>
                <a:gd name="T86" fmla="*/ 245 w 270"/>
                <a:gd name="T87" fmla="*/ 103 h 269"/>
                <a:gd name="T88" fmla="*/ 263 w 270"/>
                <a:gd name="T89" fmla="*/ 94 h 269"/>
                <a:gd name="T90" fmla="*/ 259 w 270"/>
                <a:gd name="T91" fmla="*/ 84 h 269"/>
                <a:gd name="T92" fmla="*/ 270 w 270"/>
                <a:gd name="T93" fmla="*/ 44 h 269"/>
                <a:gd name="T94" fmla="*/ 259 w 270"/>
                <a:gd name="T95" fmla="*/ 7 h 2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0"/>
                <a:gd name="T145" fmla="*/ 0 h 269"/>
                <a:gd name="T146" fmla="*/ 270 w 270"/>
                <a:gd name="T147" fmla="*/ 269 h 2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0" h="269">
                  <a:moveTo>
                    <a:pt x="236" y="0"/>
                  </a:moveTo>
                  <a:lnTo>
                    <a:pt x="234" y="3"/>
                  </a:lnTo>
                  <a:lnTo>
                    <a:pt x="236" y="7"/>
                  </a:lnTo>
                  <a:lnTo>
                    <a:pt x="236" y="11"/>
                  </a:lnTo>
                  <a:lnTo>
                    <a:pt x="232" y="13"/>
                  </a:lnTo>
                  <a:lnTo>
                    <a:pt x="226" y="17"/>
                  </a:lnTo>
                  <a:lnTo>
                    <a:pt x="224" y="19"/>
                  </a:lnTo>
                  <a:lnTo>
                    <a:pt x="224" y="27"/>
                  </a:lnTo>
                  <a:lnTo>
                    <a:pt x="226" y="32"/>
                  </a:lnTo>
                  <a:lnTo>
                    <a:pt x="228" y="42"/>
                  </a:lnTo>
                  <a:lnTo>
                    <a:pt x="222" y="44"/>
                  </a:lnTo>
                  <a:lnTo>
                    <a:pt x="219" y="44"/>
                  </a:lnTo>
                  <a:lnTo>
                    <a:pt x="217" y="50"/>
                  </a:lnTo>
                  <a:lnTo>
                    <a:pt x="228" y="57"/>
                  </a:lnTo>
                  <a:lnTo>
                    <a:pt x="224" y="65"/>
                  </a:lnTo>
                  <a:lnTo>
                    <a:pt x="219" y="67"/>
                  </a:lnTo>
                  <a:lnTo>
                    <a:pt x="220" y="73"/>
                  </a:lnTo>
                  <a:lnTo>
                    <a:pt x="220" y="78"/>
                  </a:lnTo>
                  <a:lnTo>
                    <a:pt x="219" y="84"/>
                  </a:lnTo>
                  <a:lnTo>
                    <a:pt x="213" y="94"/>
                  </a:lnTo>
                  <a:lnTo>
                    <a:pt x="199" y="113"/>
                  </a:lnTo>
                  <a:lnTo>
                    <a:pt x="192" y="123"/>
                  </a:lnTo>
                  <a:lnTo>
                    <a:pt x="184" y="123"/>
                  </a:lnTo>
                  <a:lnTo>
                    <a:pt x="182" y="128"/>
                  </a:lnTo>
                  <a:lnTo>
                    <a:pt x="182" y="136"/>
                  </a:lnTo>
                  <a:lnTo>
                    <a:pt x="176" y="140"/>
                  </a:lnTo>
                  <a:lnTo>
                    <a:pt x="176" y="146"/>
                  </a:lnTo>
                  <a:lnTo>
                    <a:pt x="171" y="148"/>
                  </a:lnTo>
                  <a:lnTo>
                    <a:pt x="165" y="148"/>
                  </a:lnTo>
                  <a:lnTo>
                    <a:pt x="157" y="150"/>
                  </a:lnTo>
                  <a:lnTo>
                    <a:pt x="157" y="157"/>
                  </a:lnTo>
                  <a:lnTo>
                    <a:pt x="144" y="157"/>
                  </a:lnTo>
                  <a:lnTo>
                    <a:pt x="144" y="151"/>
                  </a:lnTo>
                  <a:lnTo>
                    <a:pt x="142" y="146"/>
                  </a:lnTo>
                  <a:lnTo>
                    <a:pt x="144" y="140"/>
                  </a:lnTo>
                  <a:lnTo>
                    <a:pt x="149" y="134"/>
                  </a:lnTo>
                  <a:lnTo>
                    <a:pt x="155" y="130"/>
                  </a:lnTo>
                  <a:lnTo>
                    <a:pt x="148" y="132"/>
                  </a:lnTo>
                  <a:lnTo>
                    <a:pt x="140" y="136"/>
                  </a:lnTo>
                  <a:lnTo>
                    <a:pt x="136" y="140"/>
                  </a:lnTo>
                  <a:lnTo>
                    <a:pt x="134" y="148"/>
                  </a:lnTo>
                  <a:lnTo>
                    <a:pt x="136" y="153"/>
                  </a:lnTo>
                  <a:lnTo>
                    <a:pt x="136" y="159"/>
                  </a:lnTo>
                  <a:lnTo>
                    <a:pt x="130" y="167"/>
                  </a:lnTo>
                  <a:lnTo>
                    <a:pt x="119" y="178"/>
                  </a:lnTo>
                  <a:lnTo>
                    <a:pt x="119" y="184"/>
                  </a:lnTo>
                  <a:lnTo>
                    <a:pt x="123" y="188"/>
                  </a:lnTo>
                  <a:lnTo>
                    <a:pt x="123" y="198"/>
                  </a:lnTo>
                  <a:lnTo>
                    <a:pt x="119" y="200"/>
                  </a:lnTo>
                  <a:lnTo>
                    <a:pt x="115" y="205"/>
                  </a:lnTo>
                  <a:lnTo>
                    <a:pt x="98" y="200"/>
                  </a:lnTo>
                  <a:lnTo>
                    <a:pt x="84" y="198"/>
                  </a:lnTo>
                  <a:lnTo>
                    <a:pt x="65" y="205"/>
                  </a:lnTo>
                  <a:lnTo>
                    <a:pt x="65" y="201"/>
                  </a:lnTo>
                  <a:lnTo>
                    <a:pt x="67" y="200"/>
                  </a:lnTo>
                  <a:lnTo>
                    <a:pt x="61" y="198"/>
                  </a:lnTo>
                  <a:lnTo>
                    <a:pt x="46" y="209"/>
                  </a:lnTo>
                  <a:lnTo>
                    <a:pt x="32" y="224"/>
                  </a:lnTo>
                  <a:lnTo>
                    <a:pt x="17" y="236"/>
                  </a:lnTo>
                  <a:lnTo>
                    <a:pt x="9" y="238"/>
                  </a:lnTo>
                  <a:lnTo>
                    <a:pt x="6" y="236"/>
                  </a:lnTo>
                  <a:lnTo>
                    <a:pt x="0" y="232"/>
                  </a:lnTo>
                  <a:lnTo>
                    <a:pt x="2" y="238"/>
                  </a:lnTo>
                  <a:lnTo>
                    <a:pt x="2" y="244"/>
                  </a:lnTo>
                  <a:lnTo>
                    <a:pt x="0" y="249"/>
                  </a:lnTo>
                  <a:lnTo>
                    <a:pt x="9" y="248"/>
                  </a:lnTo>
                  <a:lnTo>
                    <a:pt x="21" y="248"/>
                  </a:lnTo>
                  <a:lnTo>
                    <a:pt x="36" y="249"/>
                  </a:lnTo>
                  <a:lnTo>
                    <a:pt x="36" y="240"/>
                  </a:lnTo>
                  <a:lnTo>
                    <a:pt x="40" y="236"/>
                  </a:lnTo>
                  <a:lnTo>
                    <a:pt x="65" y="236"/>
                  </a:lnTo>
                  <a:lnTo>
                    <a:pt x="82" y="232"/>
                  </a:lnTo>
                  <a:lnTo>
                    <a:pt x="103" y="232"/>
                  </a:lnTo>
                  <a:lnTo>
                    <a:pt x="101" y="236"/>
                  </a:lnTo>
                  <a:lnTo>
                    <a:pt x="96" y="242"/>
                  </a:lnTo>
                  <a:lnTo>
                    <a:pt x="98" y="246"/>
                  </a:lnTo>
                  <a:lnTo>
                    <a:pt x="98" y="251"/>
                  </a:lnTo>
                  <a:lnTo>
                    <a:pt x="96" y="255"/>
                  </a:lnTo>
                  <a:lnTo>
                    <a:pt x="101" y="259"/>
                  </a:lnTo>
                  <a:lnTo>
                    <a:pt x="101" y="263"/>
                  </a:lnTo>
                  <a:lnTo>
                    <a:pt x="103" y="269"/>
                  </a:lnTo>
                  <a:lnTo>
                    <a:pt x="109" y="267"/>
                  </a:lnTo>
                  <a:lnTo>
                    <a:pt x="115" y="269"/>
                  </a:lnTo>
                  <a:lnTo>
                    <a:pt x="119" y="269"/>
                  </a:lnTo>
                  <a:lnTo>
                    <a:pt x="123" y="263"/>
                  </a:lnTo>
                  <a:lnTo>
                    <a:pt x="125" y="257"/>
                  </a:lnTo>
                  <a:lnTo>
                    <a:pt x="128" y="251"/>
                  </a:lnTo>
                  <a:lnTo>
                    <a:pt x="132" y="249"/>
                  </a:lnTo>
                  <a:lnTo>
                    <a:pt x="138" y="248"/>
                  </a:lnTo>
                  <a:lnTo>
                    <a:pt x="144" y="244"/>
                  </a:lnTo>
                  <a:lnTo>
                    <a:pt x="140" y="240"/>
                  </a:lnTo>
                  <a:lnTo>
                    <a:pt x="138" y="234"/>
                  </a:lnTo>
                  <a:lnTo>
                    <a:pt x="138" y="228"/>
                  </a:lnTo>
                  <a:lnTo>
                    <a:pt x="149" y="228"/>
                  </a:lnTo>
                  <a:lnTo>
                    <a:pt x="157" y="232"/>
                  </a:lnTo>
                  <a:lnTo>
                    <a:pt x="153" y="234"/>
                  </a:lnTo>
                  <a:lnTo>
                    <a:pt x="153" y="236"/>
                  </a:lnTo>
                  <a:lnTo>
                    <a:pt x="155" y="242"/>
                  </a:lnTo>
                  <a:lnTo>
                    <a:pt x="157" y="238"/>
                  </a:lnTo>
                  <a:lnTo>
                    <a:pt x="161" y="236"/>
                  </a:lnTo>
                  <a:lnTo>
                    <a:pt x="163" y="232"/>
                  </a:lnTo>
                  <a:lnTo>
                    <a:pt x="169" y="232"/>
                  </a:lnTo>
                  <a:lnTo>
                    <a:pt x="174" y="234"/>
                  </a:lnTo>
                  <a:lnTo>
                    <a:pt x="182" y="236"/>
                  </a:lnTo>
                  <a:lnTo>
                    <a:pt x="184" y="232"/>
                  </a:lnTo>
                  <a:lnTo>
                    <a:pt x="192" y="221"/>
                  </a:lnTo>
                  <a:lnTo>
                    <a:pt x="196" y="224"/>
                  </a:lnTo>
                  <a:lnTo>
                    <a:pt x="197" y="232"/>
                  </a:lnTo>
                  <a:lnTo>
                    <a:pt x="197" y="236"/>
                  </a:lnTo>
                  <a:lnTo>
                    <a:pt x="205" y="236"/>
                  </a:lnTo>
                  <a:lnTo>
                    <a:pt x="205" y="224"/>
                  </a:lnTo>
                  <a:lnTo>
                    <a:pt x="209" y="217"/>
                  </a:lnTo>
                  <a:lnTo>
                    <a:pt x="219" y="217"/>
                  </a:lnTo>
                  <a:lnTo>
                    <a:pt x="220" y="209"/>
                  </a:lnTo>
                  <a:lnTo>
                    <a:pt x="220" y="201"/>
                  </a:lnTo>
                  <a:lnTo>
                    <a:pt x="224" y="194"/>
                  </a:lnTo>
                  <a:lnTo>
                    <a:pt x="228" y="194"/>
                  </a:lnTo>
                  <a:lnTo>
                    <a:pt x="232" y="198"/>
                  </a:lnTo>
                  <a:lnTo>
                    <a:pt x="226" y="205"/>
                  </a:lnTo>
                  <a:lnTo>
                    <a:pt x="222" y="219"/>
                  </a:lnTo>
                  <a:lnTo>
                    <a:pt x="228" y="224"/>
                  </a:lnTo>
                  <a:lnTo>
                    <a:pt x="238" y="213"/>
                  </a:lnTo>
                  <a:lnTo>
                    <a:pt x="245" y="201"/>
                  </a:lnTo>
                  <a:lnTo>
                    <a:pt x="244" y="194"/>
                  </a:lnTo>
                  <a:lnTo>
                    <a:pt x="236" y="186"/>
                  </a:lnTo>
                  <a:lnTo>
                    <a:pt x="240" y="180"/>
                  </a:lnTo>
                  <a:lnTo>
                    <a:pt x="240" y="173"/>
                  </a:lnTo>
                  <a:lnTo>
                    <a:pt x="238" y="159"/>
                  </a:lnTo>
                  <a:lnTo>
                    <a:pt x="245" y="150"/>
                  </a:lnTo>
                  <a:lnTo>
                    <a:pt x="247" y="132"/>
                  </a:lnTo>
                  <a:lnTo>
                    <a:pt x="245" y="117"/>
                  </a:lnTo>
                  <a:lnTo>
                    <a:pt x="245" y="103"/>
                  </a:lnTo>
                  <a:lnTo>
                    <a:pt x="251" y="98"/>
                  </a:lnTo>
                  <a:lnTo>
                    <a:pt x="255" y="98"/>
                  </a:lnTo>
                  <a:lnTo>
                    <a:pt x="263" y="94"/>
                  </a:lnTo>
                  <a:lnTo>
                    <a:pt x="263" y="90"/>
                  </a:lnTo>
                  <a:lnTo>
                    <a:pt x="259" y="86"/>
                  </a:lnTo>
                  <a:lnTo>
                    <a:pt x="259" y="84"/>
                  </a:lnTo>
                  <a:lnTo>
                    <a:pt x="267" y="84"/>
                  </a:lnTo>
                  <a:lnTo>
                    <a:pt x="270" y="61"/>
                  </a:lnTo>
                  <a:lnTo>
                    <a:pt x="270" y="44"/>
                  </a:lnTo>
                  <a:lnTo>
                    <a:pt x="263" y="23"/>
                  </a:lnTo>
                  <a:lnTo>
                    <a:pt x="259" y="11"/>
                  </a:lnTo>
                  <a:lnTo>
                    <a:pt x="259" y="7"/>
                  </a:lnTo>
                  <a:lnTo>
                    <a:pt x="236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3" name="Freeform 318"/>
            <p:cNvSpPr>
              <a:spLocks/>
            </p:cNvSpPr>
            <p:nvPr/>
          </p:nvSpPr>
          <p:spPr bwMode="gray">
            <a:xfrm>
              <a:off x="4345" y="2629"/>
              <a:ext cx="2" cy="3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0 h 8"/>
                <a:gd name="T4" fmla="*/ 0 w 4"/>
                <a:gd name="T5" fmla="*/ 8 h 8"/>
                <a:gd name="T6" fmla="*/ 4 w 4"/>
                <a:gd name="T7" fmla="*/ 4 h 8"/>
                <a:gd name="T8" fmla="*/ 4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4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4" name="Freeform 319"/>
            <p:cNvSpPr>
              <a:spLocks/>
            </p:cNvSpPr>
            <p:nvPr/>
          </p:nvSpPr>
          <p:spPr bwMode="gray">
            <a:xfrm>
              <a:off x="4344" y="2625"/>
              <a:ext cx="1" cy="4"/>
            </a:xfrm>
            <a:custGeom>
              <a:avLst/>
              <a:gdLst>
                <a:gd name="T0" fmla="*/ 4 w 4"/>
                <a:gd name="T1" fmla="*/ 0 h 7"/>
                <a:gd name="T2" fmla="*/ 0 w 4"/>
                <a:gd name="T3" fmla="*/ 0 h 7"/>
                <a:gd name="T4" fmla="*/ 0 w 4"/>
                <a:gd name="T5" fmla="*/ 7 h 7"/>
                <a:gd name="T6" fmla="*/ 4 w 4"/>
                <a:gd name="T7" fmla="*/ 3 h 7"/>
                <a:gd name="T8" fmla="*/ 4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4" y="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5" name="Freeform 320"/>
            <p:cNvSpPr>
              <a:spLocks noEditPoints="1"/>
            </p:cNvSpPr>
            <p:nvPr/>
          </p:nvSpPr>
          <p:spPr bwMode="gray">
            <a:xfrm>
              <a:off x="4310" y="2426"/>
              <a:ext cx="83" cy="224"/>
            </a:xfrm>
            <a:custGeom>
              <a:avLst/>
              <a:gdLst>
                <a:gd name="T0" fmla="*/ 67 w 165"/>
                <a:gd name="T1" fmla="*/ 405 h 448"/>
                <a:gd name="T2" fmla="*/ 75 w 165"/>
                <a:gd name="T3" fmla="*/ 405 h 448"/>
                <a:gd name="T4" fmla="*/ 71 w 165"/>
                <a:gd name="T5" fmla="*/ 405 h 448"/>
                <a:gd name="T6" fmla="*/ 123 w 165"/>
                <a:gd name="T7" fmla="*/ 42 h 448"/>
                <a:gd name="T8" fmla="*/ 84 w 165"/>
                <a:gd name="T9" fmla="*/ 32 h 448"/>
                <a:gd name="T10" fmla="*/ 82 w 165"/>
                <a:gd name="T11" fmla="*/ 13 h 448"/>
                <a:gd name="T12" fmla="*/ 52 w 165"/>
                <a:gd name="T13" fmla="*/ 6 h 448"/>
                <a:gd name="T14" fmla="*/ 13 w 165"/>
                <a:gd name="T15" fmla="*/ 6 h 448"/>
                <a:gd name="T16" fmla="*/ 8 w 165"/>
                <a:gd name="T17" fmla="*/ 27 h 448"/>
                <a:gd name="T18" fmla="*/ 31 w 165"/>
                <a:gd name="T19" fmla="*/ 42 h 448"/>
                <a:gd name="T20" fmla="*/ 59 w 165"/>
                <a:gd name="T21" fmla="*/ 48 h 448"/>
                <a:gd name="T22" fmla="*/ 52 w 165"/>
                <a:gd name="T23" fmla="*/ 90 h 448"/>
                <a:gd name="T24" fmla="*/ 27 w 165"/>
                <a:gd name="T25" fmla="*/ 102 h 448"/>
                <a:gd name="T26" fmla="*/ 54 w 165"/>
                <a:gd name="T27" fmla="*/ 140 h 448"/>
                <a:gd name="T28" fmla="*/ 73 w 165"/>
                <a:gd name="T29" fmla="*/ 171 h 448"/>
                <a:gd name="T30" fmla="*/ 98 w 165"/>
                <a:gd name="T31" fmla="*/ 202 h 448"/>
                <a:gd name="T32" fmla="*/ 113 w 165"/>
                <a:gd name="T33" fmla="*/ 230 h 448"/>
                <a:gd name="T34" fmla="*/ 115 w 165"/>
                <a:gd name="T35" fmla="*/ 271 h 448"/>
                <a:gd name="T36" fmla="*/ 123 w 165"/>
                <a:gd name="T37" fmla="*/ 303 h 448"/>
                <a:gd name="T38" fmla="*/ 117 w 165"/>
                <a:gd name="T39" fmla="*/ 351 h 448"/>
                <a:gd name="T40" fmla="*/ 86 w 165"/>
                <a:gd name="T41" fmla="*/ 378 h 448"/>
                <a:gd name="T42" fmla="*/ 52 w 165"/>
                <a:gd name="T43" fmla="*/ 378 h 448"/>
                <a:gd name="T44" fmla="*/ 48 w 165"/>
                <a:gd name="T45" fmla="*/ 398 h 448"/>
                <a:gd name="T46" fmla="*/ 56 w 165"/>
                <a:gd name="T47" fmla="*/ 440 h 448"/>
                <a:gd name="T48" fmla="*/ 52 w 165"/>
                <a:gd name="T49" fmla="*/ 448 h 448"/>
                <a:gd name="T50" fmla="*/ 67 w 165"/>
                <a:gd name="T51" fmla="*/ 432 h 448"/>
                <a:gd name="T52" fmla="*/ 77 w 165"/>
                <a:gd name="T53" fmla="*/ 432 h 448"/>
                <a:gd name="T54" fmla="*/ 75 w 165"/>
                <a:gd name="T55" fmla="*/ 413 h 448"/>
                <a:gd name="T56" fmla="*/ 90 w 165"/>
                <a:gd name="T57" fmla="*/ 409 h 448"/>
                <a:gd name="T58" fmla="*/ 77 w 165"/>
                <a:gd name="T59" fmla="*/ 401 h 448"/>
                <a:gd name="T60" fmla="*/ 81 w 165"/>
                <a:gd name="T61" fmla="*/ 394 h 448"/>
                <a:gd name="T62" fmla="*/ 107 w 165"/>
                <a:gd name="T63" fmla="*/ 396 h 448"/>
                <a:gd name="T64" fmla="*/ 111 w 165"/>
                <a:gd name="T65" fmla="*/ 388 h 448"/>
                <a:gd name="T66" fmla="*/ 157 w 165"/>
                <a:gd name="T67" fmla="*/ 357 h 448"/>
                <a:gd name="T68" fmla="*/ 152 w 165"/>
                <a:gd name="T69" fmla="*/ 244 h 448"/>
                <a:gd name="T70" fmla="*/ 134 w 165"/>
                <a:gd name="T71" fmla="*/ 227 h 448"/>
                <a:gd name="T72" fmla="*/ 129 w 165"/>
                <a:gd name="T73" fmla="*/ 211 h 448"/>
                <a:gd name="T74" fmla="*/ 113 w 165"/>
                <a:gd name="T75" fmla="*/ 184 h 448"/>
                <a:gd name="T76" fmla="*/ 98 w 165"/>
                <a:gd name="T77" fmla="*/ 177 h 448"/>
                <a:gd name="T78" fmla="*/ 90 w 165"/>
                <a:gd name="T79" fmla="*/ 159 h 448"/>
                <a:gd name="T80" fmla="*/ 77 w 165"/>
                <a:gd name="T81" fmla="*/ 152 h 448"/>
                <a:gd name="T82" fmla="*/ 77 w 165"/>
                <a:gd name="T83" fmla="*/ 98 h 448"/>
                <a:gd name="T84" fmla="*/ 90 w 165"/>
                <a:gd name="T85" fmla="*/ 94 h 448"/>
                <a:gd name="T86" fmla="*/ 130 w 165"/>
                <a:gd name="T87" fmla="*/ 48 h 44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65"/>
                <a:gd name="T133" fmla="*/ 0 h 448"/>
                <a:gd name="T134" fmla="*/ 165 w 165"/>
                <a:gd name="T135" fmla="*/ 448 h 44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65" h="448">
                  <a:moveTo>
                    <a:pt x="71" y="398"/>
                  </a:moveTo>
                  <a:lnTo>
                    <a:pt x="71" y="401"/>
                  </a:lnTo>
                  <a:lnTo>
                    <a:pt x="67" y="405"/>
                  </a:lnTo>
                  <a:lnTo>
                    <a:pt x="67" y="398"/>
                  </a:lnTo>
                  <a:lnTo>
                    <a:pt x="71" y="398"/>
                  </a:lnTo>
                  <a:close/>
                  <a:moveTo>
                    <a:pt x="75" y="405"/>
                  </a:moveTo>
                  <a:lnTo>
                    <a:pt x="75" y="409"/>
                  </a:lnTo>
                  <a:lnTo>
                    <a:pt x="71" y="413"/>
                  </a:lnTo>
                  <a:lnTo>
                    <a:pt x="71" y="405"/>
                  </a:lnTo>
                  <a:lnTo>
                    <a:pt x="75" y="405"/>
                  </a:lnTo>
                  <a:close/>
                  <a:moveTo>
                    <a:pt x="132" y="46"/>
                  </a:moveTo>
                  <a:lnTo>
                    <a:pt x="123" y="42"/>
                  </a:lnTo>
                  <a:lnTo>
                    <a:pt x="107" y="42"/>
                  </a:lnTo>
                  <a:lnTo>
                    <a:pt x="98" y="48"/>
                  </a:lnTo>
                  <a:lnTo>
                    <a:pt x="84" y="32"/>
                  </a:lnTo>
                  <a:lnTo>
                    <a:pt x="90" y="21"/>
                  </a:lnTo>
                  <a:lnTo>
                    <a:pt x="90" y="15"/>
                  </a:lnTo>
                  <a:lnTo>
                    <a:pt x="82" y="13"/>
                  </a:lnTo>
                  <a:lnTo>
                    <a:pt x="71" y="2"/>
                  </a:lnTo>
                  <a:lnTo>
                    <a:pt x="59" y="0"/>
                  </a:lnTo>
                  <a:lnTo>
                    <a:pt x="52" y="6"/>
                  </a:lnTo>
                  <a:lnTo>
                    <a:pt x="35" y="6"/>
                  </a:lnTo>
                  <a:lnTo>
                    <a:pt x="25" y="13"/>
                  </a:lnTo>
                  <a:lnTo>
                    <a:pt x="13" y="6"/>
                  </a:lnTo>
                  <a:lnTo>
                    <a:pt x="2" y="9"/>
                  </a:lnTo>
                  <a:lnTo>
                    <a:pt x="0" y="17"/>
                  </a:lnTo>
                  <a:lnTo>
                    <a:pt x="8" y="27"/>
                  </a:lnTo>
                  <a:lnTo>
                    <a:pt x="17" y="32"/>
                  </a:lnTo>
                  <a:lnTo>
                    <a:pt x="21" y="38"/>
                  </a:lnTo>
                  <a:lnTo>
                    <a:pt x="31" y="42"/>
                  </a:lnTo>
                  <a:lnTo>
                    <a:pt x="38" y="34"/>
                  </a:lnTo>
                  <a:lnTo>
                    <a:pt x="50" y="38"/>
                  </a:lnTo>
                  <a:lnTo>
                    <a:pt x="59" y="48"/>
                  </a:lnTo>
                  <a:lnTo>
                    <a:pt x="59" y="63"/>
                  </a:lnTo>
                  <a:lnTo>
                    <a:pt x="52" y="67"/>
                  </a:lnTo>
                  <a:lnTo>
                    <a:pt x="52" y="90"/>
                  </a:lnTo>
                  <a:lnTo>
                    <a:pt x="48" y="96"/>
                  </a:lnTo>
                  <a:lnTo>
                    <a:pt x="35" y="96"/>
                  </a:lnTo>
                  <a:lnTo>
                    <a:pt x="27" y="102"/>
                  </a:lnTo>
                  <a:lnTo>
                    <a:pt x="33" y="113"/>
                  </a:lnTo>
                  <a:lnTo>
                    <a:pt x="48" y="123"/>
                  </a:lnTo>
                  <a:lnTo>
                    <a:pt x="54" y="140"/>
                  </a:lnTo>
                  <a:lnTo>
                    <a:pt x="63" y="155"/>
                  </a:lnTo>
                  <a:lnTo>
                    <a:pt x="71" y="163"/>
                  </a:lnTo>
                  <a:lnTo>
                    <a:pt x="73" y="171"/>
                  </a:lnTo>
                  <a:lnTo>
                    <a:pt x="81" y="182"/>
                  </a:lnTo>
                  <a:lnTo>
                    <a:pt x="92" y="190"/>
                  </a:lnTo>
                  <a:lnTo>
                    <a:pt x="98" y="202"/>
                  </a:lnTo>
                  <a:lnTo>
                    <a:pt x="102" y="213"/>
                  </a:lnTo>
                  <a:lnTo>
                    <a:pt x="111" y="219"/>
                  </a:lnTo>
                  <a:lnTo>
                    <a:pt x="113" y="230"/>
                  </a:lnTo>
                  <a:lnTo>
                    <a:pt x="115" y="248"/>
                  </a:lnTo>
                  <a:lnTo>
                    <a:pt x="113" y="257"/>
                  </a:lnTo>
                  <a:lnTo>
                    <a:pt x="115" y="271"/>
                  </a:lnTo>
                  <a:lnTo>
                    <a:pt x="119" y="282"/>
                  </a:lnTo>
                  <a:lnTo>
                    <a:pt x="119" y="294"/>
                  </a:lnTo>
                  <a:lnTo>
                    <a:pt x="123" y="303"/>
                  </a:lnTo>
                  <a:lnTo>
                    <a:pt x="125" y="317"/>
                  </a:lnTo>
                  <a:lnTo>
                    <a:pt x="123" y="332"/>
                  </a:lnTo>
                  <a:lnTo>
                    <a:pt x="117" y="351"/>
                  </a:lnTo>
                  <a:lnTo>
                    <a:pt x="102" y="357"/>
                  </a:lnTo>
                  <a:lnTo>
                    <a:pt x="90" y="367"/>
                  </a:lnTo>
                  <a:lnTo>
                    <a:pt x="86" y="378"/>
                  </a:lnTo>
                  <a:lnTo>
                    <a:pt x="67" y="373"/>
                  </a:lnTo>
                  <a:lnTo>
                    <a:pt x="59" y="374"/>
                  </a:lnTo>
                  <a:lnTo>
                    <a:pt x="52" y="378"/>
                  </a:lnTo>
                  <a:lnTo>
                    <a:pt x="44" y="386"/>
                  </a:lnTo>
                  <a:lnTo>
                    <a:pt x="40" y="394"/>
                  </a:lnTo>
                  <a:lnTo>
                    <a:pt x="48" y="398"/>
                  </a:lnTo>
                  <a:lnTo>
                    <a:pt x="46" y="415"/>
                  </a:lnTo>
                  <a:lnTo>
                    <a:pt x="46" y="430"/>
                  </a:lnTo>
                  <a:lnTo>
                    <a:pt x="56" y="440"/>
                  </a:lnTo>
                  <a:lnTo>
                    <a:pt x="56" y="442"/>
                  </a:lnTo>
                  <a:lnTo>
                    <a:pt x="52" y="444"/>
                  </a:lnTo>
                  <a:lnTo>
                    <a:pt x="52" y="448"/>
                  </a:lnTo>
                  <a:lnTo>
                    <a:pt x="56" y="444"/>
                  </a:lnTo>
                  <a:lnTo>
                    <a:pt x="67" y="440"/>
                  </a:lnTo>
                  <a:lnTo>
                    <a:pt x="67" y="432"/>
                  </a:lnTo>
                  <a:lnTo>
                    <a:pt x="71" y="430"/>
                  </a:lnTo>
                  <a:lnTo>
                    <a:pt x="75" y="432"/>
                  </a:lnTo>
                  <a:lnTo>
                    <a:pt x="77" y="432"/>
                  </a:lnTo>
                  <a:lnTo>
                    <a:pt x="77" y="426"/>
                  </a:lnTo>
                  <a:lnTo>
                    <a:pt x="73" y="419"/>
                  </a:lnTo>
                  <a:lnTo>
                    <a:pt x="75" y="413"/>
                  </a:lnTo>
                  <a:lnTo>
                    <a:pt x="81" y="419"/>
                  </a:lnTo>
                  <a:lnTo>
                    <a:pt x="84" y="421"/>
                  </a:lnTo>
                  <a:lnTo>
                    <a:pt x="90" y="409"/>
                  </a:lnTo>
                  <a:lnTo>
                    <a:pt x="84" y="407"/>
                  </a:lnTo>
                  <a:lnTo>
                    <a:pt x="81" y="405"/>
                  </a:lnTo>
                  <a:lnTo>
                    <a:pt x="77" y="401"/>
                  </a:lnTo>
                  <a:lnTo>
                    <a:pt x="73" y="394"/>
                  </a:lnTo>
                  <a:lnTo>
                    <a:pt x="73" y="392"/>
                  </a:lnTo>
                  <a:lnTo>
                    <a:pt x="81" y="394"/>
                  </a:lnTo>
                  <a:lnTo>
                    <a:pt x="81" y="398"/>
                  </a:lnTo>
                  <a:lnTo>
                    <a:pt x="107" y="398"/>
                  </a:lnTo>
                  <a:lnTo>
                    <a:pt x="107" y="396"/>
                  </a:lnTo>
                  <a:lnTo>
                    <a:pt x="106" y="392"/>
                  </a:lnTo>
                  <a:lnTo>
                    <a:pt x="104" y="390"/>
                  </a:lnTo>
                  <a:lnTo>
                    <a:pt x="111" y="388"/>
                  </a:lnTo>
                  <a:lnTo>
                    <a:pt x="115" y="390"/>
                  </a:lnTo>
                  <a:lnTo>
                    <a:pt x="125" y="386"/>
                  </a:lnTo>
                  <a:lnTo>
                    <a:pt x="157" y="357"/>
                  </a:lnTo>
                  <a:lnTo>
                    <a:pt x="165" y="321"/>
                  </a:lnTo>
                  <a:lnTo>
                    <a:pt x="159" y="275"/>
                  </a:lnTo>
                  <a:lnTo>
                    <a:pt x="152" y="244"/>
                  </a:lnTo>
                  <a:lnTo>
                    <a:pt x="140" y="236"/>
                  </a:lnTo>
                  <a:lnTo>
                    <a:pt x="136" y="232"/>
                  </a:lnTo>
                  <a:lnTo>
                    <a:pt x="134" y="227"/>
                  </a:lnTo>
                  <a:lnTo>
                    <a:pt x="136" y="221"/>
                  </a:lnTo>
                  <a:lnTo>
                    <a:pt x="136" y="217"/>
                  </a:lnTo>
                  <a:lnTo>
                    <a:pt x="129" y="211"/>
                  </a:lnTo>
                  <a:lnTo>
                    <a:pt x="111" y="194"/>
                  </a:lnTo>
                  <a:lnTo>
                    <a:pt x="111" y="190"/>
                  </a:lnTo>
                  <a:lnTo>
                    <a:pt x="113" y="184"/>
                  </a:lnTo>
                  <a:lnTo>
                    <a:pt x="111" y="182"/>
                  </a:lnTo>
                  <a:lnTo>
                    <a:pt x="106" y="178"/>
                  </a:lnTo>
                  <a:lnTo>
                    <a:pt x="98" y="177"/>
                  </a:lnTo>
                  <a:lnTo>
                    <a:pt x="92" y="175"/>
                  </a:lnTo>
                  <a:lnTo>
                    <a:pt x="90" y="171"/>
                  </a:lnTo>
                  <a:lnTo>
                    <a:pt x="90" y="159"/>
                  </a:lnTo>
                  <a:lnTo>
                    <a:pt x="86" y="157"/>
                  </a:lnTo>
                  <a:lnTo>
                    <a:pt x="81" y="153"/>
                  </a:lnTo>
                  <a:lnTo>
                    <a:pt x="77" y="152"/>
                  </a:lnTo>
                  <a:lnTo>
                    <a:pt x="73" y="136"/>
                  </a:lnTo>
                  <a:lnTo>
                    <a:pt x="73" y="117"/>
                  </a:lnTo>
                  <a:lnTo>
                    <a:pt x="77" y="98"/>
                  </a:lnTo>
                  <a:lnTo>
                    <a:pt x="81" y="96"/>
                  </a:lnTo>
                  <a:lnTo>
                    <a:pt x="84" y="96"/>
                  </a:lnTo>
                  <a:lnTo>
                    <a:pt x="90" y="94"/>
                  </a:lnTo>
                  <a:lnTo>
                    <a:pt x="104" y="67"/>
                  </a:lnTo>
                  <a:lnTo>
                    <a:pt x="123" y="52"/>
                  </a:lnTo>
                  <a:lnTo>
                    <a:pt x="130" y="48"/>
                  </a:lnTo>
                  <a:lnTo>
                    <a:pt x="132" y="46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0316" name="Freeform 321"/>
            <p:cNvSpPr>
              <a:spLocks/>
            </p:cNvSpPr>
            <p:nvPr/>
          </p:nvSpPr>
          <p:spPr bwMode="gray">
            <a:xfrm>
              <a:off x="4305" y="2551"/>
              <a:ext cx="67" cy="72"/>
            </a:xfrm>
            <a:custGeom>
              <a:avLst/>
              <a:gdLst>
                <a:gd name="T0" fmla="*/ 12 w 135"/>
                <a:gd name="T1" fmla="*/ 101 h 144"/>
                <a:gd name="T2" fmla="*/ 16 w 135"/>
                <a:gd name="T3" fmla="*/ 111 h 144"/>
                <a:gd name="T4" fmla="*/ 21 w 135"/>
                <a:gd name="T5" fmla="*/ 121 h 144"/>
                <a:gd name="T6" fmla="*/ 27 w 135"/>
                <a:gd name="T7" fmla="*/ 132 h 144"/>
                <a:gd name="T8" fmla="*/ 33 w 135"/>
                <a:gd name="T9" fmla="*/ 126 h 144"/>
                <a:gd name="T10" fmla="*/ 39 w 135"/>
                <a:gd name="T11" fmla="*/ 128 h 144"/>
                <a:gd name="T12" fmla="*/ 37 w 135"/>
                <a:gd name="T13" fmla="*/ 130 h 144"/>
                <a:gd name="T14" fmla="*/ 35 w 135"/>
                <a:gd name="T15" fmla="*/ 136 h 144"/>
                <a:gd name="T16" fmla="*/ 35 w 135"/>
                <a:gd name="T17" fmla="*/ 140 h 144"/>
                <a:gd name="T18" fmla="*/ 46 w 135"/>
                <a:gd name="T19" fmla="*/ 144 h 144"/>
                <a:gd name="T20" fmla="*/ 50 w 135"/>
                <a:gd name="T21" fmla="*/ 144 h 144"/>
                <a:gd name="T22" fmla="*/ 54 w 135"/>
                <a:gd name="T23" fmla="*/ 136 h 144"/>
                <a:gd name="T24" fmla="*/ 62 w 135"/>
                <a:gd name="T25" fmla="*/ 128 h 144"/>
                <a:gd name="T26" fmla="*/ 69 w 135"/>
                <a:gd name="T27" fmla="*/ 124 h 144"/>
                <a:gd name="T28" fmla="*/ 77 w 135"/>
                <a:gd name="T29" fmla="*/ 123 h 144"/>
                <a:gd name="T30" fmla="*/ 96 w 135"/>
                <a:gd name="T31" fmla="*/ 128 h 144"/>
                <a:gd name="T32" fmla="*/ 100 w 135"/>
                <a:gd name="T33" fmla="*/ 117 h 144"/>
                <a:gd name="T34" fmla="*/ 112 w 135"/>
                <a:gd name="T35" fmla="*/ 107 h 144"/>
                <a:gd name="T36" fmla="*/ 127 w 135"/>
                <a:gd name="T37" fmla="*/ 101 h 144"/>
                <a:gd name="T38" fmla="*/ 133 w 135"/>
                <a:gd name="T39" fmla="*/ 82 h 144"/>
                <a:gd name="T40" fmla="*/ 135 w 135"/>
                <a:gd name="T41" fmla="*/ 67 h 144"/>
                <a:gd name="T42" fmla="*/ 133 w 135"/>
                <a:gd name="T43" fmla="*/ 53 h 144"/>
                <a:gd name="T44" fmla="*/ 129 w 135"/>
                <a:gd name="T45" fmla="*/ 44 h 144"/>
                <a:gd name="T46" fmla="*/ 129 w 135"/>
                <a:gd name="T47" fmla="*/ 32 h 144"/>
                <a:gd name="T48" fmla="*/ 125 w 135"/>
                <a:gd name="T49" fmla="*/ 21 h 144"/>
                <a:gd name="T50" fmla="*/ 123 w 135"/>
                <a:gd name="T51" fmla="*/ 7 h 144"/>
                <a:gd name="T52" fmla="*/ 112 w 135"/>
                <a:gd name="T53" fmla="*/ 9 h 144"/>
                <a:gd name="T54" fmla="*/ 106 w 135"/>
                <a:gd name="T55" fmla="*/ 3 h 144"/>
                <a:gd name="T56" fmla="*/ 98 w 135"/>
                <a:gd name="T57" fmla="*/ 0 h 144"/>
                <a:gd name="T58" fmla="*/ 91 w 135"/>
                <a:gd name="T59" fmla="*/ 9 h 144"/>
                <a:gd name="T60" fmla="*/ 91 w 135"/>
                <a:gd name="T61" fmla="*/ 23 h 144"/>
                <a:gd name="T62" fmla="*/ 85 w 135"/>
                <a:gd name="T63" fmla="*/ 25 h 144"/>
                <a:gd name="T64" fmla="*/ 75 w 135"/>
                <a:gd name="T65" fmla="*/ 15 h 144"/>
                <a:gd name="T66" fmla="*/ 73 w 135"/>
                <a:gd name="T67" fmla="*/ 9 h 144"/>
                <a:gd name="T68" fmla="*/ 56 w 135"/>
                <a:gd name="T69" fmla="*/ 9 h 144"/>
                <a:gd name="T70" fmla="*/ 52 w 135"/>
                <a:gd name="T71" fmla="*/ 15 h 144"/>
                <a:gd name="T72" fmla="*/ 39 w 135"/>
                <a:gd name="T73" fmla="*/ 25 h 144"/>
                <a:gd name="T74" fmla="*/ 21 w 135"/>
                <a:gd name="T75" fmla="*/ 25 h 144"/>
                <a:gd name="T76" fmla="*/ 10 w 135"/>
                <a:gd name="T77" fmla="*/ 30 h 144"/>
                <a:gd name="T78" fmla="*/ 4 w 135"/>
                <a:gd name="T79" fmla="*/ 34 h 144"/>
                <a:gd name="T80" fmla="*/ 0 w 135"/>
                <a:gd name="T81" fmla="*/ 50 h 144"/>
                <a:gd name="T82" fmla="*/ 2 w 135"/>
                <a:gd name="T83" fmla="*/ 69 h 144"/>
                <a:gd name="T84" fmla="*/ 10 w 135"/>
                <a:gd name="T85" fmla="*/ 80 h 144"/>
                <a:gd name="T86" fmla="*/ 10 w 135"/>
                <a:gd name="T87" fmla="*/ 101 h 144"/>
                <a:gd name="T88" fmla="*/ 12 w 135"/>
                <a:gd name="T89" fmla="*/ 101 h 14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5"/>
                <a:gd name="T136" fmla="*/ 0 h 144"/>
                <a:gd name="T137" fmla="*/ 135 w 135"/>
                <a:gd name="T138" fmla="*/ 144 h 14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5" h="144">
                  <a:moveTo>
                    <a:pt x="12" y="101"/>
                  </a:moveTo>
                  <a:lnTo>
                    <a:pt x="16" y="111"/>
                  </a:lnTo>
                  <a:lnTo>
                    <a:pt x="21" y="121"/>
                  </a:lnTo>
                  <a:lnTo>
                    <a:pt x="27" y="132"/>
                  </a:lnTo>
                  <a:lnTo>
                    <a:pt x="33" y="126"/>
                  </a:lnTo>
                  <a:lnTo>
                    <a:pt x="39" y="128"/>
                  </a:lnTo>
                  <a:lnTo>
                    <a:pt x="37" y="130"/>
                  </a:lnTo>
                  <a:lnTo>
                    <a:pt x="35" y="136"/>
                  </a:lnTo>
                  <a:lnTo>
                    <a:pt x="35" y="140"/>
                  </a:lnTo>
                  <a:lnTo>
                    <a:pt x="46" y="144"/>
                  </a:lnTo>
                  <a:lnTo>
                    <a:pt x="50" y="144"/>
                  </a:lnTo>
                  <a:lnTo>
                    <a:pt x="54" y="136"/>
                  </a:lnTo>
                  <a:lnTo>
                    <a:pt x="62" y="128"/>
                  </a:lnTo>
                  <a:lnTo>
                    <a:pt x="69" y="124"/>
                  </a:lnTo>
                  <a:lnTo>
                    <a:pt x="77" y="123"/>
                  </a:lnTo>
                  <a:lnTo>
                    <a:pt x="96" y="128"/>
                  </a:lnTo>
                  <a:lnTo>
                    <a:pt x="100" y="117"/>
                  </a:lnTo>
                  <a:lnTo>
                    <a:pt x="112" y="107"/>
                  </a:lnTo>
                  <a:lnTo>
                    <a:pt x="127" y="101"/>
                  </a:lnTo>
                  <a:lnTo>
                    <a:pt x="133" y="82"/>
                  </a:lnTo>
                  <a:lnTo>
                    <a:pt x="135" y="67"/>
                  </a:lnTo>
                  <a:lnTo>
                    <a:pt x="133" y="53"/>
                  </a:lnTo>
                  <a:lnTo>
                    <a:pt x="129" y="44"/>
                  </a:lnTo>
                  <a:lnTo>
                    <a:pt x="129" y="32"/>
                  </a:lnTo>
                  <a:lnTo>
                    <a:pt x="125" y="21"/>
                  </a:lnTo>
                  <a:lnTo>
                    <a:pt x="123" y="7"/>
                  </a:lnTo>
                  <a:lnTo>
                    <a:pt x="112" y="9"/>
                  </a:lnTo>
                  <a:lnTo>
                    <a:pt x="106" y="3"/>
                  </a:lnTo>
                  <a:lnTo>
                    <a:pt x="98" y="0"/>
                  </a:lnTo>
                  <a:lnTo>
                    <a:pt x="91" y="9"/>
                  </a:lnTo>
                  <a:lnTo>
                    <a:pt x="91" y="23"/>
                  </a:lnTo>
                  <a:lnTo>
                    <a:pt x="85" y="25"/>
                  </a:lnTo>
                  <a:lnTo>
                    <a:pt x="75" y="15"/>
                  </a:lnTo>
                  <a:lnTo>
                    <a:pt x="73" y="9"/>
                  </a:lnTo>
                  <a:lnTo>
                    <a:pt x="56" y="9"/>
                  </a:lnTo>
                  <a:lnTo>
                    <a:pt x="52" y="15"/>
                  </a:lnTo>
                  <a:lnTo>
                    <a:pt x="39" y="25"/>
                  </a:lnTo>
                  <a:lnTo>
                    <a:pt x="21" y="25"/>
                  </a:lnTo>
                  <a:lnTo>
                    <a:pt x="10" y="30"/>
                  </a:lnTo>
                  <a:lnTo>
                    <a:pt x="4" y="34"/>
                  </a:lnTo>
                  <a:lnTo>
                    <a:pt x="0" y="50"/>
                  </a:lnTo>
                  <a:lnTo>
                    <a:pt x="2" y="69"/>
                  </a:lnTo>
                  <a:lnTo>
                    <a:pt x="10" y="80"/>
                  </a:lnTo>
                  <a:lnTo>
                    <a:pt x="10" y="101"/>
                  </a:lnTo>
                  <a:lnTo>
                    <a:pt x="12" y="101"/>
                  </a:lnTo>
                  <a:close/>
                </a:path>
              </a:pathLst>
            </a:custGeom>
            <a:solidFill>
              <a:srgbClr val="B3B375"/>
            </a:solidFill>
            <a:ln w="12700" cmpd="sng">
              <a:solidFill>
                <a:srgbClr val="85755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pic>
        <p:nvPicPr>
          <p:cNvPr id="5018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65495" y="2649527"/>
            <a:ext cx="683382" cy="446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2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5720" y="3052752"/>
            <a:ext cx="1522329" cy="357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3" name="Picture 5" descr="Euclid TechLabs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2895" y="3424227"/>
            <a:ext cx="1177862" cy="4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4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36582" y="3913177"/>
            <a:ext cx="1179712" cy="231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5" name="Picture 9" descr="U.S. Department of Energy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671607" y="2967026"/>
            <a:ext cx="1303798" cy="32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6" name="Picture 8" descr="Argonne National Laboratory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112932" y="3352789"/>
            <a:ext cx="1207494" cy="531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7" name="Picture 10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478182" y="3054339"/>
            <a:ext cx="759312" cy="292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8" name="Picture 1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843432" y="2763826"/>
            <a:ext cx="914881" cy="392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9" name="Picture 1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113307" y="2455851"/>
            <a:ext cx="998221" cy="309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90" name="Picture 14" descr="http://vega.su/design1/images/vega.gif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681632" y="2865427"/>
            <a:ext cx="583376" cy="172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91" name="Picture 16" descr="НИИИС">
            <a:hlinkClick r:id="rId17" tooltip="НИИИС"/>
          </p:cNvPr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945156" y="2217727"/>
            <a:ext cx="718569" cy="361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92" name="Picture 17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295995" y="2554277"/>
            <a:ext cx="663010" cy="574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93" name="Picture 19" descr="Impex HighTech GmbH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4168745" y="2916227"/>
            <a:ext cx="557446" cy="425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194" name="AutoShap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95288" y="779448"/>
            <a:ext cx="8248678" cy="577850"/>
          </a:xfrm>
          <a:prstGeom prst="roundRect">
            <a:avLst>
              <a:gd name="adj" fmla="val 16667"/>
            </a:avLst>
          </a:prstGeom>
          <a:solidFill>
            <a:srgbClr val="003366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Реализация готовой продукции будет производится через </a:t>
            </a:r>
            <a:r>
              <a:rPr lang="ru-RU" sz="1400" b="1" dirty="0" smtClean="0">
                <a:solidFill>
                  <a:schemeClr val="bg1"/>
                </a:solidFill>
              </a:rPr>
              <a:t>имеющиеся </a:t>
            </a:r>
            <a:r>
              <a:rPr lang="ru-RU" sz="1400" b="1" dirty="0">
                <a:solidFill>
                  <a:schemeClr val="bg1"/>
                </a:solidFill>
              </a:rPr>
              <a:t>каналы продаж в России, </a:t>
            </a:r>
            <a:endParaRPr lang="ru-RU" sz="1400" b="1" dirty="0" smtClean="0">
              <a:solidFill>
                <a:schemeClr val="bg1"/>
              </a:solidFill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Европе </a:t>
            </a:r>
            <a:r>
              <a:rPr lang="ru-RU" sz="1400" b="1" dirty="0">
                <a:solidFill>
                  <a:schemeClr val="bg1"/>
                </a:solidFill>
              </a:rPr>
              <a:t>и США, а также посредников</a:t>
            </a:r>
          </a:p>
        </p:txBody>
      </p:sp>
      <p:sp>
        <p:nvSpPr>
          <p:cNvPr id="337" name="Овал 336"/>
          <p:cNvSpPr/>
          <p:nvPr/>
        </p:nvSpPr>
        <p:spPr>
          <a:xfrm>
            <a:off x="1325532" y="3190864"/>
            <a:ext cx="1160530" cy="65560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>
                <a:solidFill>
                  <a:schemeClr val="tx1"/>
                </a:solidFill>
              </a:rPr>
              <a:t>30% продаж</a:t>
            </a:r>
          </a:p>
        </p:txBody>
      </p:sp>
      <p:sp>
        <p:nvSpPr>
          <p:cNvPr id="338" name="Овал 337"/>
          <p:cNvSpPr/>
          <p:nvPr/>
        </p:nvSpPr>
        <p:spPr>
          <a:xfrm>
            <a:off x="3925857" y="2592377"/>
            <a:ext cx="1160530" cy="65560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>
                <a:solidFill>
                  <a:schemeClr val="tx1"/>
                </a:solidFill>
              </a:rPr>
              <a:t>30% продаж</a:t>
            </a:r>
          </a:p>
        </p:txBody>
      </p:sp>
      <p:sp>
        <p:nvSpPr>
          <p:cNvPr id="339" name="Овал 338"/>
          <p:cNvSpPr/>
          <p:nvPr/>
        </p:nvSpPr>
        <p:spPr>
          <a:xfrm>
            <a:off x="5635595" y="2439977"/>
            <a:ext cx="1160529" cy="657454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>
                <a:solidFill>
                  <a:schemeClr val="tx1"/>
                </a:solidFill>
              </a:rPr>
              <a:t>30% продаж</a:t>
            </a:r>
          </a:p>
        </p:txBody>
      </p:sp>
      <p:sp>
        <p:nvSpPr>
          <p:cNvPr id="340" name="Прямоугольник 339"/>
          <p:cNvSpPr>
            <a:spLocks noChangeArrowheads="1"/>
          </p:cNvSpPr>
          <p:nvPr/>
        </p:nvSpPr>
        <p:spPr bwMode="auto">
          <a:xfrm>
            <a:off x="3214678" y="5857892"/>
            <a:ext cx="414340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Ряд потребителей представили «комфортные письма» с </a:t>
            </a:r>
            <a:r>
              <a:rPr lang="ru-RU" sz="1400" b="1" dirty="0" smtClean="0"/>
              <a:t>подтверждением заинтересованности </a:t>
            </a:r>
            <a:r>
              <a:rPr lang="ru-RU" sz="1400" b="1" dirty="0"/>
              <a:t>в продуктах проекта и его </a:t>
            </a:r>
            <a:r>
              <a:rPr lang="ru-RU" sz="1400" b="1" dirty="0" smtClean="0"/>
              <a:t>поддержке</a:t>
            </a:r>
            <a:endParaRPr lang="ru-RU" sz="1400" b="1" dirty="0"/>
          </a:p>
        </p:txBody>
      </p:sp>
      <p:pic>
        <p:nvPicPr>
          <p:cNvPr id="341" name="Picture 1" descr="D:\RRE\MATERIALS\blanck_rre.png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342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/>
        <p:txBody>
          <a:bodyPr/>
          <a:lstStyle/>
          <a:p>
            <a:pPr>
              <a:defRPr/>
            </a:pPr>
            <a:fld id="{A77E7380-A51F-4629-BE52-35DEC3E33CA8}" type="slidenum">
              <a:rPr lang="sv-SE"/>
              <a:pPr>
                <a:defRPr/>
              </a:pPr>
              <a:t>7</a:t>
            </a:fld>
            <a:endParaRPr lang="sv-SE"/>
          </a:p>
          <a:p>
            <a:pPr>
              <a:defRPr/>
            </a:pPr>
            <a:endParaRPr lang="sv-SE"/>
          </a:p>
        </p:txBody>
      </p:sp>
      <p:graphicFrame>
        <p:nvGraphicFramePr>
          <p:cNvPr id="1080354" name="Group 34"/>
          <p:cNvGraphicFramePr>
            <a:graphicFrameLocks noGrp="1"/>
          </p:cNvGraphicFramePr>
          <p:nvPr>
            <p:ph idx="4294967295"/>
          </p:nvPr>
        </p:nvGraphicFramePr>
        <p:xfrm>
          <a:off x="179388" y="641372"/>
          <a:ext cx="8750330" cy="6031141"/>
        </p:xfrm>
        <a:graphic>
          <a:graphicData uri="http://schemas.openxmlformats.org/drawingml/2006/table">
            <a:tbl>
              <a:tblPr/>
              <a:tblGrid>
                <a:gridCol w="1390803"/>
                <a:gridCol w="2724634"/>
                <a:gridCol w="1342209"/>
                <a:gridCol w="3292684"/>
              </a:tblGrid>
              <a:tr h="4527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бласть рисков</a:t>
                      </a:r>
                    </a:p>
                  </a:txBody>
                  <a:tcPr anchor="ctr" horzOverflow="overflow">
                    <a:lnL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сновные риски</a:t>
                      </a:r>
                    </a:p>
                  </a:txBody>
                  <a:tcPr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лияние на проект</a:t>
                      </a:r>
                    </a:p>
                  </a:txBody>
                  <a:tcPr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пособы минимизации или контроля рисков</a:t>
                      </a:r>
                    </a:p>
                  </a:txBody>
                  <a:tcPr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</a:tr>
              <a:tr h="114898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ехнология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едостижение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заявленных характеристик продукции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инимальное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екущий (достигнутый уровень) соответствует мировому уровню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ведение непрерывных НИОКР с постоянным внедрением результатов в производство. 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уществующие опытные образцы соответствуют целевым показателям НИОКР.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9970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озможность пересечения технических решений проекта с патентами, действующими на целевых региональных рынках 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меренное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 рамках реализации проекта будет организовано патентование технологий проекта в РФ и на целевых рынках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уществующий патентный пул закрывает значительную часть технологий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6450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лучение конкурентами доступа к ноу-хау проект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начительное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Защита в режиме коммерческой тайны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остоянное развитие технологий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-25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84662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ынок и продаж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сутствие спроса на продукцию проекта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инимальное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уществующий спрос существенно превышает производственные возможности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Широкая номенклатура изделий и рынков распространения на одной технологической базе.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6124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жесточение ценовой конкуренции на зарубежных рынках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меренное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епрерывное проведение работ по повышению эффективности производственных процессов. 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стоянное развитие технологий.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12993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едоверие иностранных потребителей к российской продукции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начительное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недрение продуктов проекта на стадии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&amp;D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отребителей.</a:t>
                      </a:r>
                    </a:p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Локализация части заключительных производственных процессов на целевой территории.</a:t>
                      </a:r>
                    </a:p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частие в международных проектах.</a:t>
                      </a:r>
                    </a:p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крытый доступ к информации о проекте и продукции.</a:t>
                      </a:r>
                    </a:p>
                  </a:txBody>
                  <a:tcPr marL="90000" marR="90000" marT="46800" marB="4680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</a:tbl>
          </a:graphicData>
        </a:graphic>
      </p:graphicFrame>
      <p:sp>
        <p:nvSpPr>
          <p:cNvPr id="1165344" name="Rectangle 2"/>
          <p:cNvSpPr>
            <a:spLocks noChangeArrowheads="1"/>
          </p:cNvSpPr>
          <p:nvPr/>
        </p:nvSpPr>
        <p:spPr bwMode="auto">
          <a:xfrm>
            <a:off x="292128" y="-1"/>
            <a:ext cx="8280400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2000" b="1" dirty="0">
                <a:latin typeface="Arial" pitchFamily="34" charset="0"/>
                <a:ea typeface="+mj-ea"/>
                <a:cs typeface="Arial" pitchFamily="34" charset="0"/>
              </a:rPr>
              <a:t>Основные риски проекта</a:t>
            </a:r>
          </a:p>
        </p:txBody>
      </p:sp>
      <p:pic>
        <p:nvPicPr>
          <p:cNvPr id="6" name="Picture 1" descr="D:\RRE\MATERIALS\blanck_rre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7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8" name="think-cell Slide" r:id="rId27" imgW="0" imgH="0" progId="">
              <p:embed/>
            </p:oleObj>
          </a:graphicData>
        </a:graphic>
      </p:graphicFrame>
      <p:sp>
        <p:nvSpPr>
          <p:cNvPr id="64" name="Прямоугольник 63"/>
          <p:cNvSpPr/>
          <p:nvPr>
            <p:custDataLst>
              <p:tags r:id="rId2"/>
            </p:custDataLst>
          </p:nvPr>
        </p:nvSpPr>
        <p:spPr>
          <a:xfrm>
            <a:off x="3203604" y="1409700"/>
            <a:ext cx="2705100" cy="5091134"/>
          </a:xfrm>
          <a:prstGeom prst="rect">
            <a:avLst/>
          </a:prstGeom>
          <a:solidFill>
            <a:srgbClr val="00336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5" name="Прямоугольник 64"/>
          <p:cNvSpPr/>
          <p:nvPr>
            <p:custDataLst>
              <p:tags r:id="rId3"/>
            </p:custDataLst>
          </p:nvPr>
        </p:nvSpPr>
        <p:spPr>
          <a:xfrm>
            <a:off x="3290916" y="2038350"/>
            <a:ext cx="2530475" cy="42856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6" name="Прямоугольник 65"/>
          <p:cNvSpPr/>
          <p:nvPr>
            <p:custDataLst>
              <p:tags r:id="rId4"/>
            </p:custDataLst>
          </p:nvPr>
        </p:nvSpPr>
        <p:spPr>
          <a:xfrm>
            <a:off x="6010304" y="1409700"/>
            <a:ext cx="2705100" cy="5091134"/>
          </a:xfrm>
          <a:prstGeom prst="rect">
            <a:avLst/>
          </a:prstGeom>
          <a:solidFill>
            <a:srgbClr val="00336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7" name="Прямоугольник 66"/>
          <p:cNvSpPr/>
          <p:nvPr>
            <p:custDataLst>
              <p:tags r:id="rId5"/>
            </p:custDataLst>
          </p:nvPr>
        </p:nvSpPr>
        <p:spPr>
          <a:xfrm>
            <a:off x="6097616" y="2038350"/>
            <a:ext cx="2530475" cy="42856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1156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405216" y="4695824"/>
            <a:ext cx="2301875" cy="578303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>
                <a:latin typeface="+mj-lt"/>
                <a:cs typeface="Arial" charset="0"/>
              </a:rPr>
              <a:t>Малые серии</a:t>
            </a:r>
          </a:p>
        </p:txBody>
      </p:sp>
      <p:sp>
        <p:nvSpPr>
          <p:cNvPr id="1201157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405216" y="5399087"/>
            <a:ext cx="2301875" cy="578303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>
                <a:latin typeface="+mj-lt"/>
                <a:cs typeface="Arial" charset="0"/>
              </a:rPr>
              <a:t>Массовый рынок</a:t>
            </a:r>
          </a:p>
        </p:txBody>
      </p:sp>
      <p:sp>
        <p:nvSpPr>
          <p:cNvPr id="1201160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213504" y="4957763"/>
            <a:ext cx="2300287" cy="1022358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>
                <a:latin typeface="+mj-lt"/>
                <a:cs typeface="Arial" charset="0"/>
              </a:rPr>
              <a:t>Простота </a:t>
            </a:r>
            <a:r>
              <a:rPr lang="ru-RU" sz="1400" dirty="0" err="1" smtClean="0">
                <a:latin typeface="+mj-lt"/>
                <a:cs typeface="Arial" charset="0"/>
              </a:rPr>
              <a:t>масштабиро</a:t>
            </a:r>
            <a:r>
              <a:rPr lang="en-US" sz="1400" dirty="0" smtClean="0">
                <a:latin typeface="+mj-lt"/>
                <a:cs typeface="Arial" charset="0"/>
              </a:rPr>
              <a:t>-</a:t>
            </a:r>
            <a:r>
              <a:rPr lang="ru-RU" sz="1400" dirty="0" err="1" smtClean="0">
                <a:latin typeface="+mj-lt"/>
                <a:cs typeface="Arial" charset="0"/>
              </a:rPr>
              <a:t>вания</a:t>
            </a:r>
            <a:r>
              <a:rPr lang="ru-RU" sz="1400" dirty="0" smtClean="0">
                <a:latin typeface="+mj-lt"/>
                <a:cs typeface="Arial" charset="0"/>
              </a:rPr>
              <a:t> </a:t>
            </a:r>
            <a:r>
              <a:rPr lang="ru-RU" sz="1400" dirty="0">
                <a:latin typeface="+mj-lt"/>
                <a:cs typeface="Arial" charset="0"/>
              </a:rPr>
              <a:t>объема выпуска</a:t>
            </a:r>
          </a:p>
        </p:txBody>
      </p:sp>
      <p:sp>
        <p:nvSpPr>
          <p:cNvPr id="1201162" name="Rectangl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405216" y="3992562"/>
            <a:ext cx="2301875" cy="578303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>
                <a:latin typeface="+mj-lt"/>
                <a:cs typeface="Arial" charset="0"/>
              </a:rPr>
              <a:t>Опытные партии</a:t>
            </a:r>
          </a:p>
        </p:txBody>
      </p:sp>
      <p:sp>
        <p:nvSpPr>
          <p:cNvPr id="1201164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13504" y="3756024"/>
            <a:ext cx="2300287" cy="1020637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 err="1" smtClean="0">
                <a:latin typeface="+mj-lt"/>
                <a:cs typeface="Arial" charset="0"/>
              </a:rPr>
              <a:t>Низкозатратная</a:t>
            </a:r>
            <a:r>
              <a:rPr lang="ru-RU" sz="1400" dirty="0" smtClean="0">
                <a:latin typeface="+mj-lt"/>
                <a:cs typeface="Arial" charset="0"/>
              </a:rPr>
              <a:t> </a:t>
            </a:r>
            <a:r>
              <a:rPr lang="ru-RU" sz="1400" dirty="0">
                <a:latin typeface="+mj-lt"/>
                <a:cs typeface="Arial" charset="0"/>
              </a:rPr>
              <a:t>технология (</a:t>
            </a:r>
            <a:r>
              <a:rPr lang="ru-RU" sz="1400" dirty="0" err="1">
                <a:latin typeface="+mj-lt"/>
                <a:cs typeface="Arial" charset="0"/>
              </a:rPr>
              <a:t>Ноу-Хау</a:t>
            </a:r>
            <a:r>
              <a:rPr lang="ru-RU" sz="1400" dirty="0">
                <a:latin typeface="+mj-lt"/>
                <a:cs typeface="Arial" charset="0"/>
              </a:rPr>
              <a:t>)</a:t>
            </a:r>
          </a:p>
        </p:txBody>
      </p:sp>
      <p:sp>
        <p:nvSpPr>
          <p:cNvPr id="1201166" name="Rectangle 14"/>
          <p:cNvSpPr>
            <a:spLocks noChangeArrowheads="1"/>
          </p:cNvSpPr>
          <p:nvPr/>
        </p:nvSpPr>
        <p:spPr bwMode="auto">
          <a:xfrm>
            <a:off x="3405216" y="1878012"/>
            <a:ext cx="2301875" cy="578303"/>
          </a:xfrm>
          <a:prstGeom prst="rect">
            <a:avLst/>
          </a:prstGeom>
          <a:solidFill>
            <a:srgbClr val="92D050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spcAft>
                <a:spcPts val="1000"/>
              </a:spcAft>
              <a:defRPr/>
            </a:pPr>
            <a:r>
              <a:rPr lang="ru-RU" sz="1400" b="1" dirty="0">
                <a:latin typeface="+mj-lt"/>
                <a:cs typeface="Arial" charset="0"/>
              </a:rPr>
              <a:t>Выход на новые рынки</a:t>
            </a:r>
          </a:p>
        </p:txBody>
      </p:sp>
      <p:sp>
        <p:nvSpPr>
          <p:cNvPr id="1201169" name="Rectangle 1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405216" y="2586038"/>
            <a:ext cx="2301875" cy="576582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>
                <a:latin typeface="+mj-lt"/>
                <a:cs typeface="Arial" charset="0"/>
              </a:rPr>
              <a:t>Внедрение на стадии </a:t>
            </a:r>
            <a:r>
              <a:rPr lang="en-US" sz="1400" dirty="0">
                <a:latin typeface="+mj-lt"/>
                <a:cs typeface="Arial" charset="0"/>
              </a:rPr>
              <a:t>R</a:t>
            </a:r>
            <a:r>
              <a:rPr lang="ru-RU" sz="1400" dirty="0">
                <a:latin typeface="+mj-lt"/>
                <a:cs typeface="Arial" charset="0"/>
              </a:rPr>
              <a:t>&amp;</a:t>
            </a:r>
            <a:r>
              <a:rPr lang="en-US" sz="1400" dirty="0">
                <a:latin typeface="+mj-lt"/>
                <a:cs typeface="Arial" charset="0"/>
              </a:rPr>
              <a:t>D</a:t>
            </a:r>
            <a:endParaRPr lang="ru-RU" sz="1400" dirty="0">
              <a:latin typeface="+mj-lt"/>
              <a:cs typeface="Arial" charset="0"/>
            </a:endParaRPr>
          </a:p>
        </p:txBody>
      </p:sp>
      <p:sp>
        <p:nvSpPr>
          <p:cNvPr id="1201171" name="Rectangle 1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213504" y="2586038"/>
            <a:ext cx="2300287" cy="1020636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>
                <a:latin typeface="+mj-lt"/>
                <a:cs typeface="Arial" charset="0"/>
              </a:rPr>
              <a:t>Быстрая переналадка</a:t>
            </a:r>
          </a:p>
        </p:txBody>
      </p:sp>
      <p:sp>
        <p:nvSpPr>
          <p:cNvPr id="43" name="Rectangle 1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405216" y="3289300"/>
            <a:ext cx="2301875" cy="576583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spcAft>
                <a:spcPts val="1000"/>
              </a:spcAft>
              <a:defRPr/>
            </a:pPr>
            <a:r>
              <a:rPr lang="ru-RU" sz="1400" dirty="0">
                <a:latin typeface="+mj-lt"/>
                <a:cs typeface="Arial" charset="0"/>
              </a:rPr>
              <a:t>Завоевание доверия потребителя </a:t>
            </a:r>
          </a:p>
        </p:txBody>
      </p:sp>
      <p:sp>
        <p:nvSpPr>
          <p:cNvPr id="44" name="Rectangle 2"/>
          <p:cNvSpPr txBox="1">
            <a:spLocks noChangeArrowheads="1"/>
          </p:cNvSpPr>
          <p:nvPr>
            <p:custDataLst>
              <p:tags r:id="rId14"/>
            </p:custDataLst>
          </p:nvPr>
        </p:nvSpPr>
        <p:spPr>
          <a:xfrm>
            <a:off x="71438" y="71414"/>
            <a:ext cx="8910637" cy="577830"/>
          </a:xfrm>
          <a:prstGeom prst="rect">
            <a:avLst/>
          </a:prstGeom>
        </p:spPr>
        <p:txBody>
          <a:bodyPr/>
          <a:lstStyle/>
          <a:p>
            <a:pPr algn="ctr" eaLnBrk="0" hangingPunct="0">
              <a:defRPr/>
            </a:pPr>
            <a:r>
              <a:rPr lang="ru-RU" sz="2000" b="1" dirty="0">
                <a:latin typeface="Arial" charset="0"/>
                <a:cs typeface="Arial" charset="0"/>
              </a:rPr>
              <a:t> Маркетинговая стратегия проекта</a:t>
            </a:r>
            <a:endParaRPr lang="ru-RU" sz="1900" b="1" kern="0" dirty="0">
              <a:latin typeface="+mj-lt"/>
              <a:ea typeface="+mj-ea"/>
              <a:cs typeface="+mj-cs"/>
            </a:endParaRPr>
          </a:p>
        </p:txBody>
      </p:sp>
      <p:sp>
        <p:nvSpPr>
          <p:cNvPr id="48" name="TextBox 47"/>
          <p:cNvSpPr txBox="1"/>
          <p:nvPr>
            <p:custDataLst>
              <p:tags r:id="rId15"/>
            </p:custDataLst>
          </p:nvPr>
        </p:nvSpPr>
        <p:spPr>
          <a:xfrm>
            <a:off x="395316" y="787400"/>
            <a:ext cx="8305800" cy="540438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latin typeface="Arial" charset="0"/>
                <a:cs typeface="Arial" charset="0"/>
              </a:rPr>
              <a:t>Диверсифицированный подход</a:t>
            </a:r>
          </a:p>
        </p:txBody>
      </p:sp>
      <p:sp>
        <p:nvSpPr>
          <p:cNvPr id="18451" name="TextBox 49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449666" y="1484313"/>
            <a:ext cx="213836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ынки</a:t>
            </a:r>
          </a:p>
        </p:txBody>
      </p:sp>
      <p:sp>
        <p:nvSpPr>
          <p:cNvPr id="18452" name="TextBox 5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321454" y="1484313"/>
            <a:ext cx="213677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Технологии</a:t>
            </a:r>
          </a:p>
        </p:txBody>
      </p:sp>
      <p:sp>
        <p:nvSpPr>
          <p:cNvPr id="55" name="Прямоугольник 54"/>
          <p:cNvSpPr/>
          <p:nvPr>
            <p:custDataLst>
              <p:tags r:id="rId18"/>
            </p:custDataLst>
          </p:nvPr>
        </p:nvSpPr>
        <p:spPr>
          <a:xfrm>
            <a:off x="404841" y="1409700"/>
            <a:ext cx="2703513" cy="5091134"/>
          </a:xfrm>
          <a:prstGeom prst="rect">
            <a:avLst/>
          </a:prstGeom>
          <a:solidFill>
            <a:srgbClr val="00336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6" name="Прямоугольник 55"/>
          <p:cNvSpPr/>
          <p:nvPr>
            <p:custDataLst>
              <p:tags r:id="rId19"/>
            </p:custDataLst>
          </p:nvPr>
        </p:nvSpPr>
        <p:spPr>
          <a:xfrm>
            <a:off x="492154" y="2038350"/>
            <a:ext cx="2530475" cy="42856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1168" name="Rectangle 16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06454" y="1857364"/>
            <a:ext cx="2300287" cy="578303"/>
          </a:xfrm>
          <a:prstGeom prst="rect">
            <a:avLst/>
          </a:prstGeom>
          <a:solidFill>
            <a:srgbClr val="92D050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spcAft>
                <a:spcPts val="1000"/>
              </a:spcAft>
              <a:defRPr/>
            </a:pPr>
            <a:r>
              <a:rPr lang="ru-RU" sz="1400" b="1" dirty="0">
                <a:latin typeface="+mj-lt"/>
                <a:cs typeface="Arial" charset="0"/>
              </a:rPr>
              <a:t>Дифференциация по уникальным свойствам</a:t>
            </a:r>
          </a:p>
        </p:txBody>
      </p:sp>
      <p:sp>
        <p:nvSpPr>
          <p:cNvPr id="1201170" name="Rectangle 18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06454" y="2586038"/>
            <a:ext cx="2300287" cy="1514604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/>
          <a:lstStyle/>
          <a:p>
            <a:pPr marL="85725" indent="-85725">
              <a:spcAft>
                <a:spcPts val="0"/>
              </a:spcAft>
              <a:defRPr/>
            </a:pPr>
            <a:r>
              <a:rPr lang="ru-RU" sz="1400" b="1" dirty="0" err="1" smtClean="0">
                <a:latin typeface="+mj-lt"/>
                <a:cs typeface="Arial" charset="0"/>
              </a:rPr>
              <a:t>Сегнетокерамика</a:t>
            </a:r>
            <a:endParaRPr lang="ru-RU" sz="1400" dirty="0">
              <a:latin typeface="+mj-lt"/>
              <a:cs typeface="Arial" charset="0"/>
            </a:endParaRPr>
          </a:p>
          <a:p>
            <a:pPr marL="85725" indent="-85725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>
                <a:cs typeface="Arial" charset="0"/>
              </a:rPr>
              <a:t>Совершенно новые</a:t>
            </a:r>
          </a:p>
          <a:p>
            <a:pPr marL="85725" indent="-85725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>
                <a:cs typeface="Arial" charset="0"/>
              </a:rPr>
              <a:t>Широкая линейка</a:t>
            </a:r>
          </a:p>
          <a:p>
            <a:pPr marL="85725" indent="-85725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>
                <a:cs typeface="Arial" charset="0"/>
              </a:rPr>
              <a:t>Специальная разработка под заказчика</a:t>
            </a:r>
          </a:p>
        </p:txBody>
      </p:sp>
      <p:sp>
        <p:nvSpPr>
          <p:cNvPr id="18457" name="TextBox 5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92154" y="1484313"/>
            <a:ext cx="244633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родукты</a:t>
            </a:r>
          </a:p>
        </p:txBody>
      </p:sp>
      <p:sp>
        <p:nvSpPr>
          <p:cNvPr id="57" name="Rectangle 18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06454" y="4241799"/>
            <a:ext cx="2300287" cy="1833015"/>
          </a:xfrm>
          <a:prstGeom prst="rect">
            <a:avLst/>
          </a:prstGeom>
          <a:solidFill>
            <a:srgbClr val="FFFFFF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/>
          <a:lstStyle/>
          <a:p>
            <a:pPr marL="85725" indent="-85725">
              <a:spcAft>
                <a:spcPts val="0"/>
              </a:spcAft>
              <a:defRPr/>
            </a:pPr>
            <a:r>
              <a:rPr lang="ru-RU" sz="1400" b="1" dirty="0">
                <a:cs typeface="Arial" charset="0"/>
              </a:rPr>
              <a:t>Линейная керамика</a:t>
            </a:r>
            <a:endParaRPr lang="ru-RU" sz="1400" dirty="0">
              <a:cs typeface="Arial" charset="0"/>
            </a:endParaRPr>
          </a:p>
          <a:p>
            <a:pPr marL="85725" indent="-85725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>
                <a:cs typeface="Arial" charset="0"/>
              </a:rPr>
              <a:t>Улучшенные свойства</a:t>
            </a:r>
          </a:p>
          <a:p>
            <a:pPr marL="85725" indent="-85725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>
                <a:cs typeface="Arial" charset="0"/>
              </a:rPr>
              <a:t>Широкая линейка</a:t>
            </a:r>
          </a:p>
          <a:p>
            <a:pPr marL="85725" indent="-85725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>
                <a:cs typeface="Arial" charset="0"/>
              </a:rPr>
              <a:t>Специальная разработка под заказчика</a:t>
            </a:r>
          </a:p>
        </p:txBody>
      </p:sp>
      <p:cxnSp>
        <p:nvCxnSpPr>
          <p:cNvPr id="69" name="Прямая со стрелкой 68"/>
          <p:cNvCxnSpPr>
            <a:stCxn id="1201169" idx="2"/>
            <a:endCxn id="43" idx="0"/>
          </p:cNvCxnSpPr>
          <p:nvPr/>
        </p:nvCxnSpPr>
        <p:spPr>
          <a:xfrm rot="5400000">
            <a:off x="4492814" y="3225960"/>
            <a:ext cx="126680" cy="1588"/>
          </a:xfrm>
          <a:prstGeom prst="straightConnector1">
            <a:avLst/>
          </a:prstGeom>
          <a:ln w="19050">
            <a:solidFill>
              <a:srgbClr val="0033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>
            <a:stCxn id="43" idx="2"/>
            <a:endCxn id="1201162" idx="0"/>
          </p:cNvCxnSpPr>
          <p:nvPr/>
        </p:nvCxnSpPr>
        <p:spPr>
          <a:xfrm rot="5400000">
            <a:off x="4492815" y="3929222"/>
            <a:ext cx="126679" cy="1588"/>
          </a:xfrm>
          <a:prstGeom prst="straightConnector1">
            <a:avLst/>
          </a:prstGeom>
          <a:ln w="19050">
            <a:solidFill>
              <a:srgbClr val="0033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>
            <a:stCxn id="1201162" idx="2"/>
            <a:endCxn id="1201156" idx="0"/>
          </p:cNvCxnSpPr>
          <p:nvPr/>
        </p:nvCxnSpPr>
        <p:spPr>
          <a:xfrm rot="5400000">
            <a:off x="4493675" y="4633344"/>
            <a:ext cx="124959" cy="1588"/>
          </a:xfrm>
          <a:prstGeom prst="straightConnector1">
            <a:avLst/>
          </a:prstGeom>
          <a:ln w="19050">
            <a:solidFill>
              <a:srgbClr val="0033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>
            <a:stCxn id="1201156" idx="2"/>
            <a:endCxn id="1201157" idx="0"/>
          </p:cNvCxnSpPr>
          <p:nvPr/>
        </p:nvCxnSpPr>
        <p:spPr>
          <a:xfrm rot="5400000">
            <a:off x="4493674" y="5336607"/>
            <a:ext cx="124960" cy="1588"/>
          </a:xfrm>
          <a:prstGeom prst="straightConnector1">
            <a:avLst/>
          </a:prstGeom>
          <a:ln w="19050">
            <a:solidFill>
              <a:srgbClr val="0033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14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211916" y="1878012"/>
            <a:ext cx="2301875" cy="578303"/>
          </a:xfrm>
          <a:prstGeom prst="rect">
            <a:avLst/>
          </a:prstGeom>
          <a:solidFill>
            <a:srgbClr val="92D050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spcAft>
                <a:spcPts val="1000"/>
              </a:spcAft>
              <a:defRPr/>
            </a:pPr>
            <a:r>
              <a:rPr lang="ru-RU" sz="1400" b="1" dirty="0">
                <a:cs typeface="Arial" charset="0"/>
              </a:rPr>
              <a:t>Общая </a:t>
            </a:r>
            <a:r>
              <a:rPr lang="ru-RU" sz="1400" b="1" dirty="0" smtClean="0">
                <a:cs typeface="Arial" charset="0"/>
              </a:rPr>
              <a:t>технологическая </a:t>
            </a:r>
            <a:r>
              <a:rPr lang="ru-RU" sz="1400" b="1" dirty="0">
                <a:cs typeface="Arial" charset="0"/>
              </a:rPr>
              <a:t>платформа</a:t>
            </a:r>
          </a:p>
        </p:txBody>
      </p:sp>
      <p:pic>
        <p:nvPicPr>
          <p:cNvPr id="33" name="Picture 1" descr="D:\RRE\MATERIALS\blanck_rre.pn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32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Rectangle 27"/>
          <p:cNvSpPr>
            <a:spLocks noChangeArrowheads="1"/>
          </p:cNvSpPr>
          <p:nvPr/>
        </p:nvSpPr>
        <p:spPr bwMode="auto">
          <a:xfrm>
            <a:off x="571472" y="927120"/>
            <a:ext cx="4051300" cy="1231900"/>
          </a:xfrm>
          <a:prstGeom prst="rect">
            <a:avLst/>
          </a:prstGeom>
          <a:solidFill>
            <a:srgbClr val="FFE2C5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5366" name="Rectangle 2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1472" y="3222645"/>
            <a:ext cx="8012113" cy="3135313"/>
          </a:xfrm>
          <a:prstGeom prst="rect">
            <a:avLst/>
          </a:prstGeom>
          <a:solidFill>
            <a:srgbClr val="E6E6E6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5367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22772" y="927120"/>
            <a:ext cx="3960813" cy="2295525"/>
          </a:xfrm>
          <a:prstGeom prst="rect">
            <a:avLst/>
          </a:prstGeom>
          <a:solidFill>
            <a:srgbClr val="D3D3F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536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35004" y="7938"/>
            <a:ext cx="8280400" cy="67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 dirty="0">
                <a:latin typeface="Arial" pitchFamily="34" charset="0"/>
                <a:cs typeface="Arial" pitchFamily="34" charset="0"/>
              </a:rPr>
              <a:t>Требуемые 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инвестиции 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369" name="Oval 3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57597" y="2908320"/>
            <a:ext cx="1574800" cy="1530350"/>
          </a:xfrm>
          <a:prstGeom prst="ellipse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5370" name="Text Box 3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162522" y="973158"/>
            <a:ext cx="306070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/>
              <a:t>Здания и сооружения</a:t>
            </a:r>
          </a:p>
        </p:txBody>
      </p:sp>
      <p:sp>
        <p:nvSpPr>
          <p:cNvPr id="15371" name="Text Box 4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71472" y="3317895"/>
            <a:ext cx="2116138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/>
              <a:t>Оборудование</a:t>
            </a:r>
          </a:p>
        </p:txBody>
      </p:sp>
      <p:sp>
        <p:nvSpPr>
          <p:cNvPr id="15372" name="Text Box 43"/>
          <p:cNvSpPr txBox="1">
            <a:spLocks noChangeArrowheads="1"/>
          </p:cNvSpPr>
          <p:nvPr/>
        </p:nvSpPr>
        <p:spPr bwMode="auto">
          <a:xfrm>
            <a:off x="627035" y="1001733"/>
            <a:ext cx="3421062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 smtClean="0"/>
              <a:t>Проектирование производства</a:t>
            </a:r>
            <a:endParaRPr lang="ru-RU" sz="1600" b="1" dirty="0"/>
          </a:p>
        </p:txBody>
      </p:sp>
      <p:sp>
        <p:nvSpPr>
          <p:cNvPr id="15373" name="Text Box 4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242022" y="3317895"/>
            <a:ext cx="2341563" cy="669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/>
              <a:t>34 единицы необходимого технологического оборудования </a:t>
            </a:r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</a:pPr>
            <a:r>
              <a:rPr lang="ru-RU" sz="1000"/>
              <a:t>Из них:</a:t>
            </a:r>
          </a:p>
        </p:txBody>
      </p:sp>
      <p:sp>
        <p:nvSpPr>
          <p:cNvPr id="15375" name="Text Box 47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478435" y="1423980"/>
            <a:ext cx="2968625" cy="7078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3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ru-RU" sz="1000" dirty="0"/>
              <a:t>Запланирована аренда и реконструкция  производственных помещений общей площадью около  </a:t>
            </a:r>
            <a:r>
              <a:rPr lang="ru-RU" sz="1000" dirty="0" smtClean="0"/>
              <a:t>1500 </a:t>
            </a:r>
            <a:r>
              <a:rPr lang="ru-RU" sz="1000" dirty="0"/>
              <a:t>кв.м</a:t>
            </a:r>
            <a:r>
              <a:rPr lang="ru-RU" sz="1000" dirty="0" smtClean="0"/>
              <a:t>. на </a:t>
            </a:r>
            <a:r>
              <a:rPr lang="ru-RU" sz="1000" dirty="0"/>
              <a:t>территории </a:t>
            </a:r>
            <a:r>
              <a:rPr lang="ru-RU" sz="1000" dirty="0" smtClean="0"/>
              <a:t>действующего промышленного предприятия</a:t>
            </a:r>
            <a:endParaRPr lang="ru-RU" sz="1000" dirty="0"/>
          </a:p>
        </p:txBody>
      </p:sp>
      <p:sp>
        <p:nvSpPr>
          <p:cNvPr id="15376" name="Text Box 5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295622" y="5432445"/>
            <a:ext cx="2428875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30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/>
              <a:t>Монтаж и пуско-наладочные работы по подключению оборудования</a:t>
            </a:r>
          </a:p>
        </p:txBody>
      </p:sp>
      <p:graphicFrame>
        <p:nvGraphicFramePr>
          <p:cNvPr id="15362" name="Object 32"/>
          <p:cNvGraphicFramePr>
            <a:graphicFrameLocks noChangeAspect="1"/>
          </p:cNvGraphicFramePr>
          <p:nvPr/>
        </p:nvGraphicFramePr>
        <p:xfrm>
          <a:off x="1970088" y="1738313"/>
          <a:ext cx="5526087" cy="3708400"/>
        </p:xfrm>
        <a:graphic>
          <a:graphicData uri="http://schemas.openxmlformats.org/presentationml/2006/ole">
            <p:oleObj spid="_x0000_s27650" name="Worksheet" r:id="rId22" imgW="5534025" imgH="3695700" progId="Excel.Sheet.8">
              <p:embed/>
            </p:oleObj>
          </a:graphicData>
        </a:graphic>
      </p:graphicFrame>
      <p:sp>
        <p:nvSpPr>
          <p:cNvPr id="15377" name="Text Box 44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929058" y="3143248"/>
            <a:ext cx="1439863" cy="10618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400" b="1" dirty="0">
                <a:latin typeface="Arial" pitchFamily="34" charset="0"/>
                <a:cs typeface="Arial" pitchFamily="34" charset="0"/>
              </a:rPr>
              <a:t>Итого требуемые инвестиции</a:t>
            </a:r>
          </a:p>
          <a:p>
            <a:pPr algn="ctr">
              <a:spcBef>
                <a:spcPct val="50000"/>
              </a:spcBef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820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млн. руб.</a:t>
            </a:r>
          </a:p>
        </p:txBody>
      </p:sp>
      <p:sp>
        <p:nvSpPr>
          <p:cNvPr id="15378" name="Text Box 3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959322" y="2527320"/>
            <a:ext cx="76517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 smtClean="0">
                <a:solidFill>
                  <a:schemeClr val="bg1"/>
                </a:solidFill>
              </a:rPr>
              <a:t>150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15379" name="Text Box 3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281491" y="4664086"/>
            <a:ext cx="719137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 smtClean="0"/>
              <a:t>609</a:t>
            </a:r>
            <a:endParaRPr lang="ru-RU" sz="1600" b="1" dirty="0"/>
          </a:p>
        </p:txBody>
      </p:sp>
      <p:sp>
        <p:nvSpPr>
          <p:cNvPr id="15380" name="Text Box 5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242022" y="5418158"/>
            <a:ext cx="2428875" cy="939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 smtClean="0"/>
              <a:t>Установки </a:t>
            </a:r>
            <a:r>
              <a:rPr lang="ru-RU" sz="1000" dirty="0"/>
              <a:t>ионного травления </a:t>
            </a:r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/>
              <a:t>Установка дисковой резки </a:t>
            </a:r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/>
              <a:t>Изостатический пресс холодного прессования </a:t>
            </a:r>
          </a:p>
        </p:txBody>
      </p:sp>
      <p:sp>
        <p:nvSpPr>
          <p:cNvPr id="15381" name="Text Box 52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242022" y="3987820"/>
            <a:ext cx="2341563" cy="14001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/>
              <a:t>Камерные печи и полировальные станки</a:t>
            </a:r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/>
              <a:t>Барабанные и струйные мельницы для получения </a:t>
            </a:r>
            <a:r>
              <a:rPr lang="ru-RU" sz="1000" dirty="0" err="1"/>
              <a:t>наночастиц</a:t>
            </a:r>
            <a:r>
              <a:rPr lang="ru-RU" sz="1000" dirty="0"/>
              <a:t> керамики </a:t>
            </a:r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 smtClean="0"/>
              <a:t>Установки </a:t>
            </a:r>
            <a:r>
              <a:rPr lang="ru-RU" sz="1000" dirty="0"/>
              <a:t>вакуумного напыления на постоянном токе </a:t>
            </a:r>
          </a:p>
        </p:txBody>
      </p:sp>
      <p:graphicFrame>
        <p:nvGraphicFramePr>
          <p:cNvPr id="15363" name="Rectangle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651" r:id="rId23" imgW="0" imgH="0" progId="">
              <p:embed/>
            </p:oleObj>
          </a:graphicData>
        </a:graphic>
      </p:graphicFrame>
      <p:sp>
        <p:nvSpPr>
          <p:cNvPr id="15382" name="Text Box 55"/>
          <p:cNvSpPr txBox="1">
            <a:spLocks noChangeArrowheads="1"/>
          </p:cNvSpPr>
          <p:nvPr/>
        </p:nvSpPr>
        <p:spPr bwMode="auto">
          <a:xfrm>
            <a:off x="4263997" y="2111395"/>
            <a:ext cx="53975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 smtClean="0"/>
              <a:t>14</a:t>
            </a:r>
            <a:endParaRPr lang="ru-RU" sz="1600" b="1" dirty="0"/>
          </a:p>
        </p:txBody>
      </p:sp>
      <p:sp>
        <p:nvSpPr>
          <p:cNvPr id="15383" name="Text Box 43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71472" y="2279670"/>
            <a:ext cx="342106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dirty="0" smtClean="0"/>
              <a:t>НИОКР</a:t>
            </a:r>
            <a:endParaRPr lang="ru-RU" sz="1600" b="1" dirty="0"/>
          </a:p>
        </p:txBody>
      </p:sp>
      <p:sp>
        <p:nvSpPr>
          <p:cNvPr id="15384" name="Text Box 55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632172" y="2633683"/>
            <a:ext cx="53975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 smtClean="0"/>
              <a:t>47</a:t>
            </a:r>
            <a:endParaRPr lang="ru-RU" sz="1600" b="1" dirty="0"/>
          </a:p>
        </p:txBody>
      </p:sp>
      <p:sp>
        <p:nvSpPr>
          <p:cNvPr id="15385" name="Text Box 45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27035" y="3684608"/>
            <a:ext cx="2341562" cy="823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/>
              <a:t>22 единицы необходимого измерительного и испытательного оборудования</a:t>
            </a:r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</a:pPr>
            <a:r>
              <a:rPr lang="ru-RU" sz="1000" dirty="0"/>
              <a:t>Из них:</a:t>
            </a:r>
          </a:p>
        </p:txBody>
      </p:sp>
      <p:sp>
        <p:nvSpPr>
          <p:cNvPr id="15386" name="Прямоугольник 29"/>
          <p:cNvSpPr>
            <a:spLocks noChangeArrowheads="1"/>
          </p:cNvSpPr>
          <p:nvPr/>
        </p:nvSpPr>
        <p:spPr bwMode="auto">
          <a:xfrm>
            <a:off x="627035" y="4564083"/>
            <a:ext cx="4572000" cy="1054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 smtClean="0"/>
              <a:t>Генераторы СВЧ сигналов </a:t>
            </a:r>
            <a:endParaRPr lang="ru-RU" sz="1000" dirty="0"/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 smtClean="0"/>
              <a:t>Цифровые осциллографы</a:t>
            </a:r>
            <a:endParaRPr lang="ru-RU" sz="1000" dirty="0"/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 smtClean="0"/>
              <a:t>Векторные анализаторы цепей</a:t>
            </a:r>
            <a:endParaRPr lang="ru-RU" sz="1000" dirty="0"/>
          </a:p>
          <a:p>
            <a:pPr marL="177800" indent="-177800" algn="just">
              <a:spcBef>
                <a:spcPct val="75000"/>
              </a:spcBef>
              <a:buClr>
                <a:schemeClr val="accent2"/>
              </a:buClr>
              <a:buSzPct val="80000"/>
              <a:buFont typeface="Arial" pitchFamily="34" charset="0"/>
              <a:buChar char="●"/>
            </a:pPr>
            <a:r>
              <a:rPr lang="ru-RU" sz="1000" dirty="0" smtClean="0"/>
              <a:t>Анализаторы спектра</a:t>
            </a:r>
            <a:endParaRPr lang="ru-RU" sz="1000" dirty="0"/>
          </a:p>
        </p:txBody>
      </p:sp>
      <p:sp>
        <p:nvSpPr>
          <p:cNvPr id="15387" name="Text Box 47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88972" y="1433533"/>
            <a:ext cx="3914775" cy="846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just">
              <a:spcBef>
                <a:spcPct val="3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ru-RU" sz="1000"/>
              <a:t>Разработка объемно-планировочных решений</a:t>
            </a:r>
          </a:p>
          <a:p>
            <a:pPr marL="177800" indent="-177800" algn="just">
              <a:spcBef>
                <a:spcPct val="3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ru-RU" sz="1000"/>
              <a:t>Составление генерального и ситуационного планов</a:t>
            </a:r>
          </a:p>
          <a:p>
            <a:pPr marL="177800" indent="-177800" algn="just">
              <a:spcBef>
                <a:spcPct val="3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r>
              <a:rPr lang="ru-RU" sz="1000"/>
              <a:t>Экспертизы</a:t>
            </a:r>
          </a:p>
          <a:p>
            <a:pPr marL="177800" indent="-177800" algn="just">
              <a:spcBef>
                <a:spcPct val="3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endParaRPr lang="ru-RU" sz="1000"/>
          </a:p>
        </p:txBody>
      </p:sp>
      <p:pic>
        <p:nvPicPr>
          <p:cNvPr id="28" name="Picture 1" descr="D:\RRE\MATERIALS\blanck_rre.png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0" y="142852"/>
            <a:ext cx="1500166" cy="381452"/>
          </a:xfrm>
          <a:prstGeom prst="rect">
            <a:avLst/>
          </a:prstGeom>
          <a:noFill/>
        </p:spPr>
      </p:pic>
      <p:pic>
        <p:nvPicPr>
          <p:cNvPr id="27" name="Picture 1" descr="C:\Users\Мансур\Desktop\загруженное2.png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929586" y="142852"/>
            <a:ext cx="1214414" cy="48576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Llpgaiz06ktHV7fgq_p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AgQxzNm0.Qojmj5N9s3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vujzW3fE.rA7NPWnrl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DWItmoEqQH3yVqWbm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C9llsvQEWAdmMhCWav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9THq90MEmB5MirRI9u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6yO1tKuU.iVGbd5aS9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6zNvdA.UqQAml0UfbN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B4CWWQJUqgf2wobR4v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IGNOREFONTNONCOMPLIANCE" val="0"/>
  <p:tag name="IGNORECOLORLINESNONCOMPLIANCE" val="0"/>
  <p:tag name="IGNOREPOSITIONNONCOMPLIANCE" val="0"/>
  <p:tag name="POSITIONTOP" val="160.5"/>
  <p:tag name="POSITIONLEFT" val="76.75"/>
  <p:tag name="IGNORESIZENONCOMPLIANCE" val="0"/>
  <p:tag name="SIZEWIDTH" val="638.5"/>
  <p:tag name="SIZEHEIGHT" val="333.2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HL5JFRMU2T.GBaG_MY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Llpgaiz06ktHV7fgq_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Dk18Am5kS.GTu3XdlG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usZxKFiUKhJ_7GNtKW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U_Xe670GJbCCo786pc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CG0XjeU0KUVOP1pYO0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yL.BN5L0SyIYBxJVX4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221xD.XEmKwZBgNbEyc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23Bny7h0uk.FXTLJhI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vznzdw6E2GAKPA9Fp_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Z1m43680eizgfJML528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s2iHhMBkaHls_P6NKd8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4RhzDpykG0pACICiNO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9R5eTeJ0mvt230iDxq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MsnWMPqkqzpPEaefYqz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735pmkYUeUI2rOXXLn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GqCdQJ_02f._m8eeSC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C9llsvQEWAdmMhCWav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CBAsVU.EWMtuZWHJIh4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IS05iOGEOFa_pW8oKKr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bASzrD3kixLoNJ9s6K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vsIV5fnE6eLw.JKv0S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2lv5WnO0uIHDTEKU3M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X7TJZekE.1JiFjHuqmB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_MhVpeCU.jvy0McOQV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LM2mvYq06Z9LyBwoGt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mTqpcOuU.teJN7sTUFI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TFNsFpYU6FAdwBui0h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2oncxrkkeJl1ccqRR_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nwURDBsUax2Yebzzm_4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S1iJ8LtU..K5QtqrpQ.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vgJxw0k6Eje.sPEfWE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qiEXwDtkKMD4PbTitB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QAXh36O0aXB9Ebvx5a4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cT_hd48kWnKFZ7Wlg3_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EcccfDGEaHgVgWz8_kd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Hyw74Ws06N3OrNGgIt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OfKhsTkuErcEa9FZp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dkaiZhRECOYrYsZW9M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t010Lfzk2DsjWu7qQH6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RENQsDkqAtQkY.pmEP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CSq_nmI0Siny5gP.xMx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r0ljC_hEWK3tpOYETCM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wJJ7kU9kW2T1z4sfVMV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6YmuxcEaTEig7WDZl.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cT_hd48kWnKFZ7Wlg3_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EcccfDGEaHgVgWz8_k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Vsalo2V0KZk0CWIMA0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DWItmoEqQH3yVqWbm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m3xjqX4kS1Hrmdc_qZO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olstice</Template>
  <TotalTime>602</TotalTime>
  <Words>1100</Words>
  <Application>Microsoft Office PowerPoint</Application>
  <PresentationFormat>Экран (4:3)</PresentationFormat>
  <Paragraphs>161</Paragraphs>
  <Slides>9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2" baseType="lpstr">
      <vt:lpstr>Тема Office</vt:lpstr>
      <vt:lpstr>think-cell Slide</vt:lpstr>
      <vt:lpstr>Worksheet</vt:lpstr>
      <vt:lpstr>Создание производства элементов радиоэлектронной техники на основе линейной и нелинейной наноструктурированной керамики</vt:lpstr>
      <vt:lpstr>Резюме проекта </vt:lpstr>
      <vt:lpstr>Предпосылки проекта</vt:lpstr>
      <vt:lpstr>Продукция проекта и сферы применения</vt:lpstr>
      <vt:lpstr>Активные приложения</vt:lpstr>
      <vt:lpstr>Слайд 6</vt:lpstr>
      <vt:lpstr>Слайд 7</vt:lpstr>
      <vt:lpstr>Слайд 8</vt:lpstr>
      <vt:lpstr>Слайд 9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Mikhailov Anatoly</dc:creator>
  <cp:lastModifiedBy>Агав</cp:lastModifiedBy>
  <cp:revision>88</cp:revision>
  <dcterms:created xsi:type="dcterms:W3CDTF">2013-08-26T13:00:50Z</dcterms:created>
  <dcterms:modified xsi:type="dcterms:W3CDTF">2013-09-02T14:04:56Z</dcterms:modified>
</cp:coreProperties>
</file>